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1" r:id="rId4"/>
  </p:sldMasterIdLst>
  <p:notesMasterIdLst>
    <p:notesMasterId r:id="rId63"/>
  </p:notesMasterIdLst>
  <p:sldIdLst>
    <p:sldId id="1658" r:id="rId5"/>
    <p:sldId id="1651" r:id="rId6"/>
    <p:sldId id="2580" r:id="rId7"/>
    <p:sldId id="2565" r:id="rId8"/>
    <p:sldId id="2341" r:id="rId9"/>
    <p:sldId id="2569" r:id="rId10"/>
    <p:sldId id="2299" r:id="rId11"/>
    <p:sldId id="2596" r:id="rId12"/>
    <p:sldId id="2481" r:id="rId13"/>
    <p:sldId id="2527" r:id="rId14"/>
    <p:sldId id="1904" r:id="rId15"/>
    <p:sldId id="2583" r:id="rId16"/>
    <p:sldId id="2515" r:id="rId17"/>
    <p:sldId id="2628" r:id="rId18"/>
    <p:sldId id="2597" r:id="rId19"/>
    <p:sldId id="2594" r:id="rId20"/>
    <p:sldId id="2586" r:id="rId21"/>
    <p:sldId id="2493" r:id="rId22"/>
    <p:sldId id="2572" r:id="rId23"/>
    <p:sldId id="2609" r:id="rId24"/>
    <p:sldId id="2627" r:id="rId25"/>
    <p:sldId id="2619" r:id="rId26"/>
    <p:sldId id="2620" r:id="rId27"/>
    <p:sldId id="2187" r:id="rId28"/>
    <p:sldId id="2562" r:id="rId29"/>
    <p:sldId id="2538" r:id="rId30"/>
    <p:sldId id="2502" r:id="rId31"/>
    <p:sldId id="2558" r:id="rId32"/>
    <p:sldId id="2604" r:id="rId33"/>
    <p:sldId id="2623" r:id="rId34"/>
    <p:sldId id="2625" r:id="rId35"/>
    <p:sldId id="2626" r:id="rId36"/>
    <p:sldId id="2568" r:id="rId37"/>
    <p:sldId id="2622" r:id="rId38"/>
    <p:sldId id="2503" r:id="rId39"/>
    <p:sldId id="2322" r:id="rId40"/>
    <p:sldId id="2323" r:id="rId41"/>
    <p:sldId id="2324" r:id="rId42"/>
    <p:sldId id="2325" r:id="rId43"/>
    <p:sldId id="2326" r:id="rId44"/>
    <p:sldId id="2327" r:id="rId45"/>
    <p:sldId id="2328" r:id="rId46"/>
    <p:sldId id="2590" r:id="rId47"/>
    <p:sldId id="2591" r:id="rId48"/>
    <p:sldId id="2592" r:id="rId49"/>
    <p:sldId id="1841" r:id="rId50"/>
    <p:sldId id="1842" r:id="rId51"/>
    <p:sldId id="1843" r:id="rId52"/>
    <p:sldId id="1844" r:id="rId53"/>
    <p:sldId id="1845" r:id="rId54"/>
    <p:sldId id="1846" r:id="rId55"/>
    <p:sldId id="1947" r:id="rId56"/>
    <p:sldId id="1951" r:id="rId57"/>
    <p:sldId id="1952" r:id="rId58"/>
    <p:sldId id="1954" r:id="rId59"/>
    <p:sldId id="1953" r:id="rId60"/>
    <p:sldId id="2573" r:id="rId61"/>
    <p:sldId id="1655"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05CD9F9-BD2D-4D1A-9F00-B421EDD54720}">
          <p14:sldIdLst>
            <p14:sldId id="1658"/>
            <p14:sldId id="1651"/>
            <p14:sldId id="2580"/>
            <p14:sldId id="2565"/>
            <p14:sldId id="2341"/>
            <p14:sldId id="2569"/>
            <p14:sldId id="2299"/>
            <p14:sldId id="2596"/>
            <p14:sldId id="2481"/>
            <p14:sldId id="2527"/>
            <p14:sldId id="1904"/>
            <p14:sldId id="2583"/>
            <p14:sldId id="2515"/>
            <p14:sldId id="2628"/>
            <p14:sldId id="2597"/>
            <p14:sldId id="2594"/>
            <p14:sldId id="2586"/>
            <p14:sldId id="2493"/>
            <p14:sldId id="2572"/>
            <p14:sldId id="2609"/>
            <p14:sldId id="2627"/>
            <p14:sldId id="2619"/>
            <p14:sldId id="2620"/>
            <p14:sldId id="2187"/>
            <p14:sldId id="2562"/>
            <p14:sldId id="2538"/>
            <p14:sldId id="2502"/>
            <p14:sldId id="2558"/>
            <p14:sldId id="2604"/>
            <p14:sldId id="2623"/>
            <p14:sldId id="2625"/>
            <p14:sldId id="2626"/>
            <p14:sldId id="2568"/>
            <p14:sldId id="2622"/>
            <p14:sldId id="2503"/>
            <p14:sldId id="2322"/>
            <p14:sldId id="2323"/>
            <p14:sldId id="2324"/>
            <p14:sldId id="2325"/>
            <p14:sldId id="2326"/>
            <p14:sldId id="2327"/>
            <p14:sldId id="2328"/>
            <p14:sldId id="2590"/>
            <p14:sldId id="2591"/>
            <p14:sldId id="2592"/>
            <p14:sldId id="1841"/>
            <p14:sldId id="1842"/>
            <p14:sldId id="1843"/>
            <p14:sldId id="1844"/>
            <p14:sldId id="1845"/>
            <p14:sldId id="1846"/>
            <p14:sldId id="1947"/>
            <p14:sldId id="1951"/>
            <p14:sldId id="1952"/>
            <p14:sldId id="1954"/>
            <p14:sldId id="1953"/>
            <p14:sldId id="2573"/>
          </p14:sldIdLst>
        </p14:section>
        <p14:section name="Resources" id="{E4EFF3FB-667F-48C0-BDDB-4B5DE977B77B}">
          <p14:sldIdLst>
            <p14:sldId id="165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10" clrIdx="0"/>
  <p:cmAuthor id="2" name="Courtney Allen" initials="CA" lastIdx="20" clrIdx="1">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7F7F7"/>
    <a:srgbClr val="EBEBEB"/>
    <a:srgbClr val="50E6FF"/>
    <a:srgbClr val="75757A"/>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42F1A6-24AA-4E36-A799-E4A971454954}" v="13" dt="2018-07-03T16:56:57.832"/>
    <p1510:client id="{1CED8CED-E20C-43C4-BCA5-B3AC792CB7C9}" v="3" dt="2018-07-13T04:57:45.0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86" autoAdjust="0"/>
    <p:restoredTop sz="95273" autoAdjust="0"/>
  </p:normalViewPr>
  <p:slideViewPr>
    <p:cSldViewPr snapToGrid="0">
      <p:cViewPr varScale="1">
        <p:scale>
          <a:sx n="60" d="100"/>
          <a:sy n="60" d="100"/>
        </p:scale>
        <p:origin x="936"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ustomXml" Target="../customXml/item5.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5/10/relationships/revisionInfo" Target="revisionInfo.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 Sonnen (Slalom LLC)" userId="S::v-ansonn@microsoft.com::025cbdcb-f091-4049-bca1-c30b2eb1d986" providerId="AD" clId="Web-{1CED8CED-E20C-43C4-BCA5-B3AC792CB7C9}"/>
    <pc:docChg chg="modSld">
      <pc:chgData name="Ann Sonnen (Slalom LLC)" userId="S::v-ansonn@microsoft.com::025cbdcb-f091-4049-bca1-c30b2eb1d986" providerId="AD" clId="Web-{1CED8CED-E20C-43C4-BCA5-B3AC792CB7C9}" dt="2018-07-13T05:00:12.021" v="14"/>
      <pc:docMkLst>
        <pc:docMk/>
      </pc:docMkLst>
      <pc:sldChg chg="delCm">
        <pc:chgData name="Ann Sonnen (Slalom LLC)" userId="S::v-ansonn@microsoft.com::025cbdcb-f091-4049-bca1-c30b2eb1d986" providerId="AD" clId="Web-{1CED8CED-E20C-43C4-BCA5-B3AC792CB7C9}" dt="2018-07-13T04:59:53.739" v="12"/>
        <pc:sldMkLst>
          <pc:docMk/>
          <pc:sldMk cId="1689855451" sldId="1846"/>
        </pc:sldMkLst>
      </pc:sldChg>
      <pc:sldChg chg="delCm">
        <pc:chgData name="Ann Sonnen (Slalom LLC)" userId="S::v-ansonn@microsoft.com::025cbdcb-f091-4049-bca1-c30b2eb1d986" providerId="AD" clId="Web-{1CED8CED-E20C-43C4-BCA5-B3AC792CB7C9}" dt="2018-07-13T05:00:04.411" v="13"/>
        <pc:sldMkLst>
          <pc:docMk/>
          <pc:sldMk cId="2471983300" sldId="1951"/>
        </pc:sldMkLst>
      </pc:sldChg>
      <pc:sldChg chg="delCm">
        <pc:chgData name="Ann Sonnen (Slalom LLC)" userId="S::v-ansonn@microsoft.com::025cbdcb-f091-4049-bca1-c30b2eb1d986" providerId="AD" clId="Web-{1CED8CED-E20C-43C4-BCA5-B3AC792CB7C9}" dt="2018-07-13T04:58:40.220" v="5"/>
        <pc:sldMkLst>
          <pc:docMk/>
          <pc:sldMk cId="2480803392" sldId="2299"/>
        </pc:sldMkLst>
      </pc:sldChg>
      <pc:sldChg chg="delCm">
        <pc:chgData name="Ann Sonnen (Slalom LLC)" userId="S::v-ansonn@microsoft.com::025cbdcb-f091-4049-bca1-c30b2eb1d986" providerId="AD" clId="Web-{1CED8CED-E20C-43C4-BCA5-B3AC792CB7C9}" dt="2018-07-13T04:59:43.254" v="11"/>
        <pc:sldMkLst>
          <pc:docMk/>
          <pc:sldMk cId="1117161706" sldId="2503"/>
        </pc:sldMkLst>
      </pc:sldChg>
      <pc:sldChg chg="delCm">
        <pc:chgData name="Ann Sonnen (Slalom LLC)" userId="S::v-ansonn@microsoft.com::025cbdcb-f091-4049-bca1-c30b2eb1d986" providerId="AD" clId="Web-{1CED8CED-E20C-43C4-BCA5-B3AC792CB7C9}" dt="2018-07-13T04:58:54.095" v="6"/>
        <pc:sldMkLst>
          <pc:docMk/>
          <pc:sldMk cId="1843230971" sldId="2515"/>
        </pc:sldMkLst>
      </pc:sldChg>
      <pc:sldChg chg="modSp delCm">
        <pc:chgData name="Ann Sonnen (Slalom LLC)" userId="S::v-ansonn@microsoft.com::025cbdcb-f091-4049-bca1-c30b2eb1d986" providerId="AD" clId="Web-{1CED8CED-E20C-43C4-BCA5-B3AC792CB7C9}" dt="2018-07-13T04:58:30.094" v="4"/>
        <pc:sldMkLst>
          <pc:docMk/>
          <pc:sldMk cId="2296729675" sldId="2569"/>
        </pc:sldMkLst>
        <pc:grpChg chg="mod">
          <ac:chgData name="Ann Sonnen (Slalom LLC)" userId="S::v-ansonn@microsoft.com::025cbdcb-f091-4049-bca1-c30b2eb1d986" providerId="AD" clId="Web-{1CED8CED-E20C-43C4-BCA5-B3AC792CB7C9}" dt="2018-07-13T04:57:45.014" v="2" actId="1076"/>
          <ac:grpSpMkLst>
            <pc:docMk/>
            <pc:sldMk cId="2296729675" sldId="2569"/>
            <ac:grpSpMk id="3" creationId="{071E352A-B5EE-41CF-AC33-568232996192}"/>
          </ac:grpSpMkLst>
        </pc:grpChg>
        <pc:grpChg chg="mod">
          <ac:chgData name="Ann Sonnen (Slalom LLC)" userId="S::v-ansonn@microsoft.com::025cbdcb-f091-4049-bca1-c30b2eb1d986" providerId="AD" clId="Web-{1CED8CED-E20C-43C4-BCA5-B3AC792CB7C9}" dt="2018-07-13T04:57:45.014" v="3" actId="1076"/>
          <ac:grpSpMkLst>
            <pc:docMk/>
            <pc:sldMk cId="2296729675" sldId="2569"/>
            <ac:grpSpMk id="211" creationId="{1C52B294-B348-4B32-B083-27668E4A8D0F}"/>
          </ac:grpSpMkLst>
        </pc:grpChg>
      </pc:sldChg>
      <pc:sldChg chg="delCm">
        <pc:chgData name="Ann Sonnen (Slalom LLC)" userId="S::v-ansonn@microsoft.com::025cbdcb-f091-4049-bca1-c30b2eb1d986" providerId="AD" clId="Web-{1CED8CED-E20C-43C4-BCA5-B3AC792CB7C9}" dt="2018-07-13T05:00:12.021" v="14"/>
        <pc:sldMkLst>
          <pc:docMk/>
          <pc:sldMk cId="3680310805" sldId="2573"/>
        </pc:sldMkLst>
      </pc:sldChg>
      <pc:sldChg chg="delCm">
        <pc:chgData name="Ann Sonnen (Slalom LLC)" userId="S::v-ansonn@microsoft.com::025cbdcb-f091-4049-bca1-c30b2eb1d986" providerId="AD" clId="Web-{1CED8CED-E20C-43C4-BCA5-B3AC792CB7C9}" dt="2018-07-13T04:59:25.425" v="9"/>
        <pc:sldMkLst>
          <pc:docMk/>
          <pc:sldMk cId="483675239" sldId="2594"/>
        </pc:sldMkLst>
      </pc:sldChg>
      <pc:sldChg chg="delCm">
        <pc:chgData name="Ann Sonnen (Slalom LLC)" userId="S::v-ansonn@microsoft.com::025cbdcb-f091-4049-bca1-c30b2eb1d986" providerId="AD" clId="Web-{1CED8CED-E20C-43C4-BCA5-B3AC792CB7C9}" dt="2018-07-13T04:59:12.393" v="8"/>
        <pc:sldMkLst>
          <pc:docMk/>
          <pc:sldMk cId="2871682354" sldId="2597"/>
        </pc:sldMkLst>
      </pc:sldChg>
      <pc:sldChg chg="delCm">
        <pc:chgData name="Ann Sonnen (Slalom LLC)" userId="S::v-ansonn@microsoft.com::025cbdcb-f091-4049-bca1-c30b2eb1d986" providerId="AD" clId="Web-{1CED8CED-E20C-43C4-BCA5-B3AC792CB7C9}" dt="2018-07-13T04:59:32.253" v="10"/>
        <pc:sldMkLst>
          <pc:docMk/>
          <pc:sldMk cId="1811587225" sldId="2622"/>
        </pc:sldMkLst>
      </pc:sldChg>
      <pc:sldChg chg="delCm">
        <pc:chgData name="Ann Sonnen (Slalom LLC)" userId="S::v-ansonn@microsoft.com::025cbdcb-f091-4049-bca1-c30b2eb1d986" providerId="AD" clId="Web-{1CED8CED-E20C-43C4-BCA5-B3AC792CB7C9}" dt="2018-07-13T04:59:01.596" v="7"/>
        <pc:sldMkLst>
          <pc:docMk/>
          <pc:sldMk cId="2416306351" sldId="2628"/>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413767723479"/>
          <c:y val="1.5206812652068127E-2"/>
          <c:w val="0.76070951989587177"/>
          <c:h val="0.96199214833547286"/>
        </c:manualLayout>
      </c:layout>
      <c:doughnutChart>
        <c:varyColors val="1"/>
        <c:ser>
          <c:idx val="0"/>
          <c:order val="0"/>
          <c:tx>
            <c:strRef>
              <c:f>Sheet1!$C$2</c:f>
              <c:strCache>
                <c:ptCount val="1"/>
                <c:pt idx="0">
                  <c:v>Value</c:v>
                </c:pt>
              </c:strCache>
            </c:strRef>
          </c:tx>
          <c:spPr>
            <a:solidFill>
              <a:srgbClr val="002050">
                <a:lumMod val="90000"/>
                <a:lumOff val="10000"/>
              </a:srgbClr>
            </a:solidFill>
            <a:ln w="38100"/>
          </c:spPr>
          <c:dPt>
            <c:idx val="0"/>
            <c:bubble3D val="0"/>
            <c:spPr>
              <a:solidFill>
                <a:srgbClr val="000000"/>
              </a:solidFill>
              <a:ln w="38100">
                <a:solidFill>
                  <a:schemeClr val="lt1"/>
                </a:solidFill>
              </a:ln>
              <a:effectLst/>
            </c:spPr>
            <c:extLst>
              <c:ext xmlns:c16="http://schemas.microsoft.com/office/drawing/2014/chart" uri="{C3380CC4-5D6E-409C-BE32-E72D297353CC}">
                <c16:uniqueId val="{00000001-CA05-41C6-939D-310AA71A0366}"/>
              </c:ext>
            </c:extLst>
          </c:dPt>
          <c:dPt>
            <c:idx val="1"/>
            <c:bubble3D val="0"/>
            <c:spPr>
              <a:solidFill>
                <a:srgbClr val="0078D4"/>
              </a:solidFill>
              <a:ln w="38100">
                <a:solidFill>
                  <a:schemeClr val="lt1"/>
                </a:solidFill>
              </a:ln>
              <a:effectLst/>
            </c:spPr>
            <c:extLst>
              <c:ext xmlns:c16="http://schemas.microsoft.com/office/drawing/2014/chart" uri="{C3380CC4-5D6E-409C-BE32-E72D297353CC}">
                <c16:uniqueId val="{00000003-CA05-41C6-939D-310AA71A0366}"/>
              </c:ext>
            </c:extLst>
          </c:dPt>
          <c:dPt>
            <c:idx val="2"/>
            <c:bubble3D val="0"/>
            <c:spPr>
              <a:solidFill>
                <a:srgbClr val="00BCF2"/>
              </a:solidFill>
              <a:ln w="38100">
                <a:solidFill>
                  <a:schemeClr val="lt1"/>
                </a:solidFill>
              </a:ln>
              <a:effectLst/>
            </c:spPr>
            <c:extLst>
              <c:ext xmlns:c16="http://schemas.microsoft.com/office/drawing/2014/chart" uri="{C3380CC4-5D6E-409C-BE32-E72D297353CC}">
                <c16:uniqueId val="{00000005-CA05-41C6-939D-310AA71A0366}"/>
              </c:ext>
            </c:extLst>
          </c:dPt>
          <c:dPt>
            <c:idx val="3"/>
            <c:bubble3D val="0"/>
            <c:spPr>
              <a:solidFill>
                <a:srgbClr val="EBEBEB"/>
              </a:solidFill>
              <a:ln w="38100">
                <a:solidFill>
                  <a:schemeClr val="lt1"/>
                </a:solidFill>
              </a:ln>
              <a:effectLst/>
            </c:spPr>
            <c:extLst>
              <c:ext xmlns:c16="http://schemas.microsoft.com/office/drawing/2014/chart" uri="{C3380CC4-5D6E-409C-BE32-E72D297353CC}">
                <c16:uniqueId val="{00000007-CA05-41C6-939D-310AA71A0366}"/>
              </c:ext>
            </c:extLst>
          </c:dPt>
          <c:cat>
            <c:strRef>
              <c:f>Sheet1!$B$3:$B$6</c:f>
              <c:strCache>
                <c:ptCount val="4"/>
                <c:pt idx="0">
                  <c:v>Decision support</c:v>
                </c:pt>
                <c:pt idx="1">
                  <c:v>Virtual agents</c:v>
                </c:pt>
                <c:pt idx="2">
                  <c:v>Decision automation</c:v>
                </c:pt>
                <c:pt idx="3">
                  <c:v>Smart products</c:v>
                </c:pt>
              </c:strCache>
            </c:strRef>
          </c:cat>
          <c:val>
            <c:numRef>
              <c:f>Sheet1!$C$3:$C$6</c:f>
              <c:numCache>
                <c:formatCode>General</c:formatCode>
                <c:ptCount val="4"/>
                <c:pt idx="0">
                  <c:v>1.7</c:v>
                </c:pt>
                <c:pt idx="1">
                  <c:v>1</c:v>
                </c:pt>
                <c:pt idx="2">
                  <c:v>0.624</c:v>
                </c:pt>
                <c:pt idx="3">
                  <c:v>0.54600000000000004</c:v>
                </c:pt>
              </c:numCache>
            </c:numRef>
          </c:val>
          <c:extLst>
            <c:ext xmlns:c16="http://schemas.microsoft.com/office/drawing/2014/chart" uri="{C3380CC4-5D6E-409C-BE32-E72D297353CC}">
              <c16:uniqueId val="{00000008-CA05-41C6-939D-310AA71A0366}"/>
            </c:ext>
          </c:extLst>
        </c:ser>
        <c:dLbls>
          <c:showLegendKey val="0"/>
          <c:showVal val="0"/>
          <c:showCatName val="0"/>
          <c:showSerName val="0"/>
          <c:showPercent val="0"/>
          <c:showBubbleSize val="0"/>
          <c:showLeaderLines val="0"/>
        </c:dLbls>
        <c:firstSliceAng val="315"/>
        <c:holeSize val="6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2"/>
            </a:solidFill>
          </c:spPr>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3283-48CA-A1B3-639F9DCD3E65}"/>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E553-4297-962E-B42AC353B455}"/>
              </c:ext>
            </c:extLst>
          </c:dPt>
          <c:cat>
            <c:strRef>
              <c:f>Sheet1!$A$2:$A$3</c:f>
              <c:strCache>
                <c:ptCount val="2"/>
                <c:pt idx="0">
                  <c:v>1st Qtr</c:v>
                </c:pt>
                <c:pt idx="1">
                  <c:v>2nd Qtr</c:v>
                </c:pt>
              </c:strCache>
            </c:strRef>
          </c:cat>
          <c:val>
            <c:numRef>
              <c:f>Sheet1!$B$2:$B$3</c:f>
              <c:numCache>
                <c:formatCode>General</c:formatCode>
                <c:ptCount val="2"/>
                <c:pt idx="0">
                  <c:v>95</c:v>
                </c:pt>
                <c:pt idx="1">
                  <c:v>1000</c:v>
                </c:pt>
              </c:numCache>
            </c:numRef>
          </c:val>
          <c:extLst>
            <c:ext xmlns:c16="http://schemas.microsoft.com/office/drawing/2014/chart" uri="{C3380CC4-5D6E-409C-BE32-E72D297353CC}">
              <c16:uniqueId val="{00000000-3283-48CA-A1B3-639F9DCD3E6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E1E-476B-A613-2EAD122224C5}"/>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1-D518-478A-9608-540FD5A55428}"/>
              </c:ext>
            </c:extLst>
          </c:dPt>
          <c:cat>
            <c:strRef>
              <c:f>Sheet1!$A$2:$A$3</c:f>
              <c:strCache>
                <c:ptCount val="2"/>
                <c:pt idx="0">
                  <c:v>1st Qtr</c:v>
                </c:pt>
                <c:pt idx="1">
                  <c:v>2nd Qtr</c:v>
                </c:pt>
              </c:strCache>
            </c:strRef>
          </c:cat>
          <c:val>
            <c:numRef>
              <c:f>Sheet1!$B$2:$B$3</c:f>
              <c:numCache>
                <c:formatCode>General</c:formatCode>
                <c:ptCount val="2"/>
                <c:pt idx="0">
                  <c:v>75</c:v>
                </c:pt>
                <c:pt idx="1">
                  <c:v>400</c:v>
                </c:pt>
              </c:numCache>
            </c:numRef>
          </c:val>
          <c:extLst>
            <c:ext xmlns:c16="http://schemas.microsoft.com/office/drawing/2014/chart" uri="{C3380CC4-5D6E-409C-BE32-E72D297353CC}">
              <c16:uniqueId val="{00000000-D518-478A-9608-540FD5A55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5C0-4155-85D9-B2AFB03D0709}"/>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1-A29C-41C4-93B5-7FEB100E1AD1}"/>
              </c:ext>
            </c:extLst>
          </c:dPt>
          <c:cat>
            <c:strRef>
              <c:f>Sheet1!$A$2:$A$3</c:f>
              <c:strCache>
                <c:ptCount val="2"/>
                <c:pt idx="0">
                  <c:v>1st Qtr</c:v>
                </c:pt>
                <c:pt idx="1">
                  <c:v>2nd Qtr</c:v>
                </c:pt>
              </c:strCache>
            </c:strRef>
          </c:cat>
          <c:val>
            <c:numRef>
              <c:f>Sheet1!$B$2:$B$3</c:f>
              <c:numCache>
                <c:formatCode>General</c:formatCode>
                <c:ptCount val="2"/>
                <c:pt idx="0">
                  <c:v>75</c:v>
                </c:pt>
                <c:pt idx="1">
                  <c:v>225</c:v>
                </c:pt>
              </c:numCache>
            </c:numRef>
          </c:val>
          <c:extLst>
            <c:ext xmlns:c16="http://schemas.microsoft.com/office/drawing/2014/chart" uri="{C3380CC4-5D6E-409C-BE32-E72D297353CC}">
              <c16:uniqueId val="{00000000-A29C-41C4-93B5-7FEB100E1AD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37AB1C-ACA3-4435-AF28-8F061F55140E}" type="datetimeFigureOut">
              <a:rPr lang="en-US" smtClean="0"/>
              <a:t>7/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2B64AC-F36E-479E-839E-11285A4C09AB}" type="slidenum">
              <a:rPr lang="en-US" smtClean="0"/>
              <a:t>‹#›</a:t>
            </a:fld>
            <a:endParaRPr lang="en-US"/>
          </a:p>
        </p:txBody>
      </p:sp>
    </p:spTree>
    <p:extLst>
      <p:ext uri="{BB962C8B-B14F-4D97-AF65-F5344CB8AC3E}">
        <p14:creationId xmlns:p14="http://schemas.microsoft.com/office/powerpoint/2010/main" val="407180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a:xfrm>
            <a:off x="0" y="0"/>
            <a:ext cx="3037840" cy="46482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9AF79BC0-7BC2-4444-8D01-A1A1A5DBD253}" type="datetime8">
              <a:rPr lang="en-US" smtClean="0">
                <a:solidFill>
                  <a:prstClr val="black"/>
                </a:solidFill>
              </a:rPr>
              <a:t>7/12/2018 9:5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69280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many challenges that prevent organizations from realizing their advanced analytics mission.</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are so many advanced analytics solutions and offerings out there, many of which are difficult to understand and implemen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iloed data across teams and departments inhibit the development of unified data pipelin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caling challenges and model performance constraints often represent a cost and implementation barrier for advanced analytics team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ost companies are not satisfied with their current solution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46% are satisfied with the ease of use of their analytics softwar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21% are satisfied with their access to semi-structured and unstructured data</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28% are satisfied with their ability to scale to handle unexpected requiremen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Addressing these considerations requires an effective advanced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8474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lt;Transition&gt;: We understand your business objectives, and we have a reference architecture to simplify the implementation of your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3017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dirty="0">
                <a:solidFill>
                  <a:schemeClr val="tx1"/>
                </a:solidFill>
                <a:effectLst/>
                <a:latin typeface="Segoe UI Light" pitchFamily="34" charset="0"/>
                <a:ea typeface="+mn-ea"/>
                <a:cs typeface="+mn-cs"/>
              </a:rPr>
              <a:t>We know what you want to achieve with this, and we’ve got you covered all the way through.</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ith our customers, we see three common objectives.</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e want to extend to untapped sources”</a:t>
            </a:r>
          </a:p>
          <a:p>
            <a:r>
              <a:rPr lang="en-US" sz="900" b="0" kern="1200" dirty="0">
                <a:solidFill>
                  <a:schemeClr val="tx1"/>
                </a:solidFill>
                <a:effectLst/>
                <a:latin typeface="Segoe UI Light" pitchFamily="34" charset="0"/>
                <a:ea typeface="+mn-ea"/>
                <a:cs typeface="+mn-cs"/>
              </a:rPr>
              <a:t>“We want to use ML and AI to get deeper insights from our data”</a:t>
            </a:r>
          </a:p>
          <a:p>
            <a:r>
              <a:rPr lang="en-US" sz="900" b="0" kern="1200" dirty="0">
                <a:solidFill>
                  <a:schemeClr val="tx1"/>
                </a:solidFill>
                <a:effectLst/>
                <a:latin typeface="Segoe UI Light" pitchFamily="34" charset="0"/>
                <a:ea typeface="+mn-ea"/>
                <a:cs typeface="+mn-cs"/>
              </a:rPr>
              <a:t>“We want to get insights from our devices in real-time”</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e have developed reference architectures to help our customers meet each of these objectives:</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extend to untapped sources” -&gt; Modern Data Warehouse</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use ML and AI to get deeper insights from our data” -&gt; Advanced Analytics</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get insights from our devices in real-time” -&gt; Real-time Analytics</a:t>
            </a:r>
          </a:p>
          <a:p>
            <a:endParaRPr lang="en-US" sz="900" b="0" kern="1200" dirty="0">
              <a:solidFill>
                <a:schemeClr val="tx1"/>
              </a:solidFill>
              <a:effectLst/>
              <a:latin typeface="Segoe UI Light" pitchFamily="34" charset="0"/>
              <a:ea typeface="+mn-ea"/>
              <a:cs typeface="+mn-cs"/>
            </a:endParaRPr>
          </a:p>
          <a:p>
            <a:endParaRPr lang="en-US" sz="900" b="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You need a solution that can help you prep and train machine learning models with your team for things like recommendation engines, demand forecasting, or predictive maintenance for IoT solutions.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We understand your business objectives, and we have a reference architecture to simplify the implementation of your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5675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ing advanced analytics solutions in your organization is a four-step process.</a:t>
            </a:r>
          </a:p>
          <a:p>
            <a:endParaRPr lang="en-US" dirty="0"/>
          </a:p>
          <a:p>
            <a:r>
              <a:rPr lang="en-US" dirty="0"/>
              <a:t>First, you need to ingest data from a variety of data sources, including batch and streaming data.</a:t>
            </a:r>
          </a:p>
          <a:p>
            <a:pPr marL="171450" indent="-171450">
              <a:buFont typeface="Arial" panose="020B0604020202020204" pitchFamily="34" charset="0"/>
              <a:buChar char="•"/>
            </a:pPr>
            <a:r>
              <a:rPr lang="en-US" dirty="0"/>
              <a:t>Azure HDInsight allows you to ingest data at scale in real-time</a:t>
            </a:r>
          </a:p>
          <a:p>
            <a:pPr marL="171450" indent="-171450">
              <a:buFont typeface="Arial" panose="020B0604020202020204" pitchFamily="34" charset="0"/>
              <a:buChar char="•"/>
            </a:pPr>
            <a:r>
              <a:rPr lang="en-US" dirty="0"/>
              <a:t>Azure Data Factory enables you to ingest structured and unstructured batch data at scale, in addition to orchestrating your data preparation processes</a:t>
            </a:r>
          </a:p>
          <a:p>
            <a:pPr marL="0" indent="0">
              <a:buFont typeface="Arial" panose="020B0604020202020204" pitchFamily="34" charset="0"/>
              <a:buNone/>
            </a:pPr>
            <a:endParaRPr lang="en-US" dirty="0"/>
          </a:p>
          <a:p>
            <a:r>
              <a:rPr lang="en-US" dirty="0"/>
              <a:t>Then, you need to take in and store disparate data that’s being ingested regardless of data volumes, variety, and velocity.</a:t>
            </a:r>
          </a:p>
          <a:p>
            <a:pPr marL="171450" indent="-171450">
              <a:buFont typeface="Arial" panose="020B0604020202020204" pitchFamily="34" charset="0"/>
              <a:buChar char="•"/>
            </a:pPr>
            <a:r>
              <a:rPr lang="en-US" dirty="0"/>
              <a:t>With Azure Blob Storage, you can build data integration pipelines that span on-premises and cloud</a:t>
            </a:r>
          </a:p>
          <a:p>
            <a:endParaRPr lang="en-US" dirty="0"/>
          </a:p>
          <a:p>
            <a:r>
              <a:rPr lang="en-US" dirty="0"/>
              <a:t>Next, you need to cleanse, prepare, and train your data.</a:t>
            </a:r>
          </a:p>
          <a:p>
            <a:pPr marL="171450" indent="-171450">
              <a:buFont typeface="Arial" panose="020B0604020202020204" pitchFamily="34" charset="0"/>
              <a:buChar char="•"/>
            </a:pPr>
            <a:r>
              <a:rPr lang="en-US" dirty="0"/>
              <a:t>Azure Databricks enables data scientists and data engineers to collaboratively build and test ML and AI models in the fastest Spark environment</a:t>
            </a:r>
          </a:p>
          <a:p>
            <a:endParaRPr lang="en-US" dirty="0"/>
          </a:p>
          <a:p>
            <a:r>
              <a:rPr lang="en-US" dirty="0"/>
              <a:t>Finally, you need to model and serve this prepared data to your applications, bots, and agents.</a:t>
            </a:r>
          </a:p>
          <a:p>
            <a:pPr marL="171450" indent="-171450">
              <a:buFont typeface="Arial" panose="020B0604020202020204" pitchFamily="34" charset="0"/>
              <a:buChar char="•"/>
            </a:pPr>
            <a:r>
              <a:rPr lang="en-US" dirty="0"/>
              <a:t>Azure Cosmos DB offers low-latency for massively scalable applications</a:t>
            </a:r>
          </a:p>
          <a:p>
            <a:pPr marL="171450" indent="-171450">
              <a:buFont typeface="Arial" panose="020B0604020202020204" pitchFamily="34" charset="0"/>
              <a:buChar char="•"/>
            </a:pPr>
            <a:r>
              <a:rPr lang="en-US" dirty="0"/>
              <a:t>With Azure SQL Data Warehouse, you can easily integrate with leading BI solutions, such as Power BI</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lt;Transition&gt;: Today, we want to focus on preparing and training advanced analytics model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9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In order to prep and train advanced analytics models, you first need to collect and prep your data.</a:t>
            </a:r>
          </a:p>
          <a:p>
            <a:r>
              <a:rPr lang="en-US" b="0" dirty="0"/>
              <a:t>Then, you train and evaluate your ML and AI models.</a:t>
            </a:r>
          </a:p>
          <a:p>
            <a:r>
              <a:rPr lang="en-US" b="0" dirty="0"/>
              <a:t>Finally, you need to operationalize, manage, and deploy models into production.</a:t>
            </a:r>
          </a:p>
          <a:p>
            <a:endParaRPr lang="en-US" b="1" dirty="0"/>
          </a:p>
          <a:p>
            <a:r>
              <a:rPr lang="en-US" b="1" dirty="0"/>
              <a:t>&lt;Transition&gt;: Before we dive deeper into this process, we would like to take a moment to talk about Azure Databricks. As you might be able to guess, Azure Databricks is the linchpin in implementing our recommended advanced analytics architecture.</a:t>
            </a:r>
          </a:p>
          <a:p>
            <a:endParaRPr lang="en-US" b="1" dirty="0"/>
          </a:p>
          <a:p>
            <a:endParaRPr lang="en-US" b="1" dirty="0"/>
          </a:p>
          <a:p>
            <a:r>
              <a:rPr lang="en-US" b="0" dirty="0"/>
              <a:t>Additional services in each section:</a:t>
            </a:r>
          </a:p>
          <a:p>
            <a:pPr marL="171450" indent="-171450">
              <a:buFont typeface="Arial" panose="020B0604020202020204" pitchFamily="34" charset="0"/>
              <a:buChar char="•"/>
            </a:pPr>
            <a:r>
              <a:rPr lang="en-US" b="0" dirty="0"/>
              <a:t>Collect and prep: Azure Blob Storage</a:t>
            </a:r>
          </a:p>
          <a:p>
            <a:pPr marL="171450" indent="-171450">
              <a:buFont typeface="Arial" panose="020B0604020202020204" pitchFamily="34" charset="0"/>
              <a:buChar char="•"/>
            </a:pPr>
            <a:r>
              <a:rPr lang="en-US" b="0" dirty="0"/>
              <a:t>Train and evaluate model: TensorFlow, MS Cognitive Toolkit, </a:t>
            </a:r>
          </a:p>
          <a:p>
            <a:pPr marL="171450" indent="-171450">
              <a:buFont typeface="Arial" panose="020B0604020202020204" pitchFamily="34" charset="0"/>
              <a:buChar char="•"/>
            </a:pPr>
            <a:r>
              <a:rPr lang="en-US" b="0" dirty="0"/>
              <a:t>Operationalize and manage: Azure Cosmos DB, Azure SQL Data Warehouse</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152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In order to collect and prepare your data at scale, you need to build a data pipeline to ingest, store, and transform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Azure Data Factory enables you to connect to data from any sour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eamlessly integrate with all your data sourc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reate hybrid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Ingest and orchestrate with a serverless, code-free environ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With Azure Blob Storage, you can store and process data without limit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cess any data, of any size, and at any speed with enterprise-grade security</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cale up or scale out to serve your analytics need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cale compute and storage independently, helping you manage TCO</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Databricks helps you leverage best-in-class analytics capabilit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hoose from the best of open source and proprietary technolog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Use machine learning on batch streams to create unified data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ollaborate within teams to accelerate time-to-insight</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Once you have prepared your data, you can train and evaluate machine learning models on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integral-analytics-switches-to-azure-for-high-performance-and-cost-effective-data-warehous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9398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Training and evaluating machine learning models requires you to build models quickly, scale dynamically, and manage models proa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Azure Databricks simplifies model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Easily collaborate in interactive workspa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Leverage a library of battle-tested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Automate job execution and model version contr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Databricks also helps you scale compute resources to meet your advanced analytics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Easily scale up on VMs or scale out on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Autoscale on serverless infrastructure, paying only for what you use in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Leverage commodity hardware to reduce TC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Machine Learning Services enables you to quickly determine the right model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Determine which algorithm is best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Tune hyperparameters to optimize your ML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Rapidly prototype in agile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Once models have been trained and evaluated, you need to operationalize and manage your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1678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effective model operationalization, you need to deploy and manage models in many different production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ther you need to deploy your models to containers, apps, dashboards, or IoT devices, Microsoft has you cov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ricks helps you bring models to life quick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ake models from inception to production in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erate quickly on a serverless 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asily change environments for agile experi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zure Machine Learning Services enables you to proactively manage model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dentify and promote your best performing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pture model telemetry for actionable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train models and update deployments with programmable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eploy models closer to your data using Azure Container Instances and Azure Kubernetes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cale out to container-based environ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eploy models to the destination of your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fuse intelligence into the IoT ed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Now let’s take a deeper look at deploying models to devices on the ed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sto</a:t>
            </a:r>
            <a:r>
              <a:rPr lang="en-US" sz="1200" b="0" kern="0" dirty="0">
                <a:solidFill>
                  <a:schemeClr val="accent3">
                    <a:lumMod val="75000"/>
                  </a:schemeClr>
                </a:solidFill>
                <a:cs typeface="Segoe UI Semibold" panose="020B0702040204020203" pitchFamily="34" charset="0"/>
              </a:rPr>
              <a:t>mer testimonial link: https://customers.microsoft.com/en-us/story/alaskadotpf-government-azure-io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5985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 Companies who’ve seen success with machine learning are now looking to expand their work further into deep learning. I want to give you a sense for what the future looks like for organizations implementing advanced analytic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In 2018, deep neural networks will be a standard tool for 80% of data scientists’ tool box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19, natural-language generation will be a standard feature of 90% of modern BI and analytics platform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0, 20% of companies will dedicate workers to monitor and guide neural networks.</a:t>
            </a:r>
          </a:p>
          <a:p>
            <a:r>
              <a:rPr lang="en-US" sz="1200" kern="1200" dirty="0">
                <a:solidFill>
                  <a:schemeClr val="tx1"/>
                </a:solidFill>
                <a:effectLst/>
                <a:latin typeface="Segoe UI Light" pitchFamily="34" charset="0"/>
                <a:ea typeface="+mn-ea"/>
                <a:cs typeface="+mn-cs"/>
              </a:rPr>
              <a:t>Also by 2020, more than 40% of data science tasks will be automated, resulting in increased productivity and broader usage by citizen data scientis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1, 30% of net new revenue growth from industry-specific solutions will include AI.</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2, 1 in 5 workers engaged in mostly non-routine tasks will rely on AI to do their jobs.</a:t>
            </a:r>
          </a:p>
          <a:p>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dirty="0">
                <a:solidFill>
                  <a:schemeClr val="tx1"/>
                </a:solidFill>
                <a:effectLst/>
                <a:latin typeface="Segoe UI Light" pitchFamily="34" charset="0"/>
                <a:ea typeface="+mn-ea"/>
                <a:cs typeface="+mn-cs"/>
              </a:rPr>
              <a:t>&lt;Transition&gt;: The next generation of advanced analytics success will be powered by dee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73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Let’s take a look at how Azure enables you to develop and operationalize deep learning model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866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9488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Just like with machine learning models, training and evaluating Custom AI models requires quick development, dynamic scaling, and effective model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Azure Databricks streamlines your AI development eff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Build models using popular deep learning toolk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Develop in the languages and tools of your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Databricks also helps you scale compute resources in any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hoose VM types based on your modeling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cess images and videos using GPU-based and FPGA-based V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Machine Learning Services facilitates effective model management and evalu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ave time by running experiments in parall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vision and manage resources automatical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Let’s take a closer look at the services and frameworks that make this possible.</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760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zure Databricks is a fast, easy, and collaborative Apache Spark-based analytics platform optimized for Azure. Designed in collaboration with the founders of Apache Spark, Azure Databricks combines the best of Spark and Azure to help customers accelerate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With Azure Databricks, you ca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a:t>
            </a:r>
            <a:endParaRPr lang="en-US" dirty="0">
              <a:effectLst/>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Innovate faster,</a:t>
            </a:r>
            <a:r>
              <a:rPr lang="en-US" sz="1200" kern="1200" dirty="0">
                <a:solidFill>
                  <a:schemeClr val="tx1"/>
                </a:solidFill>
                <a:latin typeface="+mn-lt"/>
                <a:ea typeface="+mn-ea"/>
                <a:cs typeface="+mn-cs"/>
              </a:rPr>
              <a:t> thanks to native integration with services like PBI, Azure SQL DW, Cosmos DB and Blob Storag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Protect your data </a:t>
            </a:r>
            <a:r>
              <a:rPr lang="en-US" sz="1200" b="0" kern="1200" dirty="0">
                <a:solidFill>
                  <a:schemeClr val="tx1"/>
                </a:solidFill>
                <a:latin typeface="+mn-lt"/>
                <a:ea typeface="+mn-ea"/>
                <a:cs typeface="+mn-cs"/>
              </a:rPr>
              <a:t>with enterprise-grade Azure securit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mn-lt"/>
                <a:ea typeface="+mn-ea"/>
                <a:cs typeface="+mn-cs"/>
              </a:rPr>
              <a:t>Azure Machine Learning services enables you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Bring the power of AI to the IoT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Increase your rate of experimentation </a:t>
            </a:r>
            <a:r>
              <a:rPr lang="en-US" sz="1200" b="0" kern="1200" dirty="0">
                <a:solidFill>
                  <a:schemeClr val="tx1"/>
                </a:solidFill>
                <a:latin typeface="+mn-lt"/>
                <a:ea typeface="+mn-ea"/>
                <a:cs typeface="+mn-cs"/>
              </a:rPr>
              <a:t>by rapidly prototyping on your desktop, then easily scaling up on VMs or scaling out on Spark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Deploy models into production faster</a:t>
            </a:r>
            <a:r>
              <a:rPr lang="en-US" sz="1200" b="0" kern="1200" dirty="0">
                <a:solidFill>
                  <a:schemeClr val="tx1"/>
                </a:solidFill>
                <a:latin typeface="+mn-lt"/>
                <a:ea typeface="+mn-ea"/>
                <a:cs typeface="+mn-cs"/>
              </a:rPr>
              <a:t> in the cloud, on-premises, or at the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Promote your best performing models</a:t>
            </a:r>
            <a:r>
              <a:rPr lang="en-US" sz="1200" b="0" kern="1200" dirty="0">
                <a:solidFill>
                  <a:schemeClr val="tx1"/>
                </a:solidFill>
                <a:latin typeface="+mn-lt"/>
                <a:ea typeface="+mn-ea"/>
                <a:cs typeface="+mn-cs"/>
              </a:rPr>
              <a:t> into production and retrain them when their performance degra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latin typeface="+mn-lt"/>
                <a:ea typeface="+mn-ea"/>
                <a:cs typeface="+mn-cs"/>
              </a:rPr>
              <a:t>These Azure services also empower you to leverage your favorite deep learning frameworks for AI development, 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Tensor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The Microsoft Cognitive Toolk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PyTo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Scikit-Lear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ONN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Caffe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MX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Chainer</a:t>
            </a: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lt;Transition&gt;: Let’s dive into each of these services in a little more detail, starting with Azure Databri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391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ugment your existing data systems by training and evaluating ML models in Azure Databrick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Databricks, you can:</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uild with confidence, </a:t>
            </a:r>
            <a:r>
              <a:rPr lang="en-US" sz="1200" kern="1200" dirty="0">
                <a:solidFill>
                  <a:schemeClr val="tx1"/>
                </a:solidFill>
                <a:effectLst/>
                <a:latin typeface="+mn-lt"/>
                <a:ea typeface="+mn-ea"/>
                <a:cs typeface="+mn-cs"/>
              </a:rPr>
              <a:t>backed by unmatched support, compliance and SLA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0"/>
            <a:r>
              <a:rPr lang="en-US" sz="1200" b="1" kern="1200" dirty="0">
                <a:solidFill>
                  <a:schemeClr val="tx1"/>
                </a:solidFill>
                <a:effectLst/>
                <a:latin typeface="+mn-lt"/>
                <a:ea typeface="+mn-ea"/>
                <a:cs typeface="+mn-cs"/>
              </a:rPr>
              <a:t>Scale without limits</a:t>
            </a:r>
            <a:endParaRPr lang="en-US"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endParaRPr lang="en-US" dirty="0"/>
          </a:p>
          <a:p>
            <a:r>
              <a:rPr lang="en-US" b="1" dirty="0"/>
              <a:t>&lt;Transition&gt;: Once you have trained and evaluated your machine learning and AI models, you need to operationalize your models.</a:t>
            </a:r>
          </a:p>
          <a:p>
            <a:endParaRPr lang="en-US" b="1" dirty="0"/>
          </a:p>
          <a:p>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228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Machine Learning Services empower you to bring AI to everyone with an end-to-end, scalable, trusted platform.</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oost your data science productivity with Azure Machine Learning Packages</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Python pip-installable extensions for Azure Machine Learning that simplify creating end-to-end pipelines and enable data scientists to build and deploy machine learning and deep learning models with high AI quality and faster time-to-solution for various domains. Now available for Computer Vision, Text Analytics and Time-Series Forecasting.</a:t>
            </a:r>
          </a:p>
          <a:p>
            <a:endParaRPr lang="en-US" dirty="0"/>
          </a:p>
          <a:p>
            <a:r>
              <a:rPr lang="en-US" sz="1200" b="1" i="0" kern="1200" dirty="0">
                <a:solidFill>
                  <a:schemeClr val="tx1"/>
                </a:solidFill>
                <a:effectLst/>
                <a:latin typeface="+mn-lt"/>
                <a:ea typeface="+mn-ea"/>
                <a:cs typeface="+mn-cs"/>
              </a:rPr>
              <a:t>Experimentation service</a:t>
            </a:r>
          </a:p>
          <a:p>
            <a:r>
              <a:rPr lang="en-US" sz="1200" b="0" i="0" kern="1200" dirty="0">
                <a:solidFill>
                  <a:schemeClr val="tx1"/>
                </a:solidFill>
                <a:effectLst/>
                <a:latin typeface="+mn-lt"/>
                <a:ea typeface="+mn-ea"/>
                <a:cs typeface="+mn-cs"/>
              </a:rPr>
              <a:t>Increase your rate of experimentation. Rapidly prototype on your desktop, then easily scale up on virtual machines or scale out using Spark clusters. Proactively manage model performance, identify the best model, and promote it using data-driven insights. Collaborate and share solutions using popular Git repositories.</a:t>
            </a:r>
            <a:endParaRPr lang="en-US" dirty="0"/>
          </a:p>
          <a:p>
            <a:endParaRPr lang="en-US" dirty="0"/>
          </a:p>
          <a:p>
            <a:r>
              <a:rPr lang="en-US" sz="1200" b="1" i="0" kern="1200" dirty="0">
                <a:solidFill>
                  <a:schemeClr val="tx1"/>
                </a:solidFill>
                <a:effectLst/>
                <a:latin typeface="+mn-lt"/>
                <a:ea typeface="+mn-ea"/>
                <a:cs typeface="+mn-cs"/>
              </a:rPr>
              <a:t>Model management</a:t>
            </a:r>
          </a:p>
          <a:p>
            <a:r>
              <a:rPr lang="en-US" sz="1200" b="0" i="0" kern="1200" dirty="0">
                <a:solidFill>
                  <a:schemeClr val="tx1"/>
                </a:solidFill>
                <a:effectLst/>
                <a:latin typeface="+mn-lt"/>
                <a:ea typeface="+mn-ea"/>
                <a:cs typeface="+mn-cs"/>
              </a:rPr>
              <a:t>Deploy and manage your models everywhere. Use Docker containers to deploy models into production faster in the cloud, on-premises, or at the edge. Promote your best performing models into production and retrain them when their performance degrad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Azure Machine Learning Workbench integrates with ONNX models. </a:t>
            </a:r>
          </a:p>
          <a:p>
            <a:r>
              <a:rPr lang="en-US" sz="1200" b="0" i="0" kern="1200" dirty="0">
                <a:solidFill>
                  <a:schemeClr val="tx1"/>
                </a:solidFill>
                <a:effectLst/>
                <a:latin typeface="+mn-lt"/>
                <a:ea typeface="+mn-ea"/>
                <a:cs typeface="+mn-cs"/>
              </a:rPr>
              <a:t>Downloadable desktop application and command-line interface for Windows and MacOS. Built-in data preparation learns your data preparation steps as you perform them. Project management, run history, and notebook integration bolsters your productivity. Take advantage of the best open source frameworks, including TensorFlow, Cognitive Toolkit, Spark ML, and scikit-learn.</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ork with your ONNX models from Visual Studio Code Tools for AI. </a:t>
            </a:r>
          </a:p>
          <a:p>
            <a:r>
              <a:rPr lang="en-US" sz="1200" b="0" i="0" kern="1200" dirty="0">
                <a:solidFill>
                  <a:schemeClr val="tx1"/>
                </a:solidFill>
                <a:effectLst/>
                <a:latin typeface="+mn-lt"/>
                <a:ea typeface="+mn-ea"/>
                <a:cs typeface="+mn-cs"/>
              </a:rPr>
              <a:t>Easily convert models from popular toolkits to the ONNX format through WinML tools and programmatically call services to integrate with Azure Machine Learning Services.</a:t>
            </a:r>
          </a:p>
          <a:p>
            <a:r>
              <a:rPr lang="en-US" sz="1200" b="0" i="0" kern="1200" dirty="0">
                <a:solidFill>
                  <a:schemeClr val="tx1"/>
                </a:solidFill>
                <a:effectLst/>
                <a:latin typeface="+mn-lt"/>
                <a:ea typeface="+mn-ea"/>
                <a:cs typeface="+mn-cs"/>
              </a:rPr>
              <a:t>Build deep learning models and call services straight from your favorite IDE easier with Azure Machine Learning services built right in. Create a seamless developer experience across desktop, cloud, or at the edge.</a:t>
            </a:r>
          </a:p>
          <a:p>
            <a:endParaRPr lang="en-US" dirty="0"/>
          </a:p>
          <a:p>
            <a:r>
              <a:rPr lang="en-US" sz="1200" b="1" i="0" kern="1200" dirty="0">
                <a:solidFill>
                  <a:schemeClr val="tx1"/>
                </a:solidFill>
                <a:effectLst/>
                <a:latin typeface="+mn-lt"/>
                <a:ea typeface="+mn-ea"/>
                <a:cs typeface="+mn-cs"/>
              </a:rPr>
              <a:t>AI Toolkit for Azure IoT Edge</a:t>
            </a:r>
          </a:p>
          <a:p>
            <a:r>
              <a:rPr lang="en-US" sz="1200" b="0" i="0" kern="1200" dirty="0">
                <a:solidFill>
                  <a:schemeClr val="tx1"/>
                </a:solidFill>
                <a:effectLst/>
                <a:latin typeface="+mn-lt"/>
                <a:ea typeface="+mn-ea"/>
                <a:cs typeface="+mn-cs"/>
              </a:rPr>
              <a:t>Bring the power of artificial intelligence and machine learning to the edge. Package pre-built models such as predictive maintenance, image classification, and speech processing and deploy to IoT gateways or devices with Azure Machine Learning and Azure IoT Edge.</a:t>
            </a:r>
          </a:p>
          <a:p>
            <a:endParaRPr lang="en-US" dirty="0"/>
          </a:p>
          <a:p>
            <a:r>
              <a:rPr lang="en-US" sz="1200" b="1" i="0" kern="1200" dirty="0">
                <a:solidFill>
                  <a:schemeClr val="tx1"/>
                </a:solidFill>
                <a:effectLst/>
                <a:latin typeface="+mn-lt"/>
                <a:ea typeface="+mn-ea"/>
                <a:cs typeface="+mn-cs"/>
              </a:rPr>
              <a:t>MMLSpark is an open-source Spark package </a:t>
            </a:r>
            <a:r>
              <a:rPr lang="en-US" sz="1200" b="0" i="0" kern="1200" dirty="0">
                <a:solidFill>
                  <a:schemeClr val="tx1"/>
                </a:solidFill>
                <a:effectLst/>
                <a:latin typeface="+mn-lt"/>
                <a:ea typeface="+mn-ea"/>
                <a:cs typeface="+mn-cs"/>
              </a:rPr>
              <a:t>that enables you to quickly create powerful, highly-scalable predictive and analytical models for large image and text datasets by using deep learning and data science tools for Apache Spark.</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46280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We have a reference architecture to guide you through implementing our out-of-the-box Developer AI services so you can process natural language, create intelligent bots, and build enterprise search solutions—without extensive development and infrastructure management on your e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91347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285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fontAlgn="ctr"/>
            <a:r>
              <a:rPr lang="en-US" sz="1200" b="0" i="0" kern="1200" dirty="0">
                <a:solidFill>
                  <a:schemeClr val="tx1"/>
                </a:solidFill>
                <a:effectLst/>
                <a:latin typeface="+mn-lt"/>
                <a:ea typeface="+mn-ea"/>
                <a:cs typeface="+mn-cs"/>
              </a:rPr>
              <a:t>These are just a few of Microsoft’s finished AI solutions that your organization can leverage across common use cases.</a:t>
            </a:r>
          </a:p>
          <a:p>
            <a:pPr lvl="0" rtl="0" fontAlgn="ct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Microsoft Cognitive Services </a:t>
            </a:r>
            <a:r>
              <a:rPr lang="en-US" sz="1200" b="0" i="0" kern="1200" dirty="0">
                <a:solidFill>
                  <a:schemeClr val="tx1"/>
                </a:solidFill>
                <a:effectLst/>
                <a:latin typeface="+mn-lt"/>
                <a:ea typeface="+mn-ea"/>
                <a:cs typeface="+mn-cs"/>
              </a:rPr>
              <a:t>is</a:t>
            </a:r>
            <a:r>
              <a:rPr lang="en-US" sz="1200" b="1" i="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 set of cloud services, APIs, and SDKs that enable organizations to build intelligent systems that can see, hear, interpret, and understand the world around you, making all applications more intelligent, engaging and discoverable. Cognitive Services expands the existing perceptual intelligence capabilities like Vision, Speech, Text, and Face detection to include new cognitive capabilities such as Emotion and customized Language Understanding.  </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Azure Search </a:t>
            </a:r>
            <a:r>
              <a:rPr lang="en-US" sz="1200" b="0" i="0" kern="1200" dirty="0">
                <a:solidFill>
                  <a:schemeClr val="tx1"/>
                </a:solidFill>
                <a:effectLst/>
                <a:latin typeface="+mn-lt"/>
                <a:ea typeface="+mn-ea"/>
                <a:cs typeface="+mn-cs"/>
              </a:rPr>
              <a:t>is a search-as-a-service cloud solution that gives developers APIs and tools for adding a rich search experience over private, heterogeneous content in web, mobile, and enterprise applications. Functionality is exposed through a simple REST API or .NET SDK that masks the inherent complexity of information retrieval. In addition to APIs, the Azure portal provides administration and content management support, with tools for prototyping and querying your indexes.</a:t>
            </a:r>
          </a:p>
          <a:p>
            <a:pPr lvl="1" rtl="0" fontAlgn="ctr"/>
            <a:endParaRPr lang="en-US" sz="1200" b="1"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Microsoft Bot Service</a:t>
            </a:r>
            <a:r>
              <a:rPr lang="en-US" sz="1200" b="0" i="0" kern="1200" dirty="0">
                <a:solidFill>
                  <a:schemeClr val="tx1"/>
                </a:solidFill>
                <a:effectLst/>
                <a:latin typeface="+mn-lt"/>
                <a:ea typeface="+mn-ea"/>
                <a:cs typeface="+mn-cs"/>
              </a:rPr>
              <a:t> enables organizations to build intelligent agents (Bots) that allow your intelligent systems to interact with users in more contextual and natural ways, from text/SMS to Office365 mail to Skype, Slack, and other services. The Bot Service provides developers with a developer portal and SDK to build your bot, a bot connector service to connect to social channels such as Twitter and Slack, and a bot directory to discover and use existing bots. </a:t>
            </a:r>
          </a:p>
          <a:p>
            <a:pPr lvl="1" rtl="0" fontAlgn="ct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Visual Studio Tools for AI</a:t>
            </a:r>
            <a:r>
              <a:rPr lang="en-US" sz="1200" b="0" i="0" kern="1200" dirty="0">
                <a:solidFill>
                  <a:schemeClr val="tx1"/>
                </a:solidFill>
                <a:effectLst/>
                <a:latin typeface="+mn-lt"/>
                <a:ea typeface="+mn-ea"/>
                <a:cs typeface="+mn-cs"/>
              </a:rPr>
              <a:t> allows you to easily convert models from popular toolkits to the ONNX format through WinML tools and programmatically call services to integrate with Azure Machine Learning Services.</a:t>
            </a:r>
          </a:p>
          <a:p>
            <a:pPr lvl="1" rtl="0" fontAlgn="ctr"/>
            <a:endParaRPr lang="en-US" sz="1200" b="1" i="0"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f you’re a .NET developer, check out ML.NET for an open-source and cross-platform machine learning framework.</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t;Transition&gt;: With this combination of pre-built solutions and build-it-yourself capabilities, we help our customers win with AI.</a:t>
            </a:r>
          </a:p>
          <a:p>
            <a:pPr lvl="0" rtl="0" fontAlgn="ctr"/>
            <a:endParaRPr lang="en-US" sz="1200" b="0" i="0" kern="1200" dirty="0">
              <a:solidFill>
                <a:schemeClr val="tx1"/>
              </a:solidFill>
              <a:effectLst/>
              <a:latin typeface="+mn-lt"/>
              <a:ea typeface="+mn-ea"/>
              <a:cs typeface="+mn-cs"/>
            </a:endParaRPr>
          </a:p>
          <a:p>
            <a:pPr lvl="0" rtl="0" fontAlgn="ct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535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trategy is to build best-in-class platforms and productivity services for an intelligent cloud and an intelligent edge infused with AI.</a:t>
            </a:r>
          </a:p>
          <a:p>
            <a:endParaRPr lang="en-US" dirty="0"/>
          </a:p>
          <a:p>
            <a:pPr marL="0" indent="0">
              <a:buFont typeface="Arial" panose="020B0604020202020204" pitchFamily="34" charset="0"/>
              <a:buNone/>
            </a:pPr>
            <a:r>
              <a:rPr lang="en-US" b="0" dirty="0"/>
              <a:t>Today, we are helping to lead our customers into the future of digital</a:t>
            </a:r>
          </a:p>
          <a:p>
            <a:pPr marL="171450" indent="-171450">
              <a:buFont typeface="Arial" panose="020B0604020202020204" pitchFamily="34" charset="0"/>
              <a:buChar char="•"/>
            </a:pPr>
            <a:r>
              <a:rPr lang="en-US" b="0" dirty="0"/>
              <a:t>Transform engagements with customers and employees using conversational agents—by 2025, 95% of customer interactions will be powered by AI bots</a:t>
            </a:r>
          </a:p>
          <a:p>
            <a:pPr marL="171450" indent="-171450">
              <a:buFont typeface="Arial" panose="020B0604020202020204" pitchFamily="34" charset="0"/>
              <a:buChar char="•"/>
            </a:pPr>
            <a:r>
              <a:rPr lang="en-US" b="0" dirty="0"/>
              <a:t>Leverage AI to create the future of intelligent business applications—by the end of this year, 75% of applications will include AI</a:t>
            </a:r>
          </a:p>
          <a:p>
            <a:pPr marL="171450" indent="-171450">
              <a:buFont typeface="Arial" panose="020B0604020202020204" pitchFamily="34" charset="0"/>
              <a:buChar char="•"/>
            </a:pPr>
            <a:r>
              <a:rPr lang="en-US" b="0" dirty="0"/>
              <a:t>Transform critical business processes with AI—by 2020, 85% of enterprises will be using AI</a:t>
            </a:r>
          </a:p>
          <a:p>
            <a:pPr marL="0" indent="0">
              <a:buFont typeface="Arial" panose="020B0604020202020204" pitchFamily="34" charset="0"/>
              <a:buNone/>
            </a:pPr>
            <a:endParaRPr lang="en-US" b="0" dirty="0"/>
          </a:p>
          <a:p>
            <a:pPr marL="0" indent="0">
              <a:buFont typeface="Arial" panose="020B0604020202020204" pitchFamily="34" charset="0"/>
              <a:buNone/>
            </a:pPr>
            <a:r>
              <a:rPr lang="en-US" b="1" dirty="0"/>
              <a:t>&lt;Transition&gt;: The intelligent edge bridges the digital and real world—enabling you to deliver a seamless experience and compute capabilities wherever your data exists—in the cloud or offline. Let’s take a look at some of the great things that customers are doing with edge technologies.</a:t>
            </a:r>
          </a:p>
          <a:p>
            <a:pPr marL="0" indent="0">
              <a:buFont typeface="Arial" panose="020B0604020202020204" pitchFamily="34" charset="0"/>
              <a:buNone/>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E6185D-91CB-4E7C-9292-74D56AD3EC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55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verage our comprehensive platform of tools, frameworks, and infrastructure to build Custom AI solutions like drones and smart kiosk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ith volumes of data, drones need intelligent, pre-cloud processing capabilities at the device level to make real-time decis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Utilize packaged AI solutions for enterprise to infuse intelligence into factories and hom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mbed intelligence into industrial assets at the network edge to make predictive decisions on local devices, avoiding critical failur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ransform the home with smart kitchen and smart bath products with end-to-end intelligence that adapts to user habits and preferences.</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Deploy pre-trained Developer AI solutions to create intelligent cameras and speakers.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evelop smart cameras that utilize image-processing algorithms </a:t>
            </a:r>
            <a:r>
              <a:rPr lang="en-US" sz="1200" b="0" i="0" kern="1200" dirty="0">
                <a:solidFill>
                  <a:schemeClr val="tx1"/>
                </a:solidFill>
                <a:effectLst/>
                <a:latin typeface="+mn-lt"/>
                <a:ea typeface="+mn-ea"/>
                <a:cs typeface="+mn-cs"/>
              </a:rPr>
              <a:t>to smartly identify, caption, and moderate your pictures.</a:t>
            </a: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Voice-activated speakers combine premium audio with your own personal digital assistant.</a:t>
            </a:r>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a:solidFill>
                  <a:schemeClr val="tx1"/>
                </a:solidFill>
                <a:effectLst/>
                <a:latin typeface="Segoe UI Light" pitchFamily="34" charset="0"/>
                <a:ea typeface="+mn-ea"/>
                <a:cs typeface="+mn-cs"/>
              </a:rPr>
              <a:t>&lt;Transition&gt;: Business isn’t the only category that will be transformed by AI…</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60864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 $25 million program that harnesses the power of AI to amplify human capability for the more than one billion people around the world with a disability.</a:t>
            </a:r>
          </a:p>
          <a:p>
            <a:endParaRPr lang="en-US" dirty="0"/>
          </a:p>
          <a:p>
            <a:r>
              <a:rPr lang="en-US" dirty="0"/>
              <a:t>There are many ways to cultivate intelligent experiences for people with disabilities. We are focusing on three areas:</a:t>
            </a:r>
          </a:p>
          <a:p>
            <a:endParaRPr lang="en-US" dirty="0"/>
          </a:p>
          <a:p>
            <a:r>
              <a:rPr lang="en-US" dirty="0"/>
              <a:t>The first is employment. According to the US Office of Disability Employment Policy, the unemployment rate is twice as high for people with disabilities. AI can help people develop professional skills and influence workplace culture and inclusive hiring.</a:t>
            </a:r>
          </a:p>
          <a:p>
            <a:endParaRPr lang="en-US" dirty="0"/>
          </a:p>
          <a:p>
            <a:r>
              <a:rPr lang="en-US" dirty="0"/>
              <a:t>The second is modern life. AI is capable of hearing, seeing, and reasoning with increasing accuracy. By making software and devices smarter, and keeping them affordable, people gain independence to perform daily tasks and personalize tools for their unique needs.</a:t>
            </a:r>
          </a:p>
          <a:p>
            <a:endParaRPr lang="en-US" dirty="0"/>
          </a:p>
          <a:p>
            <a:r>
              <a:rPr lang="en-US" dirty="0"/>
              <a:t>The final area is human connection. Equal access to information and opportunity requires communication. Technology can create possibilities for all people, regardless of how they listen, speak, or write.</a:t>
            </a:r>
          </a:p>
          <a:p>
            <a:endParaRPr lang="en-US" dirty="0"/>
          </a:p>
          <a:p>
            <a:r>
              <a:rPr lang="en-US" b="0" dirty="0"/>
              <a:t>Let’s take a look at some of the ways AI is being used to empower people with disabilities.</a:t>
            </a:r>
          </a:p>
          <a:p>
            <a:endParaRPr lang="en-US" b="1" dirty="0"/>
          </a:p>
          <a:p>
            <a:r>
              <a:rPr lang="en-US" b="1" dirty="0"/>
              <a:t>Seeing AI </a:t>
            </a:r>
            <a:r>
              <a:rPr lang="en-US" b="0" dirty="0"/>
              <a:t>is a free app that narrates the world around you. Designed for the low vision community, this research project harnesses the power of AI to describe people, text and objects.</a:t>
            </a:r>
          </a:p>
          <a:p>
            <a:endParaRPr lang="en-US" b="0" dirty="0"/>
          </a:p>
          <a:p>
            <a:r>
              <a:rPr lang="en-US" b="1" dirty="0"/>
              <a:t>Helpicto</a:t>
            </a:r>
            <a:r>
              <a:rPr lang="en-US" b="0" dirty="0"/>
              <a:t> – Equadex partnered with Microsoft to develop a pictogram app for children who are nonverbal. Helpicto uses speech-to-text to generate sentences and leverages language understanding to categorize keywords.</a:t>
            </a:r>
          </a:p>
          <a:p>
            <a:endParaRPr lang="en-US" b="0" dirty="0"/>
          </a:p>
          <a:p>
            <a:r>
              <a:rPr lang="en-US" b="1" dirty="0"/>
              <a:t>Microsoft Translator </a:t>
            </a:r>
            <a:r>
              <a:rPr lang="en-US" b="0" dirty="0"/>
              <a:t>– Rochester Institute of Technology is using custom speech models and Microsoft Translator to improve accuracy of real-time captions for students who are deaf or hard-of-hearing.</a:t>
            </a:r>
          </a:p>
          <a:p>
            <a:endParaRPr lang="en-US" b="0" dirty="0"/>
          </a:p>
          <a:p>
            <a:r>
              <a:rPr lang="en-US" b="1" dirty="0"/>
              <a:t>&lt;Transition&gt;: All of this is made possible by Microsoft’s comprehensive AI portfolio.</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6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Gartner predicts that, in 2018, the global business value derived from AI will be $1.2 trillion.</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is value comes from three sources – customer experience, cost reduction, and new revenue.</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In 2019, this number will grow to $1.9 trill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2.6T in 2020</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3.3T in 2021</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3.9T in 2022</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0" kern="1200" dirty="0">
                <a:solidFill>
                  <a:schemeClr val="tx1"/>
                </a:solidFill>
                <a:effectLst/>
                <a:latin typeface="+mn-lt"/>
                <a:ea typeface="+mn-ea"/>
                <a:cs typeface="+mn-cs"/>
              </a:rPr>
              <a:t>By this point, new revenue will become the dominant source of AI-derived business value.</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3.9T. Let’s break that down.</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906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824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9157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Now, at this point, you’re probably wondering, “how do I get sta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4021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Now, at this point, you’re probably wondering, “how do I get started?”</a:t>
            </a:r>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3592338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9200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say advanced analytics, we’re really talking about two components – machine learning and AI.</a:t>
            </a:r>
          </a:p>
          <a:p>
            <a:pPr marL="171450" indent="-171450">
              <a:buFont typeface="Arial" panose="020B0604020202020204" pitchFamily="34" charset="0"/>
              <a:buChar char="•"/>
            </a:pPr>
            <a:r>
              <a:rPr lang="en-US" dirty="0"/>
              <a:t>Machine learning enables organizations to perform predictive and prescriptive analytics. </a:t>
            </a:r>
          </a:p>
          <a:p>
            <a:pPr marL="171450" indent="-171450">
              <a:buFont typeface="Arial" panose="020B0604020202020204" pitchFamily="34" charset="0"/>
              <a:buChar char="•"/>
            </a:pPr>
            <a:r>
              <a:rPr lang="en-US" dirty="0"/>
              <a:t>AI solutions power bots and agents that transform businesses.</a:t>
            </a:r>
          </a:p>
          <a:p>
            <a:endParaRPr lang="en-US" dirty="0"/>
          </a:p>
          <a:p>
            <a:r>
              <a:rPr lang="en-US" dirty="0"/>
              <a:t>Advanced analytics empowers organizations to harness their data to make predictions and recommendations that transform their busines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Our advanced analytics opportunity is to help every customer build their digital capability into every aspect of their business to drive these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lt;Transition&gt;: Implementing advanced analytics in your business unlocks a new world of benefits.</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2900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7840877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lang="en-US"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606067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16874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937915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Gartner predicts that, in 2022, the global business value derived from AI will be $3.9 trillion.</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Decision support and augmentation will account for $1.7T.</a:t>
            </a:r>
          </a:p>
          <a:p>
            <a:r>
              <a:rPr lang="en-US" sz="1200" b="0" kern="1200" dirty="0">
                <a:solidFill>
                  <a:schemeClr val="tx1"/>
                </a:solidFill>
                <a:effectLst/>
                <a:latin typeface="+mn-lt"/>
                <a:ea typeface="+mn-ea"/>
                <a:cs typeface="+mn-cs"/>
              </a:rPr>
              <a:t>Virtual agents will account for $1T.</a:t>
            </a:r>
          </a:p>
          <a:p>
            <a:r>
              <a:rPr lang="en-US" sz="1200" b="0" kern="1200" dirty="0">
                <a:solidFill>
                  <a:schemeClr val="tx1"/>
                </a:solidFill>
                <a:effectLst/>
                <a:latin typeface="+mn-lt"/>
                <a:ea typeface="+mn-ea"/>
                <a:cs typeface="+mn-cs"/>
              </a:rPr>
              <a:t>Smart products will account for $624B.</a:t>
            </a:r>
          </a:p>
          <a:p>
            <a:r>
              <a:rPr lang="en-US" sz="1200" b="0" kern="1200" dirty="0">
                <a:solidFill>
                  <a:schemeClr val="tx1"/>
                </a:solidFill>
                <a:effectLst/>
                <a:latin typeface="+mn-lt"/>
                <a:ea typeface="+mn-ea"/>
                <a:cs typeface="+mn-cs"/>
              </a:rPr>
              <a:t>Decision automation systems will account for $546B.</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3.9T. Let’s break that down.</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0177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2007503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9241838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3773546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1662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39717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www.istockphoto.com/in/photo/solar-panels-gm478895934-6805685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2050"/>
                </a:solidFill>
                <a:ea typeface="Segoe UI" pitchFamily="34" charset="0"/>
                <a:cs typeface="Segoe UI" pitchFamily="34" charset="0"/>
              </a:rPr>
              <a:t>Pull from connected retailers deck</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88118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0761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3559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1089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78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d like to understand where you see your business in terms of adopting advanced analytics and where you would like to be in the futur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company today?</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company in the futur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top competitors today?</a:t>
            </a:r>
          </a:p>
          <a:p>
            <a:pPr marL="171450" indent="-171450">
              <a:buFont typeface="Arial" panose="020B0604020202020204" pitchFamily="34" charset="0"/>
              <a:buChar char="•"/>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lt;Transition&gt;: We conducted an independent research study where we talked with our customers about these exact three ques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3260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50</a:t>
            </a:fld>
            <a:endParaRPr lang="en-US" dirty="0"/>
          </a:p>
        </p:txBody>
      </p:sp>
    </p:spTree>
    <p:extLst>
      <p:ext uri="{BB962C8B-B14F-4D97-AF65-F5344CB8AC3E}">
        <p14:creationId xmlns:p14="http://schemas.microsoft.com/office/powerpoint/2010/main" val="40562490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7602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4733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067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5978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3137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3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Here is what we found:</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Most feel they are somewhere in the middle when it comes to advanced analytics adopt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a:t>
            </a:r>
            <a:r>
              <a:rPr lang="en-US" sz="1200" b="0" kern="1200" dirty="0">
                <a:solidFill>
                  <a:schemeClr val="tx1"/>
                </a:solidFill>
                <a:effectLst/>
                <a:latin typeface="+mn-lt"/>
                <a:ea typeface="+mn-ea"/>
                <a:cs typeface="+mn-cs"/>
              </a:rPr>
              <a:t> ALL perceive significant advancement in their organization in the future</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Most believe there is no “end game” for advanced analytics—it is something that is constantly evolving towards more complex and refined capabilities</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Most think of it as an “evolve or die” situat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Most tend to feel their competitors are ahead in the analytics space</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Companies tended to say their major competitor was also a company that was “ahead of the curve” when it comes to big data and advanced analytics</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0" kern="1200" dirty="0">
                <a:solidFill>
                  <a:schemeClr val="tx1"/>
                </a:solidFill>
                <a:effectLst/>
                <a:latin typeface="+mn-lt"/>
                <a:ea typeface="+mn-ea"/>
                <a:cs typeface="+mn-cs"/>
              </a:rPr>
              <a:t>Indicators of advanced placement includ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Massive data aggregation and analysis</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Use of machine learning</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Incorporation of AI into standard processes</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Use of real-time or streaming data</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Deployment of IoT network</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lt;Transition&gt;: Now that we understand the advanced analytics landscape, we’d like to focus on how companies are using “AA” to drive transformational business outcomes.</a:t>
            </a:r>
          </a:p>
          <a:p>
            <a:pPr marL="171450" indent="-171450">
              <a:buFont typeface="Arial" panose="020B0604020202020204" pitchFamily="34" charset="0"/>
              <a:buChar char="•"/>
            </a:pPr>
            <a:endParaRPr lang="en-US" sz="1200" b="1"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337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ach of advanced analytics extends beyond any single business area or department. From marketing, to finance, to operations, advanced analytics can transform your busines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t;Transition&gt;: Let’s talk about a few customer stories in more depth. These highlight the advantages of how data, analytics, the cloud, and intelligence can drive better outcomes.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879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machine learning, you can build powerful recommendation engines to delight customers with improved shopping experienc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average size of a single cart has decreased as customers spend more money in general, but spend less per retailer.</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ecommendation engines powered by machine learning engage customers by providing relevant content, leading to increased cart size.</a:t>
            </a:r>
          </a:p>
          <a:p>
            <a:r>
              <a:rPr lang="en-US" sz="900" kern="1200" dirty="0">
                <a:solidFill>
                  <a:schemeClr val="tx1"/>
                </a:solidFill>
                <a:effectLst/>
                <a:latin typeface="Segoe UI Light" pitchFamily="34" charset="0"/>
                <a:ea typeface="+mn-ea"/>
                <a:cs typeface="+mn-cs"/>
              </a:rPr>
              <a:t>ASOS built a recommendations platform on Azure that provides personalized experiences to its more than 15 million customers, capable of processing over 33 orders per second.</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ustomers can also use machine learning on Azure to optimize operations through predictive maintenanc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all know that equipment failures can lead to cost overruns and unnecessary downtim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f we anticipate failures and predict when maintenance should be performed, we can prevent disruptions and manage cost.</a:t>
            </a:r>
          </a:p>
          <a:p>
            <a:r>
              <a:rPr lang="en-US" sz="900" kern="1200" dirty="0">
                <a:solidFill>
                  <a:schemeClr val="tx1"/>
                </a:solidFill>
                <a:effectLst/>
                <a:latin typeface="Segoe UI Light" pitchFamily="34" charset="0"/>
                <a:ea typeface="+mn-ea"/>
                <a:cs typeface="+mn-cs"/>
              </a:rPr>
              <a:t>Carnival Maritime used machine learning on Azure to accomplish exactly that—saving $200k per ship per year by predicting onboard water usage.</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et another way that our customers are bringing advanced analytics to life is through demand forecasting.</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olar energy is generated by myriad providers with variable production, making it challenging to integrate with traditional power transmission grid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order to align solar energy supply with the optimal markets, they need to forecast the weather, expected energy production, and energy values across multiple markets.</a:t>
            </a: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zure provided Renewables.AI the power, scale, and capacity to build a stable and profitable solar energy market.</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a:solidFill>
                  <a:schemeClr val="tx1"/>
                </a:solidFill>
                <a:effectLst/>
                <a:latin typeface="Segoe UI Light" pitchFamily="34" charset="0"/>
                <a:ea typeface="+mn-ea"/>
                <a:cs typeface="+mn-cs"/>
              </a:rPr>
              <a:t>&lt;Transition&gt;: Let’s take a closer look at how companies like these are achieving these results.</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0244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mpanies that are successful with AA are serving their users with intelligent applications to improve the customer experience, reduce costs, and increase revenue.</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In order to do this, they need to:</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kern="1200" dirty="0">
                <a:solidFill>
                  <a:schemeClr val="tx1"/>
                </a:solidFill>
                <a:effectLst/>
                <a:latin typeface="Segoe UI Light" pitchFamily="34" charset="0"/>
                <a:ea typeface="+mn-ea"/>
                <a:cs typeface="+mn-cs"/>
              </a:rPr>
              <a:t>Build a unified and usable data pipeline by storing and processing data from a variety of sources</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b="0" kern="1200" dirty="0">
                <a:solidFill>
                  <a:schemeClr val="tx1"/>
                </a:solidFill>
                <a:effectLst/>
                <a:latin typeface="Segoe UI Light" pitchFamily="34" charset="0"/>
                <a:ea typeface="+mn-ea"/>
                <a:cs typeface="+mn-cs"/>
              </a:rPr>
              <a:t>Train ML and DL models to d</a:t>
            </a:r>
            <a:r>
              <a:rPr lang="en-US" sz="1200" kern="1200" dirty="0">
                <a:solidFill>
                  <a:schemeClr val="tx1"/>
                </a:solidFill>
                <a:effectLst/>
                <a:latin typeface="Segoe UI Light" pitchFamily="34" charset="0"/>
                <a:ea typeface="+mn-ea"/>
                <a:cs typeface="+mn-cs"/>
              </a:rPr>
              <a:t>erive insights from your data </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b="0" kern="1200" dirty="0">
                <a:solidFill>
                  <a:schemeClr val="tx1"/>
                </a:solidFill>
                <a:effectLst/>
                <a:latin typeface="Segoe UI Light" pitchFamily="34" charset="0"/>
                <a:ea typeface="+mn-ea"/>
                <a:cs typeface="+mn-cs"/>
              </a:rPr>
              <a:t>Operationalize models and d</a:t>
            </a:r>
            <a:r>
              <a:rPr lang="en-US" sz="1200" kern="1200" dirty="0">
                <a:solidFill>
                  <a:schemeClr val="tx1"/>
                </a:solidFill>
                <a:effectLst/>
                <a:latin typeface="Segoe UI Light" pitchFamily="34" charset="0"/>
                <a:ea typeface="+mn-ea"/>
                <a:cs typeface="+mn-cs"/>
              </a:rPr>
              <a:t>istribute insights through a scalable platform to support a multitude of front-end assets</a:t>
            </a:r>
          </a:p>
          <a:p>
            <a:pPr marL="0" indent="0">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dirty="0">
                <a:solidFill>
                  <a:schemeClr val="tx1"/>
                </a:solidFill>
                <a:effectLst/>
                <a:latin typeface="Segoe UI Light" pitchFamily="34" charset="0"/>
                <a:ea typeface="+mn-ea"/>
                <a:cs typeface="+mn-cs"/>
              </a:rPr>
              <a:t>&lt;Transition&gt;: These steps are necessary to achieving success in advanced analytic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092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84237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6B69B5B9-7877-4F8B-BB1C-28ED77E03397}"/>
              </a:ext>
            </a:extLst>
          </p:cNvPr>
          <p:cNvSpPr>
            <a:spLocks noGrp="1"/>
          </p:cNvSpPr>
          <p:nvPr>
            <p:ph type="title"/>
          </p:nvPr>
        </p:nvSpPr>
        <p:spPr>
          <a:xfrm>
            <a:off x="426424" y="224112"/>
            <a:ext cx="11336039" cy="74401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Tree>
    <p:extLst>
      <p:ext uri="{BB962C8B-B14F-4D97-AF65-F5344CB8AC3E}">
        <p14:creationId xmlns:p14="http://schemas.microsoft.com/office/powerpoint/2010/main" val="582556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Tree>
    <p:extLst>
      <p:ext uri="{BB962C8B-B14F-4D97-AF65-F5344CB8AC3E}">
        <p14:creationId xmlns:p14="http://schemas.microsoft.com/office/powerpoint/2010/main" val="159213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269820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9717753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6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0466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52741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9481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38052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1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64492443"/>
      </p:ext>
    </p:extLst>
  </p:cSld>
  <p:clrMap bg1="lt1" tx1="dk1" bg2="lt2" tx2="dk2" accent1="accent1" accent2="accent2" accent3="accent3" accent4="accent4" accent5="accent5" accent6="accent6" hlink="hlink" folHlink="folHlink"/>
  <p:sldLayoutIdLst>
    <p:sldLayoutId id="2147483982" r:id="rId1"/>
    <p:sldLayoutId id="2147483991" r:id="rId2"/>
    <p:sldLayoutId id="2147484001" r:id="rId3"/>
    <p:sldLayoutId id="2147484006" r:id="rId4"/>
    <p:sldLayoutId id="2147484008" r:id="rId5"/>
    <p:sldLayoutId id="2147484010" r:id="rId6"/>
    <p:sldLayoutId id="2147484011" r:id="rId7"/>
    <p:sldLayoutId id="2147484012" r:id="rId8"/>
    <p:sldLayoutId id="2147484013" r:id="rId9"/>
    <p:sldLayoutId id="214748401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49.jpeg"/><Relationship Id="rId4" Type="http://schemas.openxmlformats.org/officeDocument/2006/relationships/image" Target="../media/image48.jpeg"/></Relationships>
</file>

<file path=ppt/slides/_rels/slide29.xml.rels><?xml version="1.0" encoding="UTF-8" standalone="yes"?>
<Relationships xmlns="http://schemas.openxmlformats.org/package/2006/relationships"><Relationship Id="rId8" Type="http://schemas.openxmlformats.org/officeDocument/2006/relationships/hyperlink" Target="https://customers.microsoft.com/en-us/story/equadex-partner-professional-services-cognitive-services" TargetMode="External"/><Relationship Id="rId3" Type="http://schemas.openxmlformats.org/officeDocument/2006/relationships/image" Target="../media/image50.jpeg"/><Relationship Id="rId7" Type="http://schemas.openxmlformats.org/officeDocument/2006/relationships/hyperlink" Target="https://www.microsoft.com/en-us/seeing-ai/"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slide" Target="slide57.xml"/><Relationship Id="rId11" Type="http://schemas.openxmlformats.org/officeDocument/2006/relationships/image" Target="../media/image55.png"/><Relationship Id="rId5" Type="http://schemas.openxmlformats.org/officeDocument/2006/relationships/image" Target="../media/image52.jpeg"/><Relationship Id="rId10" Type="http://schemas.openxmlformats.org/officeDocument/2006/relationships/image" Target="../media/image54.png"/><Relationship Id="rId4" Type="http://schemas.openxmlformats.org/officeDocument/2006/relationships/image" Target="../media/image51.jpeg"/><Relationship Id="rId9"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34" Type="http://schemas.openxmlformats.org/officeDocument/2006/relationships/image" Target="../media/image87.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jpeg"/><Relationship Id="rId33" Type="http://schemas.openxmlformats.org/officeDocument/2006/relationships/image" Target="../media/image86.png"/><Relationship Id="rId2" Type="http://schemas.openxmlformats.org/officeDocument/2006/relationships/notesSlide" Target="../notesSlides/notesSlide32.xml"/><Relationship Id="rId16" Type="http://schemas.openxmlformats.org/officeDocument/2006/relationships/image" Target="../media/image69.png"/><Relationship Id="rId20" Type="http://schemas.openxmlformats.org/officeDocument/2006/relationships/image" Target="../media/image73.jpeg"/><Relationship Id="rId29"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jpeg"/><Relationship Id="rId32" Type="http://schemas.openxmlformats.org/officeDocument/2006/relationships/image" Target="../media/image85.jpeg"/><Relationship Id="rId5" Type="http://schemas.openxmlformats.org/officeDocument/2006/relationships/image" Target="../media/image58.jpe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36" Type="http://schemas.openxmlformats.org/officeDocument/2006/relationships/image" Target="../media/image89.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jpeg"/><Relationship Id="rId27" Type="http://schemas.openxmlformats.org/officeDocument/2006/relationships/image" Target="../media/image80.png"/><Relationship Id="rId30" Type="http://schemas.openxmlformats.org/officeDocument/2006/relationships/image" Target="../media/image83.png"/><Relationship Id="rId35" Type="http://schemas.openxmlformats.org/officeDocument/2006/relationships/image" Target="../media/image88.png"/><Relationship Id="rId8" Type="http://schemas.openxmlformats.org/officeDocument/2006/relationships/image" Target="../media/image61.png"/></Relationships>
</file>

<file path=ppt/slides/_rels/slide33.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image" Target="../media/image90.png"/><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5" Type="http://schemas.openxmlformats.org/officeDocument/2006/relationships/image" Target="../media/image112.png"/><Relationship Id="rId2" Type="http://schemas.openxmlformats.org/officeDocument/2006/relationships/notesSlide" Target="../notesSlides/notesSlide33.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image" Target="../media/image92.png"/><Relationship Id="rId15" Type="http://schemas.openxmlformats.org/officeDocument/2006/relationships/image" Target="../media/image102.png"/><Relationship Id="rId23" Type="http://schemas.openxmlformats.org/officeDocument/2006/relationships/image" Target="../media/image110.png"/><Relationship Id="rId10" Type="http://schemas.openxmlformats.org/officeDocument/2006/relationships/image" Target="../media/image97.png"/><Relationship Id="rId19" Type="http://schemas.openxmlformats.org/officeDocument/2006/relationships/image" Target="../media/image106.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4.png"/></Relationships>
</file>

<file path=ppt/slides/_rels/slide44.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microsoft.com/office/2007/relationships/hdphoto" Target="../media/hdphoto1.wdp"/></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slideLayout" Target="../slideLayouts/slideLayout7.xml"/><Relationship Id="rId1" Type="http://schemas.openxmlformats.org/officeDocument/2006/relationships/video" Target="https://www.youtube.com/embed/DxBM09zxnN8"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66057112"/>
              </p:ext>
            </p:extLst>
          </p:nvPr>
        </p:nvGraphicFramePr>
        <p:xfrm>
          <a:off x="389106" y="1232899"/>
          <a:ext cx="11473818" cy="4524968"/>
        </p:xfrm>
        <a:graphic>
          <a:graphicData uri="http://schemas.openxmlformats.org/drawingml/2006/table">
            <a:tbl>
              <a:tblPr firstRow="1" bandRow="1">
                <a:tableStyleId>{5C22544A-7EE6-4342-B048-85BDC9FD1C3A}</a:tableStyleId>
              </a:tblPr>
              <a:tblGrid>
                <a:gridCol w="3297069">
                  <a:extLst>
                    <a:ext uri="{9D8B030D-6E8A-4147-A177-3AD203B41FA5}">
                      <a16:colId xmlns:a16="http://schemas.microsoft.com/office/drawing/2014/main" val="20000"/>
                    </a:ext>
                  </a:extLst>
                </a:gridCol>
                <a:gridCol w="8176749">
                  <a:extLst>
                    <a:ext uri="{9D8B030D-6E8A-4147-A177-3AD203B41FA5}">
                      <a16:colId xmlns:a16="http://schemas.microsoft.com/office/drawing/2014/main" val="20001"/>
                    </a:ext>
                  </a:extLst>
                </a:gridCol>
              </a:tblGrid>
              <a:tr h="565621">
                <a:tc>
                  <a:txBody>
                    <a:bodyPr/>
                    <a:lstStyle/>
                    <a:p>
                      <a:r>
                        <a:rPr lang="en-US" sz="1600" b="0" dirty="0">
                          <a:solidFill>
                            <a:schemeClr val="tx1"/>
                          </a:solidFill>
                          <a:latin typeface="+mj-lt"/>
                        </a:rPr>
                        <a:t>Speak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cs typeface="Segoe UI" pitchFamily="34" charset="0"/>
                          <a:sym typeface="Segoe UI" panose="020B0502040204020203" pitchFamily="34" charset="0"/>
                        </a:rPr>
                        <a:t>EBC present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5621">
                <a:tc>
                  <a:txBody>
                    <a:bodyPr/>
                    <a:lstStyle/>
                    <a:p>
                      <a:r>
                        <a:rPr lang="en-US" sz="1600" dirty="0">
                          <a:solidFill>
                            <a:schemeClr val="tx1"/>
                          </a:solidFill>
                          <a:latin typeface="+mj-lt"/>
                        </a:rPr>
                        <a:t>Content Level</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Level 200</a:t>
                      </a:r>
                      <a:r>
                        <a:rPr lang="en-US" sz="1400" b="0" baseline="0" dirty="0">
                          <a:solidFill>
                            <a:schemeClr val="tx1"/>
                          </a:solidFill>
                        </a:rPr>
                        <a:t> – </a:t>
                      </a:r>
                      <a:r>
                        <a:rPr lang="en-US" sz="1400" b="0" dirty="0">
                          <a:solidFill>
                            <a:schemeClr val="tx1"/>
                          </a:solidFill>
                        </a:rPr>
                        <a:t>customer-ready</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5621">
                <a:tc>
                  <a:txBody>
                    <a:bodyPr/>
                    <a:lstStyle/>
                    <a:p>
                      <a:r>
                        <a:rPr lang="en-US" sz="1600" dirty="0">
                          <a:solidFill>
                            <a:schemeClr val="tx1"/>
                          </a:solidFill>
                          <a:latin typeface="+mj-lt"/>
                        </a:rPr>
                        <a:t>Audienc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Enterprise</a:t>
                      </a:r>
                      <a:r>
                        <a:rPr lang="en-US" sz="1400" b="0" baseline="0" dirty="0">
                          <a:solidFill>
                            <a:schemeClr val="tx1"/>
                          </a:solidFill>
                        </a:rPr>
                        <a:t> </a:t>
                      </a:r>
                      <a:r>
                        <a:rPr lang="en-US" sz="1400" b="0" kern="1200" dirty="0">
                          <a:solidFill>
                            <a:schemeClr val="tx1"/>
                          </a:solidFill>
                          <a:latin typeface="+mn-lt"/>
                          <a:ea typeface="+mn-ea"/>
                          <a:cs typeface="+mn-cs"/>
                        </a:rPr>
                        <a:t>line of business (LoB) decision makers</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5621">
                <a:tc>
                  <a:txBody>
                    <a:bodyPr/>
                    <a:lstStyle/>
                    <a:p>
                      <a:r>
                        <a:rPr lang="en-US" sz="1600" dirty="0">
                          <a:solidFill>
                            <a:schemeClr val="tx1"/>
                          </a:solidFill>
                          <a:latin typeface="+mj-lt"/>
                        </a:rPr>
                        <a:t>Titl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Advanced Analytics:</a:t>
                      </a:r>
                      <a:r>
                        <a:rPr lang="en-US" sz="1400" b="0" baseline="0" dirty="0">
                          <a:solidFill>
                            <a:schemeClr val="tx1"/>
                          </a:solidFill>
                        </a:rPr>
                        <a:t> Transform data into actionable insight</a:t>
                      </a:r>
                      <a:endParaRPr lang="en-US" sz="1400" b="0" dirty="0">
                        <a:solidFill>
                          <a:schemeClr val="tx1"/>
                        </a:solidFill>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5621">
                <a:tc>
                  <a:txBody>
                    <a:bodyPr/>
                    <a:lstStyle/>
                    <a:p>
                      <a:r>
                        <a:rPr lang="en-US" sz="1600" dirty="0">
                          <a:solidFill>
                            <a:schemeClr val="tx1"/>
                          </a:solidFill>
                          <a:latin typeface="+mj-lt"/>
                        </a:rPr>
                        <a:t>Objectiv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Educate enterprise customers on</a:t>
                      </a:r>
                      <a:r>
                        <a:rPr lang="en-US" sz="1400" b="0" baseline="0" dirty="0">
                          <a:solidFill>
                            <a:schemeClr val="tx1"/>
                          </a:solidFill>
                        </a:rPr>
                        <a:t> the value of Microsoft’s </a:t>
                      </a:r>
                      <a:r>
                        <a:rPr lang="en-US" sz="1400" b="0" dirty="0">
                          <a:solidFill>
                            <a:schemeClr val="tx1"/>
                          </a:solidFill>
                        </a:rPr>
                        <a:t>Advanced Analytics platform/solutions</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5621">
                <a:tc>
                  <a:txBody>
                    <a:bodyPr/>
                    <a:lstStyle/>
                    <a:p>
                      <a:r>
                        <a:rPr lang="en-US" sz="1600" dirty="0">
                          <a:solidFill>
                            <a:schemeClr val="tx1"/>
                          </a:solidFill>
                          <a:latin typeface="+mj-lt"/>
                        </a:rPr>
                        <a:t>Deck contact</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Nishant Thack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5621">
                <a:tc>
                  <a:txBody>
                    <a:bodyPr/>
                    <a:lstStyle/>
                    <a:p>
                      <a:r>
                        <a:rPr lang="en-US" sz="1600" dirty="0">
                          <a:solidFill>
                            <a:schemeClr val="tx1"/>
                          </a:solidFill>
                          <a:latin typeface="+mj-lt"/>
                        </a:rPr>
                        <a:t>Version</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Last</a:t>
                      </a:r>
                      <a:r>
                        <a:rPr lang="en-US" sz="1400" b="0" baseline="0" dirty="0">
                          <a:solidFill>
                            <a:schemeClr val="tx1"/>
                          </a:solidFill>
                        </a:rPr>
                        <a:t> updated June 2018</a:t>
                      </a:r>
                      <a:endParaRPr lang="en-US" sz="1400" b="0" dirty="0">
                        <a:solidFill>
                          <a:schemeClr val="tx1"/>
                        </a:solidFill>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551724"/>
                  </a:ext>
                </a:extLst>
              </a:tr>
              <a:tr h="565621">
                <a:tc>
                  <a:txBody>
                    <a:bodyPr/>
                    <a:lstStyle/>
                    <a:p>
                      <a:r>
                        <a:rPr lang="en-US" sz="1600" dirty="0">
                          <a:solidFill>
                            <a:schemeClr val="tx1"/>
                          </a:solidFill>
                          <a:latin typeface="+mj-lt"/>
                        </a:rPr>
                        <a:t>Length and</a:t>
                      </a:r>
                      <a:r>
                        <a:rPr lang="en-US" sz="1600" baseline="0" dirty="0">
                          <a:solidFill>
                            <a:schemeClr val="tx1"/>
                          </a:solidFill>
                          <a:latin typeface="+mj-lt"/>
                        </a:rPr>
                        <a:t> timing guidance</a:t>
                      </a:r>
                      <a:endParaRPr lang="en-US" sz="1600" dirty="0">
                        <a:solidFill>
                          <a:schemeClr val="tx1"/>
                        </a:solidFill>
                        <a:latin typeface="+mj-lt"/>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60</a:t>
                      </a:r>
                      <a:r>
                        <a:rPr lang="en-US" sz="1400" b="0" baseline="0" dirty="0">
                          <a:solidFill>
                            <a:schemeClr val="tx1"/>
                          </a:solidFill>
                        </a:rPr>
                        <a:t> minutes – suggested timing</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2470446"/>
                  </a:ext>
                </a:extLst>
              </a:tr>
            </a:tbl>
          </a:graphicData>
        </a:graphic>
      </p:graphicFrame>
      <p:sp>
        <p:nvSpPr>
          <p:cNvPr id="4" name="Title 3"/>
          <p:cNvSpPr>
            <a:spLocks noGrp="1"/>
          </p:cNvSpPr>
          <p:nvPr>
            <p:ph type="title"/>
          </p:nvPr>
        </p:nvSpPr>
        <p:spPr/>
        <p:txBody>
          <a:bodyPr/>
          <a:lstStyle/>
          <a:p>
            <a:r>
              <a:rPr lang="en-US" dirty="0"/>
              <a:t>Speaker guidance</a:t>
            </a:r>
          </a:p>
        </p:txBody>
      </p:sp>
      <p:sp>
        <p:nvSpPr>
          <p:cNvPr id="8" name="Text Placeholder 5">
            <a:extLst>
              <a:ext uri="{FF2B5EF4-FFF2-40B4-BE49-F238E27FC236}">
                <a16:creationId xmlns:a16="http://schemas.microsoft.com/office/drawing/2014/main" id="{F6D5023C-C937-B643-9131-A2D2133537B8}"/>
              </a:ext>
            </a:extLst>
          </p:cNvPr>
          <p:cNvSpPr txBox="1">
            <a:spLocks/>
          </p:cNvSpPr>
          <p:nvPr/>
        </p:nvSpPr>
        <p:spPr>
          <a:xfrm>
            <a:off x="1" y="6238876"/>
            <a:ext cx="12192001" cy="619125"/>
          </a:xfrm>
          <a:prstGeom prst="rect">
            <a:avLst/>
          </a:prstGeom>
          <a:solidFill>
            <a:schemeClr val="tx2"/>
          </a:solidFill>
        </p:spPr>
        <p:txBody>
          <a:bodyPr lIns="457200"/>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solidFill>
                  <a:schemeClr val="bg1"/>
                </a:solidFill>
              </a:rPr>
              <a:t>Speaker Guidance – Do Not Present</a:t>
            </a:r>
          </a:p>
        </p:txBody>
      </p:sp>
    </p:spTree>
    <p:extLst>
      <p:ext uri="{BB962C8B-B14F-4D97-AF65-F5344CB8AC3E}">
        <p14:creationId xmlns:p14="http://schemas.microsoft.com/office/powerpoint/2010/main" val="10081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693B59FE-9726-40C8-BEBC-4AA62808DA28}"/>
              </a:ext>
            </a:extLst>
          </p:cNvPr>
          <p:cNvGrpSpPr/>
          <p:nvPr/>
        </p:nvGrpSpPr>
        <p:grpSpPr>
          <a:xfrm>
            <a:off x="-2" y="4800600"/>
            <a:ext cx="12198096" cy="2057400"/>
            <a:chOff x="-2" y="4800600"/>
            <a:chExt cx="12198096" cy="2057400"/>
          </a:xfrm>
        </p:grpSpPr>
        <p:sp>
          <p:nvSpPr>
            <p:cNvPr id="52" name="Rectangle 51">
              <a:extLst>
                <a:ext uri="{FF2B5EF4-FFF2-40B4-BE49-F238E27FC236}">
                  <a16:creationId xmlns:a16="http://schemas.microsoft.com/office/drawing/2014/main" id="{221B5306-4BBB-4045-9FC7-5CD606D83EB1}"/>
                </a:ext>
              </a:extLst>
            </p:cNvPr>
            <p:cNvSpPr/>
            <p:nvPr/>
          </p:nvSpPr>
          <p:spPr bwMode="auto">
            <a:xfrm>
              <a:off x="-2" y="4800600"/>
              <a:ext cx="12198096" cy="2057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Rectangle 52">
              <a:extLst>
                <a:ext uri="{FF2B5EF4-FFF2-40B4-BE49-F238E27FC236}">
                  <a16:creationId xmlns:a16="http://schemas.microsoft.com/office/drawing/2014/main" id="{8152CA9D-D7EC-4CC7-82E8-33B397B5A6FA}"/>
                </a:ext>
              </a:extLst>
            </p:cNvPr>
            <p:cNvSpPr/>
            <p:nvPr/>
          </p:nvSpPr>
          <p:spPr bwMode="auto">
            <a:xfrm>
              <a:off x="457200" y="4940081"/>
              <a:ext cx="11213214" cy="2215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016" rtl="0" eaLnBrk="1" fontAlgn="auto" latinLnBrk="0" hangingPunct="1">
                <a:lnSpc>
                  <a:spcPct val="90000"/>
                </a:lnSpc>
                <a:spcBef>
                  <a:spcPct val="0"/>
                </a:spcBef>
                <a:spcAft>
                  <a:spcPts val="1000"/>
                </a:spcAft>
                <a:buClrTx/>
                <a:buSzTx/>
                <a:buFontTx/>
                <a:buNone/>
                <a:tabLst/>
                <a:defRPr/>
              </a:pPr>
              <a:r>
                <a:rPr kumimoji="0" lang="en-US" sz="1600" b="0" i="0" u="none" strike="noStrike" kern="1200" cap="none" spc="0" normalizeH="0" baseline="0" noProof="0" dirty="0">
                  <a:ln w="3175">
                    <a:noFill/>
                  </a:ln>
                  <a:solidFill>
                    <a:srgbClr val="0078D7"/>
                  </a:solidFill>
                  <a:effectLst/>
                  <a:uLnTx/>
                  <a:uFillTx/>
                  <a:latin typeface="+mj-lt"/>
                  <a:cs typeface="Segoe UI" panose="020B0502040204020203" pitchFamily="34" charset="0"/>
                </a:rPr>
                <a:t>And most aren’t satisfied with their current solutions</a:t>
              </a:r>
            </a:p>
          </p:txBody>
        </p:sp>
        <p:sp>
          <p:nvSpPr>
            <p:cNvPr id="54" name="TextBox 53">
              <a:extLst>
                <a:ext uri="{FF2B5EF4-FFF2-40B4-BE49-F238E27FC236}">
                  <a16:creationId xmlns:a16="http://schemas.microsoft.com/office/drawing/2014/main" id="{3711D40E-B657-4D0F-A4C9-5AEA625A9908}"/>
                </a:ext>
              </a:extLst>
            </p:cNvPr>
            <p:cNvSpPr txBox="1"/>
            <p:nvPr/>
          </p:nvSpPr>
          <p:spPr>
            <a:xfrm>
              <a:off x="457200" y="6630932"/>
              <a:ext cx="8700788" cy="923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Segoe UI Semilight"/>
                  <a:ea typeface="+mn-ea"/>
                  <a:cs typeface="+mn-cs"/>
                </a:rPr>
                <a:t>“What it Takes to be Data-Driven: Technologies and Best Practices for Becoming a Smarter Organization”, TDWI, 2017.</a:t>
              </a:r>
            </a:p>
          </p:txBody>
        </p:sp>
        <p:grpSp>
          <p:nvGrpSpPr>
            <p:cNvPr id="55" name="Group 54">
              <a:extLst>
                <a:ext uri="{FF2B5EF4-FFF2-40B4-BE49-F238E27FC236}">
                  <a16:creationId xmlns:a16="http://schemas.microsoft.com/office/drawing/2014/main" id="{19789CF9-EF69-491F-B576-8E7CD8A42C43}"/>
                </a:ext>
              </a:extLst>
            </p:cNvPr>
            <p:cNvGrpSpPr/>
            <p:nvPr/>
          </p:nvGrpSpPr>
          <p:grpSpPr>
            <a:xfrm>
              <a:off x="865929" y="5542513"/>
              <a:ext cx="10707754" cy="735286"/>
              <a:chOff x="865929" y="5562347"/>
              <a:chExt cx="10707754" cy="735286"/>
            </a:xfrm>
          </p:grpSpPr>
          <p:grpSp>
            <p:nvGrpSpPr>
              <p:cNvPr id="59" name="Group 58">
                <a:extLst>
                  <a:ext uri="{FF2B5EF4-FFF2-40B4-BE49-F238E27FC236}">
                    <a16:creationId xmlns:a16="http://schemas.microsoft.com/office/drawing/2014/main" id="{413C9D2D-A37B-4DFB-918E-67DE99EFCD45}"/>
                  </a:ext>
                </a:extLst>
              </p:cNvPr>
              <p:cNvGrpSpPr/>
              <p:nvPr/>
            </p:nvGrpSpPr>
            <p:grpSpPr>
              <a:xfrm>
                <a:off x="865929" y="5562348"/>
                <a:ext cx="2475018" cy="735285"/>
                <a:chOff x="829971" y="5562348"/>
                <a:chExt cx="2475018" cy="735285"/>
              </a:xfrm>
            </p:grpSpPr>
            <p:sp>
              <p:nvSpPr>
                <p:cNvPr id="72" name="TextBox 71">
                  <a:extLst>
                    <a:ext uri="{FF2B5EF4-FFF2-40B4-BE49-F238E27FC236}">
                      <a16:creationId xmlns:a16="http://schemas.microsoft.com/office/drawing/2014/main" id="{78071648-48DC-4FE2-B065-DCB5AB4ABE4C}"/>
                    </a:ext>
                  </a:extLst>
                </p:cNvPr>
                <p:cNvSpPr txBox="1"/>
                <p:nvPr/>
              </p:nvSpPr>
              <p:spPr>
                <a:xfrm>
                  <a:off x="1702097" y="5768408"/>
                  <a:ext cx="1602892" cy="290849"/>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Segoe UI Semibold" panose="020B0502040204020203" pitchFamily="34" charset="0"/>
                      <a:cs typeface="Segoe UI" panose="020B0502040204020203" pitchFamily="34" charset="0"/>
                    </a:rPr>
                    <a:t>Are satisfied with ease of use of analytics software</a:t>
                  </a:r>
                </a:p>
              </p:txBody>
            </p:sp>
            <p:grpSp>
              <p:nvGrpSpPr>
                <p:cNvPr id="73" name="Group 72">
                  <a:extLst>
                    <a:ext uri="{FF2B5EF4-FFF2-40B4-BE49-F238E27FC236}">
                      <a16:creationId xmlns:a16="http://schemas.microsoft.com/office/drawing/2014/main" id="{3628315C-CE33-4FE1-ADF9-E6F3224A72BC}"/>
                    </a:ext>
                  </a:extLst>
                </p:cNvPr>
                <p:cNvGrpSpPr/>
                <p:nvPr/>
              </p:nvGrpSpPr>
              <p:grpSpPr>
                <a:xfrm>
                  <a:off x="829971" y="5562348"/>
                  <a:ext cx="735286" cy="735285"/>
                  <a:chOff x="3216706" y="1689333"/>
                  <a:chExt cx="1066800" cy="1066802"/>
                </a:xfrm>
              </p:grpSpPr>
              <p:sp>
                <p:nvSpPr>
                  <p:cNvPr id="74" name="Oval 73">
                    <a:extLst>
                      <a:ext uri="{FF2B5EF4-FFF2-40B4-BE49-F238E27FC236}">
                        <a16:creationId xmlns:a16="http://schemas.microsoft.com/office/drawing/2014/main" id="{A1892747-9CB8-4877-88D4-32C32181BEED}"/>
                      </a:ext>
                    </a:extLst>
                  </p:cNvPr>
                  <p:cNvSpPr/>
                  <p:nvPr>
                    <p:custDataLst>
                      <p:tags r:id="rId5"/>
                    </p:custDataLst>
                  </p:nvPr>
                </p:nvSpPr>
                <p:spPr bwMode="auto">
                  <a:xfrm>
                    <a:off x="3216706" y="1689333"/>
                    <a:ext cx="1066800" cy="1066801"/>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5" name="Arc 74">
                    <a:extLst>
                      <a:ext uri="{FF2B5EF4-FFF2-40B4-BE49-F238E27FC236}">
                        <a16:creationId xmlns:a16="http://schemas.microsoft.com/office/drawing/2014/main" id="{9F253E98-63C1-4F11-AFD1-E21050C9CEA4}"/>
                      </a:ext>
                    </a:extLst>
                  </p:cNvPr>
                  <p:cNvSpPr/>
                  <p:nvPr>
                    <p:custDataLst>
                      <p:tags r:id="rId6"/>
                    </p:custDataLst>
                  </p:nvPr>
                </p:nvSpPr>
                <p:spPr bwMode="auto">
                  <a:xfrm>
                    <a:off x="3216706" y="1689334"/>
                    <a:ext cx="1066800" cy="1066801"/>
                  </a:xfrm>
                  <a:prstGeom prst="arc">
                    <a:avLst>
                      <a:gd name="adj1" fmla="val 16231091"/>
                      <a:gd name="adj2" fmla="val 4398515"/>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6" name="TextBox 75">
                    <a:extLst>
                      <a:ext uri="{FF2B5EF4-FFF2-40B4-BE49-F238E27FC236}">
                        <a16:creationId xmlns:a16="http://schemas.microsoft.com/office/drawing/2014/main" id="{81842553-B9A7-4290-964D-F2A266DD5B60}"/>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46</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grpSp>
          <p:grpSp>
            <p:nvGrpSpPr>
              <p:cNvPr id="60" name="Group 59">
                <a:extLst>
                  <a:ext uri="{FF2B5EF4-FFF2-40B4-BE49-F238E27FC236}">
                    <a16:creationId xmlns:a16="http://schemas.microsoft.com/office/drawing/2014/main" id="{F420E799-09E9-4F60-A3A1-5B5926D8FBFA}"/>
                  </a:ext>
                </a:extLst>
              </p:cNvPr>
              <p:cNvGrpSpPr/>
              <p:nvPr/>
            </p:nvGrpSpPr>
            <p:grpSpPr>
              <a:xfrm>
                <a:off x="4678707" y="5562348"/>
                <a:ext cx="2881534" cy="735285"/>
                <a:chOff x="4311065" y="5562348"/>
                <a:chExt cx="2881534" cy="735285"/>
              </a:xfrm>
            </p:grpSpPr>
            <p:grpSp>
              <p:nvGrpSpPr>
                <p:cNvPr id="67" name="Group 66">
                  <a:extLst>
                    <a:ext uri="{FF2B5EF4-FFF2-40B4-BE49-F238E27FC236}">
                      <a16:creationId xmlns:a16="http://schemas.microsoft.com/office/drawing/2014/main" id="{C581D616-0973-4145-8D64-F76334D1E30F}"/>
                    </a:ext>
                  </a:extLst>
                </p:cNvPr>
                <p:cNvGrpSpPr/>
                <p:nvPr/>
              </p:nvGrpSpPr>
              <p:grpSpPr>
                <a:xfrm>
                  <a:off x="4311065" y="5562348"/>
                  <a:ext cx="735286" cy="735285"/>
                  <a:chOff x="3216706" y="1689335"/>
                  <a:chExt cx="1066800" cy="1066801"/>
                </a:xfrm>
              </p:grpSpPr>
              <p:sp>
                <p:nvSpPr>
                  <p:cNvPr id="69" name="Oval 68">
                    <a:extLst>
                      <a:ext uri="{FF2B5EF4-FFF2-40B4-BE49-F238E27FC236}">
                        <a16:creationId xmlns:a16="http://schemas.microsoft.com/office/drawing/2014/main" id="{BFFE6DC9-3E17-4DB7-8904-4B7D24960369}"/>
                      </a:ext>
                    </a:extLst>
                  </p:cNvPr>
                  <p:cNvSpPr/>
                  <p:nvPr>
                    <p:custDataLst>
                      <p:tags r:id="rId3"/>
                    </p:custDataLst>
                  </p:nvPr>
                </p:nvSpPr>
                <p:spPr bwMode="auto">
                  <a:xfrm>
                    <a:off x="3216706" y="1689336"/>
                    <a:ext cx="1066800" cy="1066800"/>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0" name="Arc 69">
                    <a:extLst>
                      <a:ext uri="{FF2B5EF4-FFF2-40B4-BE49-F238E27FC236}">
                        <a16:creationId xmlns:a16="http://schemas.microsoft.com/office/drawing/2014/main" id="{D62FA265-E805-4E35-88B2-E78CD7791425}"/>
                      </a:ext>
                    </a:extLst>
                  </p:cNvPr>
                  <p:cNvSpPr/>
                  <p:nvPr>
                    <p:custDataLst>
                      <p:tags r:id="rId4"/>
                    </p:custDataLst>
                  </p:nvPr>
                </p:nvSpPr>
                <p:spPr bwMode="auto">
                  <a:xfrm>
                    <a:off x="3216706" y="1689335"/>
                    <a:ext cx="1066800" cy="1066800"/>
                  </a:xfrm>
                  <a:prstGeom prst="arc">
                    <a:avLst>
                      <a:gd name="adj1" fmla="val 16231091"/>
                      <a:gd name="adj2" fmla="val 20634643"/>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818BF94A-2CE0-4EF3-BFD9-0ADA6A738B84}"/>
                      </a:ext>
                    </a:extLst>
                  </p:cNvPr>
                  <p:cNvSpPr txBox="1"/>
                  <p:nvPr/>
                </p:nvSpPr>
                <p:spPr>
                  <a:xfrm>
                    <a:off x="3320671" y="2021793"/>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1</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8" name="TextBox 67">
                  <a:extLst>
                    <a:ext uri="{FF2B5EF4-FFF2-40B4-BE49-F238E27FC236}">
                      <a16:creationId xmlns:a16="http://schemas.microsoft.com/office/drawing/2014/main" id="{C2F881E2-8856-4BE8-A99E-F6D17552FE68}"/>
                    </a:ext>
                  </a:extLst>
                </p:cNvPr>
                <p:cNvSpPr txBox="1"/>
                <p:nvPr/>
              </p:nvSpPr>
              <p:spPr>
                <a:xfrm>
                  <a:off x="5185347" y="5768408"/>
                  <a:ext cx="2007252" cy="290849"/>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re satisfied with access to semi-structured and unstructured data</a:t>
                  </a:r>
                </a:p>
              </p:txBody>
            </p:sp>
          </p:grpSp>
          <p:grpSp>
            <p:nvGrpSpPr>
              <p:cNvPr id="61" name="Group 60">
                <a:extLst>
                  <a:ext uri="{FF2B5EF4-FFF2-40B4-BE49-F238E27FC236}">
                    <a16:creationId xmlns:a16="http://schemas.microsoft.com/office/drawing/2014/main" id="{5557BC8D-4342-4552-B61B-34A04C3A5B22}"/>
                  </a:ext>
                </a:extLst>
              </p:cNvPr>
              <p:cNvGrpSpPr/>
              <p:nvPr/>
            </p:nvGrpSpPr>
            <p:grpSpPr>
              <a:xfrm>
                <a:off x="8697342" y="5562347"/>
                <a:ext cx="2876341" cy="735286"/>
                <a:chOff x="8422702" y="5562347"/>
                <a:chExt cx="2876341" cy="735286"/>
              </a:xfrm>
            </p:grpSpPr>
            <p:grpSp>
              <p:nvGrpSpPr>
                <p:cNvPr id="62" name="Group 61">
                  <a:extLst>
                    <a:ext uri="{FF2B5EF4-FFF2-40B4-BE49-F238E27FC236}">
                      <a16:creationId xmlns:a16="http://schemas.microsoft.com/office/drawing/2014/main" id="{A24B5B26-9985-422C-90AE-E195F11B2B93}"/>
                    </a:ext>
                  </a:extLst>
                </p:cNvPr>
                <p:cNvGrpSpPr/>
                <p:nvPr/>
              </p:nvGrpSpPr>
              <p:grpSpPr>
                <a:xfrm>
                  <a:off x="8422702" y="5562347"/>
                  <a:ext cx="735286" cy="735286"/>
                  <a:chOff x="3216706" y="1689333"/>
                  <a:chExt cx="1066800" cy="1066803"/>
                </a:xfrm>
              </p:grpSpPr>
              <p:sp>
                <p:nvSpPr>
                  <p:cNvPr id="64" name="Oval 63">
                    <a:extLst>
                      <a:ext uri="{FF2B5EF4-FFF2-40B4-BE49-F238E27FC236}">
                        <a16:creationId xmlns:a16="http://schemas.microsoft.com/office/drawing/2014/main" id="{164B9F25-2F38-4765-B2EF-77ADF527D239}"/>
                      </a:ext>
                    </a:extLst>
                  </p:cNvPr>
                  <p:cNvSpPr/>
                  <p:nvPr>
                    <p:custDataLst>
                      <p:tags r:id="rId1"/>
                    </p:custDataLst>
                  </p:nvPr>
                </p:nvSpPr>
                <p:spPr bwMode="auto">
                  <a:xfrm>
                    <a:off x="3216706" y="1689333"/>
                    <a:ext cx="1066800" cy="1066803"/>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5" name="Arc 64">
                    <a:extLst>
                      <a:ext uri="{FF2B5EF4-FFF2-40B4-BE49-F238E27FC236}">
                        <a16:creationId xmlns:a16="http://schemas.microsoft.com/office/drawing/2014/main" id="{89426E15-DA9D-46CE-9ECB-C2B906C255AF}"/>
                      </a:ext>
                    </a:extLst>
                  </p:cNvPr>
                  <p:cNvSpPr/>
                  <p:nvPr>
                    <p:custDataLst>
                      <p:tags r:id="rId2"/>
                    </p:custDataLst>
                  </p:nvPr>
                </p:nvSpPr>
                <p:spPr bwMode="auto">
                  <a:xfrm>
                    <a:off x="3216706" y="1689333"/>
                    <a:ext cx="1066800" cy="1066801"/>
                  </a:xfrm>
                  <a:prstGeom prst="arc">
                    <a:avLst>
                      <a:gd name="adj1" fmla="val 16231091"/>
                      <a:gd name="adj2" fmla="val 570490"/>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6" name="TextBox 65">
                    <a:extLst>
                      <a:ext uri="{FF2B5EF4-FFF2-40B4-BE49-F238E27FC236}">
                        <a16:creationId xmlns:a16="http://schemas.microsoft.com/office/drawing/2014/main" id="{19FE1875-A478-48FE-8E36-245DB1C2057E}"/>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8</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3" name="TextBox 62">
                  <a:extLst>
                    <a:ext uri="{FF2B5EF4-FFF2-40B4-BE49-F238E27FC236}">
                      <a16:creationId xmlns:a16="http://schemas.microsoft.com/office/drawing/2014/main" id="{97100404-6888-4D03-A913-E1FE0C9E2823}"/>
                    </a:ext>
                  </a:extLst>
                </p:cNvPr>
                <p:cNvSpPr txBox="1"/>
                <p:nvPr/>
              </p:nvSpPr>
              <p:spPr>
                <a:xfrm>
                  <a:off x="9290304" y="5768408"/>
                  <a:ext cx="2008739" cy="436273"/>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re satisfied with ability to scale to handle unexpected requirements</a:t>
                  </a:r>
                </a:p>
              </p:txBody>
            </p:sp>
          </p:grpSp>
        </p:grpSp>
        <p:grpSp>
          <p:nvGrpSpPr>
            <p:cNvPr id="56" name="Group 55">
              <a:extLst>
                <a:ext uri="{FF2B5EF4-FFF2-40B4-BE49-F238E27FC236}">
                  <a16:creationId xmlns:a16="http://schemas.microsoft.com/office/drawing/2014/main" id="{88A946A4-C194-4ED6-B3C8-E3DBF23AAD89}"/>
                </a:ext>
              </a:extLst>
            </p:cNvPr>
            <p:cNvGrpSpPr/>
            <p:nvPr/>
          </p:nvGrpSpPr>
          <p:grpSpPr>
            <a:xfrm>
              <a:off x="4111456" y="5498676"/>
              <a:ext cx="4016036" cy="822960"/>
              <a:chOff x="4111456" y="5259744"/>
              <a:chExt cx="4016036" cy="1280160"/>
            </a:xfrm>
          </p:grpSpPr>
          <p:cxnSp>
            <p:nvCxnSpPr>
              <p:cNvPr id="57" name="Straight Connector 56">
                <a:extLst>
                  <a:ext uri="{FF2B5EF4-FFF2-40B4-BE49-F238E27FC236}">
                    <a16:creationId xmlns:a16="http://schemas.microsoft.com/office/drawing/2014/main" id="{EDD61549-2036-42FC-9955-F5F5D058575E}"/>
                  </a:ext>
                </a:extLst>
              </p:cNvPr>
              <p:cNvCxnSpPr>
                <a:cxnSpLocks/>
              </p:cNvCxnSpPr>
              <p:nvPr/>
            </p:nvCxnSpPr>
            <p:spPr>
              <a:xfrm>
                <a:off x="4111456" y="5259744"/>
                <a:ext cx="0" cy="128016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BA4417B-43A6-4C82-A0B5-397F2BD71605}"/>
                  </a:ext>
                </a:extLst>
              </p:cNvPr>
              <p:cNvCxnSpPr>
                <a:cxnSpLocks/>
              </p:cNvCxnSpPr>
              <p:nvPr/>
            </p:nvCxnSpPr>
            <p:spPr>
              <a:xfrm>
                <a:off x="8127492" y="5259744"/>
                <a:ext cx="0" cy="128016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6" name="Group 125">
            <a:extLst>
              <a:ext uri="{FF2B5EF4-FFF2-40B4-BE49-F238E27FC236}">
                <a16:creationId xmlns:a16="http://schemas.microsoft.com/office/drawing/2014/main" id="{A3E4ECD4-7646-4782-8E5E-95ECF5EC7F26}"/>
              </a:ext>
            </a:extLst>
          </p:cNvPr>
          <p:cNvGrpSpPr/>
          <p:nvPr/>
        </p:nvGrpSpPr>
        <p:grpSpPr>
          <a:xfrm>
            <a:off x="4111456" y="1242001"/>
            <a:ext cx="4016036" cy="3208650"/>
            <a:chOff x="4111456" y="1331912"/>
            <a:chExt cx="4016036" cy="2468880"/>
          </a:xfrm>
        </p:grpSpPr>
        <p:cxnSp>
          <p:nvCxnSpPr>
            <p:cNvPr id="127" name="Straight Connector 126">
              <a:extLst>
                <a:ext uri="{FF2B5EF4-FFF2-40B4-BE49-F238E27FC236}">
                  <a16:creationId xmlns:a16="http://schemas.microsoft.com/office/drawing/2014/main" id="{E60DACCD-A579-4C0D-8AB3-57092C035E7A}"/>
                </a:ext>
              </a:extLst>
            </p:cNvPr>
            <p:cNvCxnSpPr>
              <a:cxnSpLocks/>
            </p:cNvCxnSpPr>
            <p:nvPr/>
          </p:nvCxnSpPr>
          <p:spPr>
            <a:xfrm>
              <a:off x="4111456" y="1331912"/>
              <a:ext cx="0" cy="246888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FC458D9-5624-43D9-B676-59C7574FA6A4}"/>
                </a:ext>
              </a:extLst>
            </p:cNvPr>
            <p:cNvCxnSpPr>
              <a:cxnSpLocks/>
            </p:cNvCxnSpPr>
            <p:nvPr/>
          </p:nvCxnSpPr>
          <p:spPr>
            <a:xfrm>
              <a:off x="8127492" y="1331912"/>
              <a:ext cx="0" cy="246888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9" name="Rectangle 128">
            <a:extLst>
              <a:ext uri="{FF2B5EF4-FFF2-40B4-BE49-F238E27FC236}">
                <a16:creationId xmlns:a16="http://schemas.microsoft.com/office/drawing/2014/main" id="{26A5AF4F-9E2F-444C-AE2C-F2F0EB6D9CEC}"/>
              </a:ext>
            </a:extLst>
          </p:cNvPr>
          <p:cNvSpPr/>
          <p:nvPr/>
        </p:nvSpPr>
        <p:spPr bwMode="auto">
          <a:xfrm>
            <a:off x="24999" y="918116"/>
            <a:ext cx="12188952" cy="5943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vert="horz" wrap="square" lIns="0" tIns="164592" rIns="0" bIns="0" rtlCol="0" anchor="t">
            <a:noAutofit/>
          </a:bodyPr>
          <a:lstStyle/>
          <a:p>
            <a:r>
              <a:rPr lang="en-US" spc="-150" dirty="0"/>
              <a:t>But there is a lot to consider</a:t>
            </a:r>
            <a:endParaRPr lang="en-IN" spc="-150" dirty="0"/>
          </a:p>
        </p:txBody>
      </p:sp>
      <p:grpSp>
        <p:nvGrpSpPr>
          <p:cNvPr id="3" name="Group 2">
            <a:extLst>
              <a:ext uri="{FF2B5EF4-FFF2-40B4-BE49-F238E27FC236}">
                <a16:creationId xmlns:a16="http://schemas.microsoft.com/office/drawing/2014/main" id="{E8C50DB7-A3A0-4A2D-870C-7443F6DD3A52}"/>
              </a:ext>
            </a:extLst>
          </p:cNvPr>
          <p:cNvGrpSpPr/>
          <p:nvPr/>
        </p:nvGrpSpPr>
        <p:grpSpPr>
          <a:xfrm>
            <a:off x="434964" y="2415551"/>
            <a:ext cx="11323608" cy="2566210"/>
            <a:chOff x="434964" y="2415551"/>
            <a:chExt cx="11323608" cy="2566210"/>
          </a:xfrm>
        </p:grpSpPr>
        <p:sp>
          <p:nvSpPr>
            <p:cNvPr id="163" name="Rectangle 162">
              <a:extLst>
                <a:ext uri="{FF2B5EF4-FFF2-40B4-BE49-F238E27FC236}">
                  <a16:creationId xmlns:a16="http://schemas.microsoft.com/office/drawing/2014/main" id="{5197EEF5-6BA5-4D2F-8978-AAA64405086C}"/>
                </a:ext>
              </a:extLst>
            </p:cNvPr>
            <p:cNvSpPr/>
            <p:nvPr/>
          </p:nvSpPr>
          <p:spPr bwMode="auto">
            <a:xfrm>
              <a:off x="480378"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400" rtl="0" eaLnBrk="1" fontAlgn="auto" latinLnBrk="0" hangingPunct="1">
                <a:lnSpc>
                  <a:spcPct val="100000"/>
                </a:lnSpc>
                <a:spcAft>
                  <a:spcPts val="600"/>
                </a:spcAft>
                <a:buClrTx/>
                <a:buSzTx/>
                <a:buFontTx/>
                <a:buNone/>
                <a:tabLst/>
                <a:defRPr/>
              </a:pPr>
              <a:r>
                <a:rPr kumimoji="0" lang="en-US" sz="1800" b="0" i="0" u="none" strike="noStrike" kern="1200" cap="none" spc="0" normalizeH="0" baseline="0" noProof="0" dirty="0">
                  <a:ln>
                    <a:noFill/>
                  </a:ln>
                  <a:effectLst/>
                  <a:uLnTx/>
                  <a:uFillTx/>
                  <a:latin typeface="+mj-lt"/>
                  <a:cs typeface="Segoe UI" panose="020B0502040204020203" pitchFamily="34" charset="0"/>
                </a:rPr>
                <a:t>Complexity of solutions</a:t>
              </a:r>
            </a:p>
          </p:txBody>
        </p:sp>
        <p:grpSp>
          <p:nvGrpSpPr>
            <p:cNvPr id="166" name="Graphic 17">
              <a:extLst>
                <a:ext uri="{FF2B5EF4-FFF2-40B4-BE49-F238E27FC236}">
                  <a16:creationId xmlns:a16="http://schemas.microsoft.com/office/drawing/2014/main" id="{BDA0DDF2-1FDD-4667-8A8D-B22CA500A870}"/>
                </a:ext>
              </a:extLst>
            </p:cNvPr>
            <p:cNvGrpSpPr>
              <a:grpSpLocks noChangeAspect="1"/>
            </p:cNvGrpSpPr>
            <p:nvPr/>
          </p:nvGrpSpPr>
          <p:grpSpPr>
            <a:xfrm>
              <a:off x="434964" y="2415551"/>
              <a:ext cx="1203348" cy="1210960"/>
              <a:chOff x="5941191" y="3274238"/>
              <a:chExt cx="300041" cy="301944"/>
            </a:xfrm>
          </p:grpSpPr>
          <p:sp>
            <p:nvSpPr>
              <p:cNvPr id="167" name="Freeform: Shape 166">
                <a:extLst>
                  <a:ext uri="{FF2B5EF4-FFF2-40B4-BE49-F238E27FC236}">
                    <a16:creationId xmlns:a16="http://schemas.microsoft.com/office/drawing/2014/main" id="{464C5039-36B1-4ED0-B977-731FD581355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8" name="Freeform: Shape 167">
                <a:extLst>
                  <a:ext uri="{FF2B5EF4-FFF2-40B4-BE49-F238E27FC236}">
                    <a16:creationId xmlns:a16="http://schemas.microsoft.com/office/drawing/2014/main" id="{1D251CC5-69A5-4C4E-9329-62E3B6394A1A}"/>
                  </a:ext>
                </a:extLst>
              </p:cNvPr>
              <p:cNvSpPr/>
              <p:nvPr/>
            </p:nvSpPr>
            <p:spPr>
              <a:xfrm>
                <a:off x="6058348" y="3391397"/>
                <a:ext cx="76200" cy="76200"/>
              </a:xfrm>
              <a:custGeom>
                <a:avLst/>
                <a:gdLst>
                  <a:gd name="connsiteX0" fmla="*/ 8096 w 76200"/>
                  <a:gd name="connsiteY0" fmla="*/ 30956 h 76200"/>
                  <a:gd name="connsiteX1" fmla="*/ 7144 w 76200"/>
                  <a:gd name="connsiteY1" fmla="*/ 38576 h 76200"/>
                  <a:gd name="connsiteX2" fmla="*/ 38576 w 76200"/>
                  <a:gd name="connsiteY2" fmla="*/ 70009 h 76200"/>
                  <a:gd name="connsiteX3" fmla="*/ 70009 w 76200"/>
                  <a:gd name="connsiteY3" fmla="*/ 38576 h 76200"/>
                  <a:gd name="connsiteX4" fmla="*/ 38576 w 76200"/>
                  <a:gd name="connsiteY4" fmla="*/ 7144 h 76200"/>
                  <a:gd name="connsiteX5" fmla="*/ 25241 w 76200"/>
                  <a:gd name="connsiteY5" fmla="*/ 1000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8096" y="30956"/>
                    </a:moveTo>
                    <a:cubicBezTo>
                      <a:pt x="7144" y="33814"/>
                      <a:pt x="7144" y="35719"/>
                      <a:pt x="7144" y="38576"/>
                    </a:cubicBezTo>
                    <a:cubicBezTo>
                      <a:pt x="7144" y="55721"/>
                      <a:pt x="21431" y="70009"/>
                      <a:pt x="38576" y="70009"/>
                    </a:cubicBezTo>
                    <a:cubicBezTo>
                      <a:pt x="55721" y="70009"/>
                      <a:pt x="70009" y="55721"/>
                      <a:pt x="70009" y="38576"/>
                    </a:cubicBezTo>
                    <a:cubicBezTo>
                      <a:pt x="70009" y="21431"/>
                      <a:pt x="55721" y="7144"/>
                      <a:pt x="38576" y="7144"/>
                    </a:cubicBezTo>
                    <a:cubicBezTo>
                      <a:pt x="33814" y="7144"/>
                      <a:pt x="29051" y="8096"/>
                      <a:pt x="25241" y="1000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1304A72A-C99B-4397-AF5C-16E2D118A02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0" name="Freeform: Shape 169">
                <a:extLst>
                  <a:ext uri="{FF2B5EF4-FFF2-40B4-BE49-F238E27FC236}">
                    <a16:creationId xmlns:a16="http://schemas.microsoft.com/office/drawing/2014/main" id="{70266D20-5F14-43BF-B56F-75DF7D90C21A}"/>
                  </a:ext>
                </a:extLst>
              </p:cNvPr>
              <p:cNvSpPr/>
              <p:nvPr/>
            </p:nvSpPr>
            <p:spPr>
              <a:xfrm>
                <a:off x="6033583" y="3366632"/>
                <a:ext cx="123824" cy="123826"/>
              </a:xfrm>
              <a:custGeom>
                <a:avLst/>
                <a:gdLst>
                  <a:gd name="connsiteX0" fmla="*/ 88106 w 123825"/>
                  <a:gd name="connsiteY0" fmla="*/ 115729 h 123825"/>
                  <a:gd name="connsiteX1" fmla="*/ 121444 w 123825"/>
                  <a:gd name="connsiteY1" fmla="*/ 64294 h 123825"/>
                  <a:gd name="connsiteX2" fmla="*/ 64294 w 123825"/>
                  <a:gd name="connsiteY2" fmla="*/ 7144 h 123825"/>
                  <a:gd name="connsiteX3" fmla="*/ 7144 w 123825"/>
                  <a:gd name="connsiteY3" fmla="*/ 64294 h 123825"/>
                  <a:gd name="connsiteX4" fmla="*/ 64294 w 123825"/>
                  <a:gd name="connsiteY4" fmla="*/ 1214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88106" y="115729"/>
                    </a:moveTo>
                    <a:cubicBezTo>
                      <a:pt x="107156" y="106204"/>
                      <a:pt x="121444" y="87154"/>
                      <a:pt x="121444" y="64294"/>
                    </a:cubicBezTo>
                    <a:cubicBezTo>
                      <a:pt x="121444" y="32861"/>
                      <a:pt x="95726" y="7144"/>
                      <a:pt x="64294" y="7144"/>
                    </a:cubicBezTo>
                    <a:cubicBezTo>
                      <a:pt x="32861" y="7144"/>
                      <a:pt x="7144" y="32861"/>
                      <a:pt x="7144" y="64294"/>
                    </a:cubicBezTo>
                    <a:cubicBezTo>
                      <a:pt x="7144" y="95726"/>
                      <a:pt x="32861" y="121444"/>
                      <a:pt x="64294" y="1214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9973B0E9-B9C4-4926-A857-42FD805D254E}"/>
                  </a:ext>
                </a:extLst>
              </p:cNvPr>
              <p:cNvSpPr/>
              <p:nvPr/>
            </p:nvSpPr>
            <p:spPr>
              <a:xfrm>
                <a:off x="6007866" y="3340913"/>
                <a:ext cx="171449" cy="171451"/>
              </a:xfrm>
              <a:custGeom>
                <a:avLst/>
                <a:gdLst>
                  <a:gd name="connsiteX0" fmla="*/ 170021 w 171450"/>
                  <a:gd name="connsiteY0" fmla="*/ 104299 h 171450"/>
                  <a:gd name="connsiteX1" fmla="*/ 170974 w 171450"/>
                  <a:gd name="connsiteY1" fmla="*/ 89059 h 171450"/>
                  <a:gd name="connsiteX2" fmla="*/ 89059 w 171450"/>
                  <a:gd name="connsiteY2" fmla="*/ 7144 h 171450"/>
                  <a:gd name="connsiteX3" fmla="*/ 7144 w 171450"/>
                  <a:gd name="connsiteY3" fmla="*/ 89059 h 171450"/>
                  <a:gd name="connsiteX4" fmla="*/ 89059 w 171450"/>
                  <a:gd name="connsiteY4" fmla="*/ 170974 h 171450"/>
                  <a:gd name="connsiteX5" fmla="*/ 161449 w 171450"/>
                  <a:gd name="connsiteY5" fmla="*/ 12715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171450">
                    <a:moveTo>
                      <a:pt x="170021" y="104299"/>
                    </a:moveTo>
                    <a:cubicBezTo>
                      <a:pt x="170974" y="99536"/>
                      <a:pt x="170974" y="94774"/>
                      <a:pt x="170974" y="89059"/>
                    </a:cubicBezTo>
                    <a:cubicBezTo>
                      <a:pt x="170974" y="43339"/>
                      <a:pt x="133826" y="7144"/>
                      <a:pt x="89059" y="7144"/>
                    </a:cubicBezTo>
                    <a:cubicBezTo>
                      <a:pt x="44291" y="7144"/>
                      <a:pt x="7144" y="44291"/>
                      <a:pt x="7144" y="89059"/>
                    </a:cubicBezTo>
                    <a:cubicBezTo>
                      <a:pt x="7144" y="133826"/>
                      <a:pt x="44291" y="170974"/>
                      <a:pt x="89059" y="170974"/>
                    </a:cubicBezTo>
                    <a:cubicBezTo>
                      <a:pt x="120491" y="170974"/>
                      <a:pt x="148114" y="152876"/>
                      <a:pt x="161449" y="12715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2" name="Freeform: Shape 171">
                <a:extLst>
                  <a:ext uri="{FF2B5EF4-FFF2-40B4-BE49-F238E27FC236}">
                    <a16:creationId xmlns:a16="http://schemas.microsoft.com/office/drawing/2014/main" id="{087F834A-9187-45AD-AA98-BF9C0986F98C}"/>
                  </a:ext>
                </a:extLst>
              </p:cNvPr>
              <p:cNvSpPr/>
              <p:nvPr/>
            </p:nvSpPr>
            <p:spPr>
              <a:xfrm>
                <a:off x="5977386" y="3310433"/>
                <a:ext cx="238124" cy="238126"/>
              </a:xfrm>
              <a:custGeom>
                <a:avLst/>
                <a:gdLst>
                  <a:gd name="connsiteX0" fmla="*/ 101441 w 238125"/>
                  <a:gd name="connsiteY0" fmla="*/ 231934 h 238125"/>
                  <a:gd name="connsiteX1" fmla="*/ 119539 w 238125"/>
                  <a:gd name="connsiteY1" fmla="*/ 233839 h 238125"/>
                  <a:gd name="connsiteX2" fmla="*/ 232886 w 238125"/>
                  <a:gd name="connsiteY2" fmla="*/ 120491 h 238125"/>
                  <a:gd name="connsiteX3" fmla="*/ 119539 w 238125"/>
                  <a:gd name="connsiteY3" fmla="*/ 7144 h 238125"/>
                  <a:gd name="connsiteX4" fmla="*/ 7144 w 238125"/>
                  <a:gd name="connsiteY4" fmla="*/ 116681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101441" y="231934"/>
                    </a:moveTo>
                    <a:cubicBezTo>
                      <a:pt x="107156" y="232886"/>
                      <a:pt x="113824" y="233839"/>
                      <a:pt x="119539" y="233839"/>
                    </a:cubicBezTo>
                    <a:cubicBezTo>
                      <a:pt x="182404" y="233839"/>
                      <a:pt x="232886" y="183356"/>
                      <a:pt x="232886" y="120491"/>
                    </a:cubicBezTo>
                    <a:cubicBezTo>
                      <a:pt x="232886" y="57626"/>
                      <a:pt x="182404" y="7144"/>
                      <a:pt x="119539" y="7144"/>
                    </a:cubicBezTo>
                    <a:cubicBezTo>
                      <a:pt x="58579" y="7144"/>
                      <a:pt x="9049" y="55721"/>
                      <a:pt x="7144" y="11668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79A0C13C-2892-42A7-B3B0-83B310026DDF}"/>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4" name="Freeform: Shape 173">
                <a:extLst>
                  <a:ext uri="{FF2B5EF4-FFF2-40B4-BE49-F238E27FC236}">
                    <a16:creationId xmlns:a16="http://schemas.microsoft.com/office/drawing/2014/main" id="{EDD9EC12-1E1B-459F-BEF0-1D756142CBB3}"/>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5" name="Freeform: Shape 174">
                <a:extLst>
                  <a:ext uri="{FF2B5EF4-FFF2-40B4-BE49-F238E27FC236}">
                    <a16:creationId xmlns:a16="http://schemas.microsoft.com/office/drawing/2014/main" id="{1F6B3C5B-E649-46E7-8A80-6CDCC873517F}"/>
                  </a:ext>
                </a:extLst>
              </p:cNvPr>
              <p:cNvSpPr/>
              <p:nvPr/>
            </p:nvSpPr>
            <p:spPr>
              <a:xfrm>
                <a:off x="5979291" y="3443784"/>
                <a:ext cx="76200" cy="95251"/>
              </a:xfrm>
              <a:custGeom>
                <a:avLst/>
                <a:gdLst>
                  <a:gd name="connsiteX0" fmla="*/ 7144 w 76200"/>
                  <a:gd name="connsiteY0" fmla="*/ 7144 h 95250"/>
                  <a:gd name="connsiteX1" fmla="*/ 75724 w 76200"/>
                  <a:gd name="connsiteY1" fmla="*/ 91916 h 95250"/>
                </a:gdLst>
                <a:ahLst/>
                <a:cxnLst>
                  <a:cxn ang="0">
                    <a:pos x="connsiteX0" y="connsiteY0"/>
                  </a:cxn>
                  <a:cxn ang="0">
                    <a:pos x="connsiteX1" y="connsiteY1"/>
                  </a:cxn>
                </a:cxnLst>
                <a:rect l="l" t="t" r="r" b="b"/>
                <a:pathLst>
                  <a:path w="76200" h="95250">
                    <a:moveTo>
                      <a:pt x="7144" y="7144"/>
                    </a:moveTo>
                    <a:cubicBezTo>
                      <a:pt x="13811" y="46196"/>
                      <a:pt x="40481" y="77629"/>
                      <a:pt x="75724" y="919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02576998-15D1-410F-88E8-593F5C6D748E}"/>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7" name="Freeform: Shape 176">
                <a:extLst>
                  <a:ext uri="{FF2B5EF4-FFF2-40B4-BE49-F238E27FC236}">
                    <a16:creationId xmlns:a16="http://schemas.microsoft.com/office/drawing/2014/main" id="{2B390A3B-5FB8-40F8-855C-E5E2F6E3F30F}"/>
                  </a:ext>
                </a:extLst>
              </p:cNvPr>
              <p:cNvSpPr/>
              <p:nvPr/>
            </p:nvSpPr>
            <p:spPr>
              <a:xfrm>
                <a:off x="5994530" y="3279001"/>
                <a:ext cx="200024" cy="47625"/>
              </a:xfrm>
              <a:custGeom>
                <a:avLst/>
                <a:gdLst>
                  <a:gd name="connsiteX0" fmla="*/ 193834 w 200025"/>
                  <a:gd name="connsiteY0" fmla="*/ 39529 h 47625"/>
                  <a:gd name="connsiteX1" fmla="*/ 102394 w 200025"/>
                  <a:gd name="connsiteY1" fmla="*/ 7144 h 47625"/>
                  <a:gd name="connsiteX2" fmla="*/ 7144 w 200025"/>
                  <a:gd name="connsiteY2" fmla="*/ 43339 h 47625"/>
                </a:gdLst>
                <a:ahLst/>
                <a:cxnLst>
                  <a:cxn ang="0">
                    <a:pos x="connsiteX0" y="connsiteY0"/>
                  </a:cxn>
                  <a:cxn ang="0">
                    <a:pos x="connsiteX1" y="connsiteY1"/>
                  </a:cxn>
                  <a:cxn ang="0">
                    <a:pos x="connsiteX2" y="connsiteY2"/>
                  </a:cxn>
                </a:cxnLst>
                <a:rect l="l" t="t" r="r" b="b"/>
                <a:pathLst>
                  <a:path w="200025" h="47625">
                    <a:moveTo>
                      <a:pt x="193834" y="39529"/>
                    </a:moveTo>
                    <a:cubicBezTo>
                      <a:pt x="169069" y="19526"/>
                      <a:pt x="136684" y="7144"/>
                      <a:pt x="102394" y="7144"/>
                    </a:cubicBezTo>
                    <a:cubicBezTo>
                      <a:pt x="66199" y="7144"/>
                      <a:pt x="31909" y="20479"/>
                      <a:pt x="7144" y="4333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8" name="Freeform: Shape 177">
                <a:extLst>
                  <a:ext uri="{FF2B5EF4-FFF2-40B4-BE49-F238E27FC236}">
                    <a16:creationId xmlns:a16="http://schemas.microsoft.com/office/drawing/2014/main" id="{236CEB4E-7961-4C1F-9616-C56D37A6D721}"/>
                  </a:ext>
                </a:extLst>
              </p:cNvPr>
              <p:cNvSpPr/>
              <p:nvPr/>
            </p:nvSpPr>
            <p:spPr>
              <a:xfrm>
                <a:off x="5941193"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9" name="Freeform: Shape 178">
                <a:extLst>
                  <a:ext uri="{FF2B5EF4-FFF2-40B4-BE49-F238E27FC236}">
                    <a16:creationId xmlns:a16="http://schemas.microsoft.com/office/drawing/2014/main" id="{56C20823-5D4C-4C51-ACE0-16ECB9271F38}"/>
                  </a:ext>
                </a:extLst>
              </p:cNvPr>
              <p:cNvSpPr/>
              <p:nvPr/>
            </p:nvSpPr>
            <p:spPr>
              <a:xfrm>
                <a:off x="5945958" y="3328530"/>
                <a:ext cx="295274" cy="247652"/>
              </a:xfrm>
              <a:custGeom>
                <a:avLst/>
                <a:gdLst>
                  <a:gd name="connsiteX0" fmla="*/ 38576 w 295275"/>
                  <a:gd name="connsiteY0" fmla="*/ 11906 h 247650"/>
                  <a:gd name="connsiteX1" fmla="*/ 7144 w 295275"/>
                  <a:gd name="connsiteY1" fmla="*/ 101441 h 247650"/>
                  <a:gd name="connsiteX2" fmla="*/ 150971 w 295275"/>
                  <a:gd name="connsiteY2" fmla="*/ 245269 h 247650"/>
                  <a:gd name="connsiteX3" fmla="*/ 295751 w 295275"/>
                  <a:gd name="connsiteY3" fmla="*/ 101441 h 247650"/>
                  <a:gd name="connsiteX4" fmla="*/ 260509 w 295275"/>
                  <a:gd name="connsiteY4" fmla="*/ 7144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247650">
                    <a:moveTo>
                      <a:pt x="38576" y="11906"/>
                    </a:moveTo>
                    <a:cubicBezTo>
                      <a:pt x="18574" y="36671"/>
                      <a:pt x="7144" y="68104"/>
                      <a:pt x="7144" y="101441"/>
                    </a:cubicBezTo>
                    <a:cubicBezTo>
                      <a:pt x="7144" y="181451"/>
                      <a:pt x="71914" y="245269"/>
                      <a:pt x="150971" y="245269"/>
                    </a:cubicBezTo>
                    <a:cubicBezTo>
                      <a:pt x="230029" y="245269"/>
                      <a:pt x="295751" y="181451"/>
                      <a:pt x="295751" y="101441"/>
                    </a:cubicBezTo>
                    <a:cubicBezTo>
                      <a:pt x="295751" y="65246"/>
                      <a:pt x="282416" y="31909"/>
                      <a:pt x="260509" y="71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0" name="Freeform: Shape 179">
                <a:extLst>
                  <a:ext uri="{FF2B5EF4-FFF2-40B4-BE49-F238E27FC236}">
                    <a16:creationId xmlns:a16="http://schemas.microsoft.com/office/drawing/2014/main" id="{1EBD8F11-E598-44CC-881C-C45E7BFBAE23}"/>
                  </a:ext>
                </a:extLst>
              </p:cNvPr>
              <p:cNvSpPr/>
              <p:nvPr/>
            </p:nvSpPr>
            <p:spPr>
              <a:xfrm>
                <a:off x="6089784" y="3278999"/>
                <a:ext cx="9525" cy="38100"/>
              </a:xfrm>
              <a:custGeom>
                <a:avLst/>
                <a:gdLst>
                  <a:gd name="connsiteX0" fmla="*/ 7144 w 9525"/>
                  <a:gd name="connsiteY0" fmla="*/ 38576 h 38100"/>
                  <a:gd name="connsiteX1" fmla="*/ 7144 w 9525"/>
                  <a:gd name="connsiteY1" fmla="*/ 7144 h 38100"/>
                </a:gdLst>
                <a:ahLst/>
                <a:cxnLst>
                  <a:cxn ang="0">
                    <a:pos x="connsiteX0" y="connsiteY0"/>
                  </a:cxn>
                  <a:cxn ang="0">
                    <a:pos x="connsiteX1" y="connsiteY1"/>
                  </a:cxn>
                </a:cxnLst>
                <a:rect l="l" t="t" r="r" b="b"/>
                <a:pathLst>
                  <a:path w="9525" h="38100">
                    <a:moveTo>
                      <a:pt x="7144" y="38576"/>
                    </a:moveTo>
                    <a:lnTo>
                      <a:pt x="714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1" name="Freeform: Shape 180">
                <a:extLst>
                  <a:ext uri="{FF2B5EF4-FFF2-40B4-BE49-F238E27FC236}">
                    <a16:creationId xmlns:a16="http://schemas.microsoft.com/office/drawing/2014/main" id="{F42B1DE0-3B3D-4327-9F2A-375F92E94B06}"/>
                  </a:ext>
                </a:extLst>
              </p:cNvPr>
              <p:cNvSpPr/>
              <p:nvPr/>
            </p:nvSpPr>
            <p:spPr>
              <a:xfrm>
                <a:off x="6172648" y="3423780"/>
                <a:ext cx="38100" cy="9525"/>
              </a:xfrm>
              <a:custGeom>
                <a:avLst/>
                <a:gdLst>
                  <a:gd name="connsiteX0" fmla="*/ 7144 w 38100"/>
                  <a:gd name="connsiteY0" fmla="*/ 7144 h 9525"/>
                  <a:gd name="connsiteX1" fmla="*/ 37624 w 38100"/>
                  <a:gd name="connsiteY1" fmla="*/ 7144 h 9525"/>
                </a:gdLst>
                <a:ahLst/>
                <a:cxnLst>
                  <a:cxn ang="0">
                    <a:pos x="connsiteX0" y="connsiteY0"/>
                  </a:cxn>
                  <a:cxn ang="0">
                    <a:pos x="connsiteX1" y="connsiteY1"/>
                  </a:cxn>
                </a:cxnLst>
                <a:rect l="l" t="t" r="r" b="b"/>
                <a:pathLst>
                  <a:path w="38100" h="9525">
                    <a:moveTo>
                      <a:pt x="7144" y="7144"/>
                    </a:moveTo>
                    <a:lnTo>
                      <a:pt x="3762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78F0795-FCA9-41E7-A6CA-B3CB66E83A42}"/>
                  </a:ext>
                </a:extLst>
              </p:cNvPr>
              <p:cNvSpPr/>
              <p:nvPr/>
            </p:nvSpPr>
            <p:spPr>
              <a:xfrm>
                <a:off x="6169786" y="3502837"/>
                <a:ext cx="28575" cy="28575"/>
              </a:xfrm>
              <a:custGeom>
                <a:avLst/>
                <a:gdLst>
                  <a:gd name="connsiteX0" fmla="*/ 7144 w 28575"/>
                  <a:gd name="connsiteY0" fmla="*/ 7144 h 28575"/>
                  <a:gd name="connsiteX1" fmla="*/ 29051 w 28575"/>
                  <a:gd name="connsiteY1" fmla="*/ 29051 h 28575"/>
                </a:gdLst>
                <a:ahLst/>
                <a:cxnLst>
                  <a:cxn ang="0">
                    <a:pos x="connsiteX0" y="connsiteY0"/>
                  </a:cxn>
                  <a:cxn ang="0">
                    <a:pos x="connsiteX1" y="connsiteY1"/>
                  </a:cxn>
                </a:cxnLst>
                <a:rect l="l" t="t" r="r" b="b"/>
                <a:pathLst>
                  <a:path w="28575" h="28575">
                    <a:moveTo>
                      <a:pt x="7144" y="7144"/>
                    </a:moveTo>
                    <a:lnTo>
                      <a:pt x="29051"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3" name="Freeform: Shape 182">
                <a:extLst>
                  <a:ext uri="{FF2B5EF4-FFF2-40B4-BE49-F238E27FC236}">
                    <a16:creationId xmlns:a16="http://schemas.microsoft.com/office/drawing/2014/main" id="{54508122-3FB1-4009-8F91-EE6C366915A7}"/>
                  </a:ext>
                </a:extLst>
              </p:cNvPr>
              <p:cNvSpPr/>
              <p:nvPr/>
            </p:nvSpPr>
            <p:spPr>
              <a:xfrm>
                <a:off x="6010736" y="3480927"/>
                <a:ext cx="28575" cy="28575"/>
              </a:xfrm>
              <a:custGeom>
                <a:avLst/>
                <a:gdLst>
                  <a:gd name="connsiteX0" fmla="*/ 29051 w 28575"/>
                  <a:gd name="connsiteY0" fmla="*/ 7144 h 28575"/>
                  <a:gd name="connsiteX1" fmla="*/ 7144 w 28575"/>
                  <a:gd name="connsiteY1" fmla="*/ 29051 h 28575"/>
                </a:gdLst>
                <a:ahLst/>
                <a:cxnLst>
                  <a:cxn ang="0">
                    <a:pos x="connsiteX0" y="connsiteY0"/>
                  </a:cxn>
                  <a:cxn ang="0">
                    <a:pos x="connsiteX1" y="connsiteY1"/>
                  </a:cxn>
                </a:cxnLst>
                <a:rect l="l" t="t" r="r" b="b"/>
                <a:pathLst>
                  <a:path w="28575" h="28575">
                    <a:moveTo>
                      <a:pt x="29051" y="7144"/>
                    </a:moveTo>
                    <a:lnTo>
                      <a:pt x="7144"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sng" strike="noStrike" kern="1200" cap="none" spc="0" normalizeH="0" baseline="0" noProof="0" dirty="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A5039ED3-7EB5-4B51-93A6-82D76ECAE239}"/>
                  </a:ext>
                </a:extLst>
              </p:cNvPr>
              <p:cNvSpPr/>
              <p:nvPr/>
            </p:nvSpPr>
            <p:spPr>
              <a:xfrm>
                <a:off x="6015513" y="3392328"/>
                <a:ext cx="28575" cy="19050"/>
              </a:xfrm>
              <a:custGeom>
                <a:avLst/>
                <a:gdLst>
                  <a:gd name="connsiteX0" fmla="*/ 7144 w 28575"/>
                  <a:gd name="connsiteY0" fmla="*/ 7144 h 19050"/>
                  <a:gd name="connsiteX1" fmla="*/ 29051 w 28575"/>
                  <a:gd name="connsiteY1" fmla="*/ 17621 h 19050"/>
                </a:gdLst>
                <a:ahLst/>
                <a:cxnLst>
                  <a:cxn ang="0">
                    <a:pos x="connsiteX0" y="connsiteY0"/>
                  </a:cxn>
                  <a:cxn ang="0">
                    <a:pos x="connsiteX1" y="connsiteY1"/>
                  </a:cxn>
                </a:cxnLst>
                <a:rect l="l" t="t" r="r" b="b"/>
                <a:pathLst>
                  <a:path w="28575" h="19050">
                    <a:moveTo>
                      <a:pt x="7144" y="7144"/>
                    </a:moveTo>
                    <a:lnTo>
                      <a:pt x="29051" y="1762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4" name="Rectangle 43">
              <a:extLst>
                <a:ext uri="{FF2B5EF4-FFF2-40B4-BE49-F238E27FC236}">
                  <a16:creationId xmlns:a16="http://schemas.microsoft.com/office/drawing/2014/main" id="{D60E49DD-DACC-4163-A66B-C60C5FFCB595}"/>
                </a:ext>
              </a:extLst>
            </p:cNvPr>
            <p:cNvSpPr/>
            <p:nvPr/>
          </p:nvSpPr>
          <p:spPr bwMode="auto">
            <a:xfrm>
              <a:off x="480378" y="4704762"/>
              <a:ext cx="3350842"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solidFill>
                    <a:schemeClr val="tx2"/>
                  </a:solidFill>
                  <a:cs typeface="Segoe UI" panose="020B0502040204020203" pitchFamily="34" charset="0"/>
                </a:rPr>
                <a:t>Many options in the marketplace</a:t>
              </a:r>
            </a:p>
          </p:txBody>
        </p:sp>
        <p:sp>
          <p:nvSpPr>
            <p:cNvPr id="161" name="Rectangle 160">
              <a:extLst>
                <a:ext uri="{FF2B5EF4-FFF2-40B4-BE49-F238E27FC236}">
                  <a16:creationId xmlns:a16="http://schemas.microsoft.com/office/drawing/2014/main" id="{F82A2304-8007-4F72-A009-6CAF302072A0}"/>
                </a:ext>
              </a:extLst>
            </p:cNvPr>
            <p:cNvSpPr/>
            <p:nvPr/>
          </p:nvSpPr>
          <p:spPr bwMode="auto">
            <a:xfrm>
              <a:off x="4936265" y="4239213"/>
              <a:ext cx="3246120" cy="276999"/>
            </a:xfrm>
            <a:prstGeom prst="rect">
              <a:avLst/>
            </a:prstGeom>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latin typeface="+mj-lt"/>
                  <a:cs typeface="Segoe UI" panose="020B0502040204020203" pitchFamily="34" charset="0"/>
                </a:rPr>
                <a:t>Data silos</a:t>
              </a:r>
            </a:p>
          </p:txBody>
        </p:sp>
        <p:grpSp>
          <p:nvGrpSpPr>
            <p:cNvPr id="165" name="Group 164">
              <a:extLst>
                <a:ext uri="{FF2B5EF4-FFF2-40B4-BE49-F238E27FC236}">
                  <a16:creationId xmlns:a16="http://schemas.microsoft.com/office/drawing/2014/main" id="{3E26AC8F-3031-407C-A4BB-CF04AB62E520}"/>
                </a:ext>
              </a:extLst>
            </p:cNvPr>
            <p:cNvGrpSpPr/>
            <p:nvPr/>
          </p:nvGrpSpPr>
          <p:grpSpPr>
            <a:xfrm>
              <a:off x="4983052" y="2444682"/>
              <a:ext cx="1079906" cy="1181829"/>
              <a:chOff x="6350029" y="1501643"/>
              <a:chExt cx="673478" cy="737043"/>
            </a:xfrm>
          </p:grpSpPr>
          <p:sp>
            <p:nvSpPr>
              <p:cNvPr id="185" name="Database_EFC7" title="Icon of a cylinder">
                <a:extLst>
                  <a:ext uri="{FF2B5EF4-FFF2-40B4-BE49-F238E27FC236}">
                    <a16:creationId xmlns:a16="http://schemas.microsoft.com/office/drawing/2014/main" id="{804D2E80-5AD3-4981-8778-F5080D99346E}"/>
                  </a:ext>
                </a:extLst>
              </p:cNvPr>
              <p:cNvSpPr>
                <a:spLocks noChangeAspect="1" noEditPoints="1"/>
              </p:cNvSpPr>
              <p:nvPr/>
            </p:nvSpPr>
            <p:spPr bwMode="auto">
              <a:xfrm>
                <a:off x="6350029" y="1501643"/>
                <a:ext cx="453242" cy="58914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86" name="Freeform: Shape 185">
                <a:extLst>
                  <a:ext uri="{FF2B5EF4-FFF2-40B4-BE49-F238E27FC236}">
                    <a16:creationId xmlns:a16="http://schemas.microsoft.com/office/drawing/2014/main" id="{1B101C90-4D76-4947-A89B-2E303FDA2089}"/>
                  </a:ext>
                </a:extLst>
              </p:cNvPr>
              <p:cNvSpPr/>
              <p:nvPr/>
            </p:nvSpPr>
            <p:spPr>
              <a:xfrm>
                <a:off x="6593589" y="1808768"/>
                <a:ext cx="429918" cy="429918"/>
              </a:xfrm>
              <a:custGeom>
                <a:avLst/>
                <a:gdLst>
                  <a:gd name="connsiteX0" fmla="*/ 142216 w 161925"/>
                  <a:gd name="connsiteY0" fmla="*/ 136124 h 161925"/>
                  <a:gd name="connsiteX1" fmla="*/ 137454 w 161925"/>
                  <a:gd name="connsiteY1" fmla="*/ 27539 h 161925"/>
                  <a:gd name="connsiteX2" fmla="*/ 27916 w 161925"/>
                  <a:gd name="connsiteY2" fmla="*/ 32302 h 161925"/>
                  <a:gd name="connsiteX3" fmla="*/ 32678 w 161925"/>
                  <a:gd name="connsiteY3" fmla="*/ 141839 h 161925"/>
                  <a:gd name="connsiteX4" fmla="*/ 142216 w 161925"/>
                  <a:gd name="connsiteY4" fmla="*/ 136124 h 161925"/>
                  <a:gd name="connsiteX5" fmla="*/ 142216 w 161925"/>
                  <a:gd name="connsiteY5" fmla="*/ 136124 h 161925"/>
                  <a:gd name="connsiteX6" fmla="*/ 106973 w 161925"/>
                  <a:gd name="connsiteY6" fmla="*/ 60877 h 161925"/>
                  <a:gd name="connsiteX7" fmla="*/ 63158 w 161925"/>
                  <a:gd name="connsiteY7" fmla="*/ 109454 h 161925"/>
                  <a:gd name="connsiteX8" fmla="*/ 60301 w 161925"/>
                  <a:gd name="connsiteY8" fmla="*/ 62782 h 161925"/>
                  <a:gd name="connsiteX9" fmla="*/ 108878 w 161925"/>
                  <a:gd name="connsiteY9" fmla="*/ 10659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142216" y="136124"/>
                    </a:moveTo>
                    <a:cubicBezTo>
                      <a:pt x="170791" y="104692"/>
                      <a:pt x="168886" y="56114"/>
                      <a:pt x="137454" y="27539"/>
                    </a:cubicBezTo>
                    <a:cubicBezTo>
                      <a:pt x="106021" y="-1036"/>
                      <a:pt x="56491" y="869"/>
                      <a:pt x="27916" y="32302"/>
                    </a:cubicBezTo>
                    <a:cubicBezTo>
                      <a:pt x="-1612" y="63734"/>
                      <a:pt x="1246" y="113264"/>
                      <a:pt x="32678" y="141839"/>
                    </a:cubicBezTo>
                    <a:cubicBezTo>
                      <a:pt x="64111" y="170414"/>
                      <a:pt x="112688" y="168509"/>
                      <a:pt x="142216" y="136124"/>
                    </a:cubicBezTo>
                    <a:lnTo>
                      <a:pt x="142216" y="136124"/>
                    </a:lnTo>
                    <a:close/>
                    <a:moveTo>
                      <a:pt x="106973" y="60877"/>
                    </a:moveTo>
                    <a:cubicBezTo>
                      <a:pt x="63158" y="109454"/>
                      <a:pt x="63158" y="109454"/>
                      <a:pt x="63158" y="109454"/>
                    </a:cubicBezTo>
                    <a:moveTo>
                      <a:pt x="60301" y="62782"/>
                    </a:moveTo>
                    <a:cubicBezTo>
                      <a:pt x="108878" y="106597"/>
                      <a:pt x="108878" y="106597"/>
                      <a:pt x="108878" y="106597"/>
                    </a:cubicBezTo>
                  </a:path>
                </a:pathLst>
              </a:custGeom>
              <a:solidFill>
                <a:schemeClr val="bg1"/>
              </a:solidFill>
              <a:ln w="1905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5A5B4229-E7D9-4504-8289-ACEE683FA1D5}"/>
                </a:ext>
              </a:extLst>
            </p:cNvPr>
            <p:cNvSpPr/>
            <p:nvPr/>
          </p:nvSpPr>
          <p:spPr bwMode="auto">
            <a:xfrm>
              <a:off x="4936265" y="4704757"/>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pPr>
              <a:r>
                <a:rPr lang="en-US" dirty="0">
                  <a:solidFill>
                    <a:schemeClr val="tx2"/>
                  </a:solidFill>
                  <a:cs typeface="Segoe UI" panose="020B0502040204020203" pitchFamily="34" charset="0"/>
                </a:rPr>
                <a:t>Incongruent data types</a:t>
              </a:r>
            </a:p>
          </p:txBody>
        </p:sp>
        <p:sp>
          <p:nvSpPr>
            <p:cNvPr id="162" name="Rectangle 161">
              <a:extLst>
                <a:ext uri="{FF2B5EF4-FFF2-40B4-BE49-F238E27FC236}">
                  <a16:creationId xmlns:a16="http://schemas.microsoft.com/office/drawing/2014/main" id="{8E436DD4-FB65-4E10-8A58-038BC9F764F5}"/>
                </a:ext>
              </a:extLst>
            </p:cNvPr>
            <p:cNvSpPr/>
            <p:nvPr/>
          </p:nvSpPr>
          <p:spPr bwMode="auto">
            <a:xfrm>
              <a:off x="8512452"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latin typeface="+mj-lt"/>
                  <a:cs typeface="Segoe UI" panose="020B0502040204020203" pitchFamily="34" charset="0"/>
                </a:rPr>
                <a:t>Difficult to scale effectively</a:t>
              </a:r>
            </a:p>
          </p:txBody>
        </p:sp>
        <p:grpSp>
          <p:nvGrpSpPr>
            <p:cNvPr id="164" name="Group 163">
              <a:extLst>
                <a:ext uri="{FF2B5EF4-FFF2-40B4-BE49-F238E27FC236}">
                  <a16:creationId xmlns:a16="http://schemas.microsoft.com/office/drawing/2014/main" id="{037465A0-E658-42C0-AE23-F2A4A72143FC}"/>
                </a:ext>
              </a:extLst>
            </p:cNvPr>
            <p:cNvGrpSpPr>
              <a:grpSpLocks noChangeAspect="1"/>
            </p:cNvGrpSpPr>
            <p:nvPr/>
          </p:nvGrpSpPr>
          <p:grpSpPr>
            <a:xfrm>
              <a:off x="8523447" y="2726693"/>
              <a:ext cx="1537571" cy="899818"/>
              <a:chOff x="9424571" y="3792115"/>
              <a:chExt cx="729220" cy="382315"/>
            </a:xfrm>
            <a:noFill/>
          </p:grpSpPr>
          <p:sp>
            <p:nvSpPr>
              <p:cNvPr id="187" name="Freeform: Shape 186">
                <a:extLst>
                  <a:ext uri="{FF2B5EF4-FFF2-40B4-BE49-F238E27FC236}">
                    <a16:creationId xmlns:a16="http://schemas.microsoft.com/office/drawing/2014/main" id="{EC226D96-5615-417F-BEA6-481D58721D99}"/>
                  </a:ext>
                </a:extLst>
              </p:cNvPr>
              <p:cNvSpPr/>
              <p:nvPr/>
            </p:nvSpPr>
            <p:spPr>
              <a:xfrm>
                <a:off x="9520878" y="4029287"/>
                <a:ext cx="247651" cy="142875"/>
              </a:xfrm>
              <a:custGeom>
                <a:avLst/>
                <a:gdLst>
                  <a:gd name="connsiteX0" fmla="*/ 8182 w 247650"/>
                  <a:gd name="connsiteY0" fmla="*/ 9049 h 142875"/>
                  <a:gd name="connsiteX1" fmla="*/ 206302 w 247650"/>
                  <a:gd name="connsiteY1" fmla="*/ 139541 h 142875"/>
                  <a:gd name="connsiteX2" fmla="*/ 211065 w 247650"/>
                  <a:gd name="connsiteY2" fmla="*/ 142399 h 142875"/>
                  <a:gd name="connsiteX3" fmla="*/ 242497 w 247650"/>
                  <a:gd name="connsiteY3" fmla="*/ 130016 h 142875"/>
                  <a:gd name="connsiteX4" fmla="*/ 230115 w 247650"/>
                  <a:gd name="connsiteY4" fmla="*/ 98584 h 142875"/>
                  <a:gd name="connsiteX5" fmla="*/ 9135 w 247650"/>
                  <a:gd name="connsiteY5" fmla="*/ 7144 h 142875"/>
                  <a:gd name="connsiteX6" fmla="*/ 8182 w 247650"/>
                  <a:gd name="connsiteY6" fmla="*/ 9049 h 142875"/>
                  <a:gd name="connsiteX7" fmla="*/ 233925 w 247650"/>
                  <a:gd name="connsiteY7" fmla="*/ 119539 h 142875"/>
                  <a:gd name="connsiteX8" fmla="*/ 221542 w 247650"/>
                  <a:gd name="connsiteY8" fmla="*/ 133826 h 142875"/>
                  <a:gd name="connsiteX9" fmla="*/ 207255 w 247650"/>
                  <a:gd name="connsiteY9" fmla="*/ 121444 h 142875"/>
                  <a:gd name="connsiteX10" fmla="*/ 219637 w 247650"/>
                  <a:gd name="connsiteY10" fmla="*/ 107156 h 142875"/>
                  <a:gd name="connsiteX11" fmla="*/ 233925 w 247650"/>
                  <a:gd name="connsiteY11" fmla="*/ 11953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142875">
                    <a:moveTo>
                      <a:pt x="8182" y="9049"/>
                    </a:moveTo>
                    <a:lnTo>
                      <a:pt x="206302" y="139541"/>
                    </a:lnTo>
                    <a:cubicBezTo>
                      <a:pt x="208207" y="140494"/>
                      <a:pt x="209160" y="141446"/>
                      <a:pt x="211065" y="142399"/>
                    </a:cubicBezTo>
                    <a:cubicBezTo>
                      <a:pt x="223447" y="147161"/>
                      <a:pt x="237735" y="141446"/>
                      <a:pt x="242497" y="130016"/>
                    </a:cubicBezTo>
                    <a:cubicBezTo>
                      <a:pt x="247260" y="117634"/>
                      <a:pt x="241545" y="103346"/>
                      <a:pt x="230115" y="98584"/>
                    </a:cubicBezTo>
                    <a:lnTo>
                      <a:pt x="9135" y="7144"/>
                    </a:lnTo>
                    <a:cubicBezTo>
                      <a:pt x="7230" y="7144"/>
                      <a:pt x="6277" y="9049"/>
                      <a:pt x="8182" y="9049"/>
                    </a:cubicBezTo>
                    <a:close/>
                    <a:moveTo>
                      <a:pt x="233925" y="119539"/>
                    </a:moveTo>
                    <a:cubicBezTo>
                      <a:pt x="234877" y="127159"/>
                      <a:pt x="229162" y="132874"/>
                      <a:pt x="221542" y="133826"/>
                    </a:cubicBezTo>
                    <a:cubicBezTo>
                      <a:pt x="213922" y="134779"/>
                      <a:pt x="208207" y="129064"/>
                      <a:pt x="207255" y="121444"/>
                    </a:cubicBezTo>
                    <a:cubicBezTo>
                      <a:pt x="206302" y="113824"/>
                      <a:pt x="212017" y="108109"/>
                      <a:pt x="219637" y="107156"/>
                    </a:cubicBezTo>
                    <a:cubicBezTo>
                      <a:pt x="227257" y="107156"/>
                      <a:pt x="233925" y="111919"/>
                      <a:pt x="233925" y="11953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BF709AAB-97AD-417D-A8F1-233D981E15F3}"/>
                  </a:ext>
                </a:extLst>
              </p:cNvPr>
              <p:cNvSpPr/>
              <p:nvPr/>
            </p:nvSpPr>
            <p:spPr>
              <a:xfrm>
                <a:off x="9680388" y="3794018"/>
                <a:ext cx="114300" cy="95250"/>
              </a:xfrm>
              <a:custGeom>
                <a:avLst/>
                <a:gdLst>
                  <a:gd name="connsiteX0" fmla="*/ 22980 w 114300"/>
                  <a:gd name="connsiteY0" fmla="*/ 83344 h 95250"/>
                  <a:gd name="connsiteX1" fmla="*/ 32505 w 114300"/>
                  <a:gd name="connsiteY1" fmla="*/ 90011 h 95250"/>
                  <a:gd name="connsiteX2" fmla="*/ 59175 w 114300"/>
                  <a:gd name="connsiteY2" fmla="*/ 89059 h 95250"/>
                  <a:gd name="connsiteX3" fmla="*/ 100133 w 114300"/>
                  <a:gd name="connsiteY3" fmla="*/ 91916 h 95250"/>
                  <a:gd name="connsiteX4" fmla="*/ 111563 w 114300"/>
                  <a:gd name="connsiteY4" fmla="*/ 82391 h 95250"/>
                  <a:gd name="connsiteX5" fmla="*/ 111563 w 114300"/>
                  <a:gd name="connsiteY5" fmla="*/ 16669 h 95250"/>
                  <a:gd name="connsiteX6" fmla="*/ 102038 w 114300"/>
                  <a:gd name="connsiteY6" fmla="*/ 7144 h 95250"/>
                  <a:gd name="connsiteX7" fmla="*/ 13455 w 114300"/>
                  <a:gd name="connsiteY7" fmla="*/ 22384 h 95250"/>
                  <a:gd name="connsiteX8" fmla="*/ 7740 w 114300"/>
                  <a:gd name="connsiteY8" fmla="*/ 34766 h 95250"/>
                  <a:gd name="connsiteX9" fmla="*/ 22980 w 114300"/>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95250">
                    <a:moveTo>
                      <a:pt x="22980" y="83344"/>
                    </a:moveTo>
                    <a:cubicBezTo>
                      <a:pt x="23933" y="87154"/>
                      <a:pt x="28695" y="90011"/>
                      <a:pt x="32505" y="90011"/>
                    </a:cubicBezTo>
                    <a:cubicBezTo>
                      <a:pt x="41078" y="89059"/>
                      <a:pt x="50603" y="89059"/>
                      <a:pt x="59175" y="89059"/>
                    </a:cubicBezTo>
                    <a:cubicBezTo>
                      <a:pt x="73463" y="89059"/>
                      <a:pt x="86798" y="90011"/>
                      <a:pt x="100133" y="91916"/>
                    </a:cubicBezTo>
                    <a:cubicBezTo>
                      <a:pt x="105848" y="92869"/>
                      <a:pt x="111563" y="88106"/>
                      <a:pt x="111563" y="82391"/>
                    </a:cubicBezTo>
                    <a:lnTo>
                      <a:pt x="111563" y="16669"/>
                    </a:lnTo>
                    <a:cubicBezTo>
                      <a:pt x="111563" y="10954"/>
                      <a:pt x="106800" y="7144"/>
                      <a:pt x="102038" y="7144"/>
                    </a:cubicBezTo>
                    <a:cubicBezTo>
                      <a:pt x="71558" y="8096"/>
                      <a:pt x="41078" y="13811"/>
                      <a:pt x="13455" y="22384"/>
                    </a:cubicBezTo>
                    <a:cubicBezTo>
                      <a:pt x="8693" y="24289"/>
                      <a:pt x="5835" y="29051"/>
                      <a:pt x="7740" y="34766"/>
                    </a:cubicBezTo>
                    <a:lnTo>
                      <a:pt x="22980" y="83344"/>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9" name="Freeform: Shape 188">
                <a:extLst>
                  <a:ext uri="{FF2B5EF4-FFF2-40B4-BE49-F238E27FC236}">
                    <a16:creationId xmlns:a16="http://schemas.microsoft.com/office/drawing/2014/main" id="{031B4CD5-28B5-44AE-9699-DA7DB7A7868B}"/>
                  </a:ext>
                </a:extLst>
              </p:cNvPr>
              <p:cNvSpPr/>
              <p:nvPr/>
            </p:nvSpPr>
            <p:spPr>
              <a:xfrm>
                <a:off x="9793196" y="3792115"/>
                <a:ext cx="114300" cy="123825"/>
              </a:xfrm>
              <a:custGeom>
                <a:avLst/>
                <a:gdLst>
                  <a:gd name="connsiteX0" fmla="*/ 13043 w 114300"/>
                  <a:gd name="connsiteY0" fmla="*/ 97631 h 123825"/>
                  <a:gd name="connsiteX1" fmla="*/ 72098 w 114300"/>
                  <a:gd name="connsiteY1" fmla="*/ 118586 h 123825"/>
                  <a:gd name="connsiteX2" fmla="*/ 85433 w 114300"/>
                  <a:gd name="connsiteY2" fmla="*/ 112871 h 123825"/>
                  <a:gd name="connsiteX3" fmla="*/ 111151 w 114300"/>
                  <a:gd name="connsiteY3" fmla="*/ 34766 h 123825"/>
                  <a:gd name="connsiteX4" fmla="*/ 105436 w 114300"/>
                  <a:gd name="connsiteY4" fmla="*/ 22384 h 123825"/>
                  <a:gd name="connsiteX5" fmla="*/ 16853 w 114300"/>
                  <a:gd name="connsiteY5" fmla="*/ 7144 h 123825"/>
                  <a:gd name="connsiteX6" fmla="*/ 7328 w 114300"/>
                  <a:gd name="connsiteY6" fmla="*/ 16669 h 123825"/>
                  <a:gd name="connsiteX7" fmla="*/ 7328 w 114300"/>
                  <a:gd name="connsiteY7" fmla="*/ 88106 h 123825"/>
                  <a:gd name="connsiteX8" fmla="*/ 13043 w 114300"/>
                  <a:gd name="connsiteY8" fmla="*/ 9763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23825">
                    <a:moveTo>
                      <a:pt x="13043" y="97631"/>
                    </a:moveTo>
                    <a:cubicBezTo>
                      <a:pt x="33046" y="102394"/>
                      <a:pt x="53048" y="110014"/>
                      <a:pt x="72098" y="118586"/>
                    </a:cubicBezTo>
                    <a:cubicBezTo>
                      <a:pt x="76861" y="121444"/>
                      <a:pt x="83528" y="118586"/>
                      <a:pt x="85433" y="112871"/>
                    </a:cubicBezTo>
                    <a:lnTo>
                      <a:pt x="111151" y="34766"/>
                    </a:lnTo>
                    <a:cubicBezTo>
                      <a:pt x="113056" y="30004"/>
                      <a:pt x="110198" y="24289"/>
                      <a:pt x="105436" y="22384"/>
                    </a:cubicBezTo>
                    <a:cubicBezTo>
                      <a:pt x="76861" y="13811"/>
                      <a:pt x="47333" y="8096"/>
                      <a:pt x="16853" y="7144"/>
                    </a:cubicBezTo>
                    <a:cubicBezTo>
                      <a:pt x="11138" y="7144"/>
                      <a:pt x="7328" y="10954"/>
                      <a:pt x="7328" y="16669"/>
                    </a:cubicBezTo>
                    <a:lnTo>
                      <a:pt x="7328" y="88106"/>
                    </a:lnTo>
                    <a:cubicBezTo>
                      <a:pt x="6376" y="92869"/>
                      <a:pt x="9233" y="96679"/>
                      <a:pt x="13043" y="9763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0" name="Freeform: Shape 189">
                <a:extLst>
                  <a:ext uri="{FF2B5EF4-FFF2-40B4-BE49-F238E27FC236}">
                    <a16:creationId xmlns:a16="http://schemas.microsoft.com/office/drawing/2014/main" id="{12500C56-9798-41BB-86C1-FC8EC838B045}"/>
                  </a:ext>
                </a:extLst>
              </p:cNvPr>
              <p:cNvSpPr/>
              <p:nvPr/>
            </p:nvSpPr>
            <p:spPr>
              <a:xfrm>
                <a:off x="9991500" y="3959584"/>
                <a:ext cx="142875" cy="133350"/>
              </a:xfrm>
              <a:custGeom>
                <a:avLst/>
                <a:gdLst>
                  <a:gd name="connsiteX0" fmla="*/ 90964 w 142875"/>
                  <a:gd name="connsiteY0" fmla="*/ 9221 h 133350"/>
                  <a:gd name="connsiteX1" fmla="*/ 10954 w 142875"/>
                  <a:gd name="connsiteY1" fmla="*/ 67323 h 133350"/>
                  <a:gd name="connsiteX2" fmla="*/ 8096 w 142875"/>
                  <a:gd name="connsiteY2" fmla="*/ 79706 h 133350"/>
                  <a:gd name="connsiteX3" fmla="*/ 29051 w 142875"/>
                  <a:gd name="connsiteY3" fmla="*/ 126378 h 133350"/>
                  <a:gd name="connsiteX4" fmla="*/ 40481 w 142875"/>
                  <a:gd name="connsiteY4" fmla="*/ 132093 h 133350"/>
                  <a:gd name="connsiteX5" fmla="*/ 133826 w 142875"/>
                  <a:gd name="connsiteY5" fmla="*/ 101613 h 133350"/>
                  <a:gd name="connsiteX6" fmla="*/ 139541 w 142875"/>
                  <a:gd name="connsiteY6" fmla="*/ 89231 h 133350"/>
                  <a:gd name="connsiteX7" fmla="*/ 103346 w 142875"/>
                  <a:gd name="connsiteY7" fmla="*/ 11126 h 133350"/>
                  <a:gd name="connsiteX8" fmla="*/ 90964 w 142875"/>
                  <a:gd name="connsiteY8" fmla="*/ 92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33350">
                    <a:moveTo>
                      <a:pt x="90964" y="9221"/>
                    </a:moveTo>
                    <a:lnTo>
                      <a:pt x="10954" y="67323"/>
                    </a:lnTo>
                    <a:cubicBezTo>
                      <a:pt x="7144" y="70181"/>
                      <a:pt x="6191" y="74943"/>
                      <a:pt x="8096" y="79706"/>
                    </a:cubicBezTo>
                    <a:cubicBezTo>
                      <a:pt x="16669" y="94946"/>
                      <a:pt x="23336" y="110186"/>
                      <a:pt x="29051" y="126378"/>
                    </a:cubicBezTo>
                    <a:cubicBezTo>
                      <a:pt x="30956" y="131141"/>
                      <a:pt x="35719" y="133998"/>
                      <a:pt x="40481" y="132093"/>
                    </a:cubicBezTo>
                    <a:lnTo>
                      <a:pt x="133826" y="101613"/>
                    </a:lnTo>
                    <a:cubicBezTo>
                      <a:pt x="138589" y="99708"/>
                      <a:pt x="141446" y="94946"/>
                      <a:pt x="139541" y="89231"/>
                    </a:cubicBezTo>
                    <a:cubicBezTo>
                      <a:pt x="130016" y="61608"/>
                      <a:pt x="117634" y="34938"/>
                      <a:pt x="103346" y="11126"/>
                    </a:cubicBezTo>
                    <a:cubicBezTo>
                      <a:pt x="101441" y="7316"/>
                      <a:pt x="94774" y="5411"/>
                      <a:pt x="90964" y="922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7EC57A88-35BD-41D1-B62F-DD1F595C7C01}"/>
                  </a:ext>
                </a:extLst>
              </p:cNvPr>
              <p:cNvSpPr/>
              <p:nvPr/>
            </p:nvSpPr>
            <p:spPr>
              <a:xfrm>
                <a:off x="9580263" y="3816282"/>
                <a:ext cx="114300" cy="95250"/>
              </a:xfrm>
              <a:custGeom>
                <a:avLst/>
                <a:gdLst>
                  <a:gd name="connsiteX0" fmla="*/ 39285 w 114300"/>
                  <a:gd name="connsiteY0" fmla="*/ 94418 h 95250"/>
                  <a:gd name="connsiteX1" fmla="*/ 107865 w 114300"/>
                  <a:gd name="connsiteY1" fmla="*/ 70605 h 95250"/>
                  <a:gd name="connsiteX2" fmla="*/ 115485 w 114300"/>
                  <a:gd name="connsiteY2" fmla="*/ 58223 h 95250"/>
                  <a:gd name="connsiteX3" fmla="*/ 101198 w 114300"/>
                  <a:gd name="connsiteY3" fmla="*/ 13455 h 95250"/>
                  <a:gd name="connsiteX4" fmla="*/ 88815 w 114300"/>
                  <a:gd name="connsiteY4" fmla="*/ 7740 h 95250"/>
                  <a:gd name="connsiteX5" fmla="*/ 10710 w 114300"/>
                  <a:gd name="connsiteY5" fmla="*/ 51555 h 95250"/>
                  <a:gd name="connsiteX6" fmla="*/ 8805 w 114300"/>
                  <a:gd name="connsiteY6" fmla="*/ 64890 h 95250"/>
                  <a:gd name="connsiteX7" fmla="*/ 27855 w 114300"/>
                  <a:gd name="connsiteY7" fmla="*/ 91560 h 95250"/>
                  <a:gd name="connsiteX8" fmla="*/ 39285 w 114300"/>
                  <a:gd name="connsiteY8" fmla="*/ 944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95250">
                    <a:moveTo>
                      <a:pt x="39285" y="94418"/>
                    </a:moveTo>
                    <a:cubicBezTo>
                      <a:pt x="61193" y="83940"/>
                      <a:pt x="84053" y="75368"/>
                      <a:pt x="107865" y="70605"/>
                    </a:cubicBezTo>
                    <a:cubicBezTo>
                      <a:pt x="113580" y="69653"/>
                      <a:pt x="117390" y="63938"/>
                      <a:pt x="115485" y="58223"/>
                    </a:cubicBezTo>
                    <a:lnTo>
                      <a:pt x="101198" y="13455"/>
                    </a:lnTo>
                    <a:cubicBezTo>
                      <a:pt x="99293" y="8693"/>
                      <a:pt x="93578" y="5835"/>
                      <a:pt x="88815" y="7740"/>
                    </a:cubicBezTo>
                    <a:cubicBezTo>
                      <a:pt x="61193" y="19170"/>
                      <a:pt x="34523" y="33458"/>
                      <a:pt x="10710" y="51555"/>
                    </a:cubicBezTo>
                    <a:cubicBezTo>
                      <a:pt x="6900" y="54413"/>
                      <a:pt x="5948" y="60128"/>
                      <a:pt x="8805" y="64890"/>
                    </a:cubicBezTo>
                    <a:lnTo>
                      <a:pt x="27855" y="91560"/>
                    </a:lnTo>
                    <a:cubicBezTo>
                      <a:pt x="29760" y="95370"/>
                      <a:pt x="35475" y="96323"/>
                      <a:pt x="39285" y="94418"/>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Freeform: Shape 191">
                <a:extLst>
                  <a:ext uri="{FF2B5EF4-FFF2-40B4-BE49-F238E27FC236}">
                    <a16:creationId xmlns:a16="http://schemas.microsoft.com/office/drawing/2014/main" id="{60EF0163-600D-4D7B-B39C-FFFB7E6A1466}"/>
                  </a:ext>
                </a:extLst>
              </p:cNvPr>
              <p:cNvSpPr/>
              <p:nvPr/>
            </p:nvSpPr>
            <p:spPr>
              <a:xfrm>
                <a:off x="9875904" y="3816289"/>
                <a:ext cx="133350" cy="142875"/>
              </a:xfrm>
              <a:custGeom>
                <a:avLst/>
                <a:gdLst>
                  <a:gd name="connsiteX0" fmla="*/ 34157 w 133350"/>
                  <a:gd name="connsiteY0" fmla="*/ 14399 h 142875"/>
                  <a:gd name="connsiteX1" fmla="*/ 7487 w 133350"/>
                  <a:gd name="connsiteY1" fmla="*/ 96314 h 142875"/>
                  <a:gd name="connsiteX2" fmla="*/ 11297 w 133350"/>
                  <a:gd name="connsiteY2" fmla="*/ 106791 h 142875"/>
                  <a:gd name="connsiteX3" fmla="*/ 57970 w 133350"/>
                  <a:gd name="connsiteY3" fmla="*/ 141081 h 142875"/>
                  <a:gd name="connsiteX4" fmla="*/ 72257 w 133350"/>
                  <a:gd name="connsiteY4" fmla="*/ 140129 h 142875"/>
                  <a:gd name="connsiteX5" fmla="*/ 126550 w 133350"/>
                  <a:gd name="connsiteY5" fmla="*/ 64881 h 142875"/>
                  <a:gd name="connsiteX6" fmla="*/ 124645 w 133350"/>
                  <a:gd name="connsiteY6" fmla="*/ 51547 h 142875"/>
                  <a:gd name="connsiteX7" fmla="*/ 46540 w 133350"/>
                  <a:gd name="connsiteY7" fmla="*/ 7731 h 142875"/>
                  <a:gd name="connsiteX8" fmla="*/ 34157 w 133350"/>
                  <a:gd name="connsiteY8" fmla="*/ 1439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42875">
                    <a:moveTo>
                      <a:pt x="34157" y="14399"/>
                    </a:moveTo>
                    <a:lnTo>
                      <a:pt x="7487" y="96314"/>
                    </a:lnTo>
                    <a:cubicBezTo>
                      <a:pt x="6535" y="100124"/>
                      <a:pt x="7487" y="104886"/>
                      <a:pt x="11297" y="106791"/>
                    </a:cubicBezTo>
                    <a:cubicBezTo>
                      <a:pt x="27490" y="116316"/>
                      <a:pt x="43682" y="127747"/>
                      <a:pt x="57970" y="141081"/>
                    </a:cubicBezTo>
                    <a:cubicBezTo>
                      <a:pt x="61780" y="144892"/>
                      <a:pt x="68447" y="143939"/>
                      <a:pt x="72257" y="140129"/>
                    </a:cubicBezTo>
                    <a:lnTo>
                      <a:pt x="126550" y="64881"/>
                    </a:lnTo>
                    <a:cubicBezTo>
                      <a:pt x="129407" y="61072"/>
                      <a:pt x="128455" y="54404"/>
                      <a:pt x="124645" y="51547"/>
                    </a:cubicBezTo>
                    <a:cubicBezTo>
                      <a:pt x="100832" y="33449"/>
                      <a:pt x="74162" y="19161"/>
                      <a:pt x="46540" y="7731"/>
                    </a:cubicBezTo>
                    <a:cubicBezTo>
                      <a:pt x="41777" y="5826"/>
                      <a:pt x="36062" y="8684"/>
                      <a:pt x="34157" y="1439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A005975A-D65B-42B2-9AFB-3C886B962399}"/>
                  </a:ext>
                </a:extLst>
              </p:cNvPr>
              <p:cNvSpPr/>
              <p:nvPr/>
            </p:nvSpPr>
            <p:spPr>
              <a:xfrm>
                <a:off x="9942624" y="3875485"/>
                <a:ext cx="142875" cy="152400"/>
              </a:xfrm>
              <a:custGeom>
                <a:avLst/>
                <a:gdLst>
                  <a:gd name="connsiteX0" fmla="*/ 10300 w 142875"/>
                  <a:gd name="connsiteY0" fmla="*/ 99982 h 152400"/>
                  <a:gd name="connsiteX1" fmla="*/ 43638 w 142875"/>
                  <a:gd name="connsiteY1" fmla="*/ 141892 h 152400"/>
                  <a:gd name="connsiteX2" fmla="*/ 56973 w 142875"/>
                  <a:gd name="connsiteY2" fmla="*/ 144750 h 152400"/>
                  <a:gd name="connsiteX3" fmla="*/ 136030 w 142875"/>
                  <a:gd name="connsiteY3" fmla="*/ 87600 h 152400"/>
                  <a:gd name="connsiteX4" fmla="*/ 137935 w 142875"/>
                  <a:gd name="connsiteY4" fmla="*/ 74265 h 152400"/>
                  <a:gd name="connsiteX5" fmla="*/ 78880 w 142875"/>
                  <a:gd name="connsiteY5" fmla="*/ 9495 h 152400"/>
                  <a:gd name="connsiteX6" fmla="*/ 64593 w 142875"/>
                  <a:gd name="connsiteY6" fmla="*/ 11400 h 152400"/>
                  <a:gd name="connsiteX7" fmla="*/ 8395 w 142875"/>
                  <a:gd name="connsiteY7" fmla="*/ 88552 h 152400"/>
                  <a:gd name="connsiteX8" fmla="*/ 10300 w 142875"/>
                  <a:gd name="connsiteY8" fmla="*/ 9998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52400">
                    <a:moveTo>
                      <a:pt x="10300" y="99982"/>
                    </a:moveTo>
                    <a:cubicBezTo>
                      <a:pt x="22683" y="113317"/>
                      <a:pt x="34113" y="126652"/>
                      <a:pt x="43638" y="141892"/>
                    </a:cubicBezTo>
                    <a:cubicBezTo>
                      <a:pt x="46495" y="146655"/>
                      <a:pt x="52210" y="147607"/>
                      <a:pt x="56973" y="144750"/>
                    </a:cubicBezTo>
                    <a:lnTo>
                      <a:pt x="136030" y="87600"/>
                    </a:lnTo>
                    <a:cubicBezTo>
                      <a:pt x="139840" y="84742"/>
                      <a:pt x="140793" y="79027"/>
                      <a:pt x="137935" y="74265"/>
                    </a:cubicBezTo>
                    <a:cubicBezTo>
                      <a:pt x="120790" y="50452"/>
                      <a:pt x="100788" y="28545"/>
                      <a:pt x="78880" y="9495"/>
                    </a:cubicBezTo>
                    <a:cubicBezTo>
                      <a:pt x="75070" y="5685"/>
                      <a:pt x="68403" y="6637"/>
                      <a:pt x="64593" y="11400"/>
                    </a:cubicBezTo>
                    <a:lnTo>
                      <a:pt x="8395" y="88552"/>
                    </a:lnTo>
                    <a:cubicBezTo>
                      <a:pt x="6490" y="91410"/>
                      <a:pt x="6490" y="96172"/>
                      <a:pt x="10300" y="9998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4" name="Freeform: Shape 193">
                <a:extLst>
                  <a:ext uri="{FF2B5EF4-FFF2-40B4-BE49-F238E27FC236}">
                    <a16:creationId xmlns:a16="http://schemas.microsoft.com/office/drawing/2014/main" id="{6F50CE49-FF40-47B8-A792-B03F6F541204}"/>
                  </a:ext>
                </a:extLst>
              </p:cNvPr>
              <p:cNvSpPr/>
              <p:nvPr/>
            </p:nvSpPr>
            <p:spPr>
              <a:xfrm>
                <a:off x="9501205" y="3874536"/>
                <a:ext cx="104775" cy="104775"/>
              </a:xfrm>
              <a:custGeom>
                <a:avLst/>
                <a:gdLst>
                  <a:gd name="connsiteX0" fmla="*/ 37380 w 104775"/>
                  <a:gd name="connsiteY0" fmla="*/ 96172 h 104775"/>
                  <a:gd name="connsiteX1" fmla="*/ 96435 w 104775"/>
                  <a:gd name="connsiteY1" fmla="*/ 47595 h 104775"/>
                  <a:gd name="connsiteX2" fmla="*/ 99293 w 104775"/>
                  <a:gd name="connsiteY2" fmla="*/ 34260 h 104775"/>
                  <a:gd name="connsiteX3" fmla="*/ 82148 w 104775"/>
                  <a:gd name="connsiteY3" fmla="*/ 11400 h 104775"/>
                  <a:gd name="connsiteX4" fmla="*/ 67860 w 104775"/>
                  <a:gd name="connsiteY4" fmla="*/ 9495 h 104775"/>
                  <a:gd name="connsiteX5" fmla="*/ 8805 w 104775"/>
                  <a:gd name="connsiteY5" fmla="*/ 74265 h 104775"/>
                  <a:gd name="connsiteX6" fmla="*/ 10710 w 104775"/>
                  <a:gd name="connsiteY6" fmla="*/ 87600 h 104775"/>
                  <a:gd name="connsiteX7" fmla="*/ 24045 w 104775"/>
                  <a:gd name="connsiteY7" fmla="*/ 97125 h 104775"/>
                  <a:gd name="connsiteX8" fmla="*/ 37380 w 104775"/>
                  <a:gd name="connsiteY8" fmla="*/ 9617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37380" y="96172"/>
                    </a:moveTo>
                    <a:cubicBezTo>
                      <a:pt x="54525" y="77122"/>
                      <a:pt x="74528" y="60930"/>
                      <a:pt x="96435" y="47595"/>
                    </a:cubicBezTo>
                    <a:cubicBezTo>
                      <a:pt x="101198" y="44737"/>
                      <a:pt x="102150" y="38070"/>
                      <a:pt x="99293" y="34260"/>
                    </a:cubicBezTo>
                    <a:lnTo>
                      <a:pt x="82148" y="11400"/>
                    </a:lnTo>
                    <a:cubicBezTo>
                      <a:pt x="79290" y="6637"/>
                      <a:pt x="72623" y="5685"/>
                      <a:pt x="67860" y="9495"/>
                    </a:cubicBezTo>
                    <a:cubicBezTo>
                      <a:pt x="45953" y="28545"/>
                      <a:pt x="25950" y="50452"/>
                      <a:pt x="8805" y="74265"/>
                    </a:cubicBezTo>
                    <a:cubicBezTo>
                      <a:pt x="5948" y="78075"/>
                      <a:pt x="6900" y="84742"/>
                      <a:pt x="10710" y="87600"/>
                    </a:cubicBezTo>
                    <a:lnTo>
                      <a:pt x="24045" y="97125"/>
                    </a:lnTo>
                    <a:cubicBezTo>
                      <a:pt x="28808" y="99982"/>
                      <a:pt x="33570" y="99982"/>
                      <a:pt x="37380" y="9617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DC7F8928-12C7-4A8C-81AA-D8C11763AE82}"/>
                  </a:ext>
                </a:extLst>
              </p:cNvPr>
              <p:cNvSpPr/>
              <p:nvPr/>
            </p:nvSpPr>
            <p:spPr>
              <a:xfrm>
                <a:off x="9424571" y="3941952"/>
                <a:ext cx="123826" cy="133350"/>
              </a:xfrm>
              <a:custGeom>
                <a:avLst/>
                <a:gdLst>
                  <a:gd name="connsiteX0" fmla="*/ 13046 w 123825"/>
                  <a:gd name="connsiteY0" fmla="*/ 109716 h 133350"/>
                  <a:gd name="connsiteX1" fmla="*/ 70196 w 123825"/>
                  <a:gd name="connsiteY1" fmla="*/ 128766 h 133350"/>
                  <a:gd name="connsiteX2" fmla="*/ 81626 w 123825"/>
                  <a:gd name="connsiteY2" fmla="*/ 123051 h 133350"/>
                  <a:gd name="connsiteX3" fmla="*/ 118774 w 123825"/>
                  <a:gd name="connsiteY3" fmla="*/ 62091 h 133350"/>
                  <a:gd name="connsiteX4" fmla="*/ 116869 w 123825"/>
                  <a:gd name="connsiteY4" fmla="*/ 48756 h 133350"/>
                  <a:gd name="connsiteX5" fmla="*/ 60671 w 123825"/>
                  <a:gd name="connsiteY5" fmla="*/ 8751 h 133350"/>
                  <a:gd name="connsiteX6" fmla="*/ 47336 w 123825"/>
                  <a:gd name="connsiteY6" fmla="*/ 11609 h 133350"/>
                  <a:gd name="connsiteX7" fmla="*/ 8284 w 123825"/>
                  <a:gd name="connsiteY7" fmla="*/ 97334 h 133350"/>
                  <a:gd name="connsiteX8" fmla="*/ 13046 w 123825"/>
                  <a:gd name="connsiteY8" fmla="*/ 1097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3046" y="109716"/>
                    </a:moveTo>
                    <a:lnTo>
                      <a:pt x="70196" y="128766"/>
                    </a:lnTo>
                    <a:cubicBezTo>
                      <a:pt x="74959" y="130671"/>
                      <a:pt x="79721" y="127814"/>
                      <a:pt x="81626" y="123051"/>
                    </a:cubicBezTo>
                    <a:cubicBezTo>
                      <a:pt x="92104" y="98286"/>
                      <a:pt x="102581" y="82094"/>
                      <a:pt x="118774" y="62091"/>
                    </a:cubicBezTo>
                    <a:cubicBezTo>
                      <a:pt x="122584" y="58281"/>
                      <a:pt x="121631" y="51614"/>
                      <a:pt x="116869" y="48756"/>
                    </a:cubicBezTo>
                    <a:lnTo>
                      <a:pt x="60671" y="8751"/>
                    </a:lnTo>
                    <a:cubicBezTo>
                      <a:pt x="55909" y="5894"/>
                      <a:pt x="50194" y="6846"/>
                      <a:pt x="47336" y="11609"/>
                    </a:cubicBezTo>
                    <a:cubicBezTo>
                      <a:pt x="32096" y="35421"/>
                      <a:pt x="16856" y="69711"/>
                      <a:pt x="8284" y="97334"/>
                    </a:cubicBezTo>
                    <a:cubicBezTo>
                      <a:pt x="5426" y="103049"/>
                      <a:pt x="8284" y="108764"/>
                      <a:pt x="13046" y="109716"/>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5987A933-C614-43B2-BE1B-7A65081B39C3}"/>
                  </a:ext>
                </a:extLst>
              </p:cNvPr>
              <p:cNvSpPr/>
              <p:nvPr/>
            </p:nvSpPr>
            <p:spPr>
              <a:xfrm>
                <a:off x="10020441" y="4060130"/>
                <a:ext cx="133350" cy="114300"/>
              </a:xfrm>
              <a:custGeom>
                <a:avLst/>
                <a:gdLst>
                  <a:gd name="connsiteX0" fmla="*/ 7732 w 133350"/>
                  <a:gd name="connsiteY0" fmla="*/ 49641 h 114300"/>
                  <a:gd name="connsiteX1" fmla="*/ 16304 w 133350"/>
                  <a:gd name="connsiteY1" fmla="*/ 100124 h 114300"/>
                  <a:gd name="connsiteX2" fmla="*/ 25829 w 133350"/>
                  <a:gd name="connsiteY2" fmla="*/ 108696 h 114300"/>
                  <a:gd name="connsiteX3" fmla="*/ 122984 w 133350"/>
                  <a:gd name="connsiteY3" fmla="*/ 108696 h 114300"/>
                  <a:gd name="connsiteX4" fmla="*/ 132509 w 133350"/>
                  <a:gd name="connsiteY4" fmla="*/ 99171 h 114300"/>
                  <a:gd name="connsiteX5" fmla="*/ 120126 w 133350"/>
                  <a:gd name="connsiteY5" fmla="*/ 14399 h 114300"/>
                  <a:gd name="connsiteX6" fmla="*/ 107744 w 133350"/>
                  <a:gd name="connsiteY6" fmla="*/ 7731 h 114300"/>
                  <a:gd name="connsiteX7" fmla="*/ 14399 w 133350"/>
                  <a:gd name="connsiteY7" fmla="*/ 38211 h 114300"/>
                  <a:gd name="connsiteX8" fmla="*/ 7732 w 133350"/>
                  <a:gd name="connsiteY8" fmla="*/ 4964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14300">
                    <a:moveTo>
                      <a:pt x="7732" y="49641"/>
                    </a:moveTo>
                    <a:cubicBezTo>
                      <a:pt x="11541" y="65834"/>
                      <a:pt x="14399" y="82979"/>
                      <a:pt x="16304" y="100124"/>
                    </a:cubicBezTo>
                    <a:cubicBezTo>
                      <a:pt x="16304" y="104886"/>
                      <a:pt x="21066" y="108696"/>
                      <a:pt x="25829" y="108696"/>
                    </a:cubicBezTo>
                    <a:lnTo>
                      <a:pt x="122984" y="108696"/>
                    </a:lnTo>
                    <a:cubicBezTo>
                      <a:pt x="128699" y="108696"/>
                      <a:pt x="132509" y="103934"/>
                      <a:pt x="132509" y="99171"/>
                    </a:cubicBezTo>
                    <a:cubicBezTo>
                      <a:pt x="131557" y="69644"/>
                      <a:pt x="127746" y="42021"/>
                      <a:pt x="120126" y="14399"/>
                    </a:cubicBezTo>
                    <a:cubicBezTo>
                      <a:pt x="119174" y="8684"/>
                      <a:pt x="113459" y="5826"/>
                      <a:pt x="107744" y="7731"/>
                    </a:cubicBezTo>
                    <a:lnTo>
                      <a:pt x="14399" y="38211"/>
                    </a:lnTo>
                    <a:cubicBezTo>
                      <a:pt x="8684" y="40116"/>
                      <a:pt x="5826" y="44879"/>
                      <a:pt x="7732" y="4964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435DBD0D-A879-48EC-9977-B61AB200B0C0}"/>
                  </a:ext>
                </a:extLst>
              </p:cNvPr>
              <p:cNvSpPr/>
              <p:nvPr/>
            </p:nvSpPr>
            <p:spPr>
              <a:xfrm>
                <a:off x="9431394" y="4060127"/>
                <a:ext cx="47625" cy="114300"/>
              </a:xfrm>
              <a:custGeom>
                <a:avLst/>
                <a:gdLst>
                  <a:gd name="connsiteX0" fmla="*/ 25241 w 47625"/>
                  <a:gd name="connsiteY0" fmla="*/ 108696 h 114300"/>
                  <a:gd name="connsiteX1" fmla="*/ 41434 w 47625"/>
                  <a:gd name="connsiteY1" fmla="*/ 21066 h 114300"/>
                  <a:gd name="connsiteX2" fmla="*/ 35719 w 47625"/>
                  <a:gd name="connsiteY2" fmla="*/ 8684 h 114300"/>
                  <a:gd name="connsiteX3" fmla="*/ 31909 w 47625"/>
                  <a:gd name="connsiteY3" fmla="*/ 7731 h 114300"/>
                  <a:gd name="connsiteX4" fmla="*/ 19526 w 47625"/>
                  <a:gd name="connsiteY4" fmla="*/ 14399 h 114300"/>
                  <a:gd name="connsiteX5" fmla="*/ 7144 w 47625"/>
                  <a:gd name="connsiteY5" fmla="*/ 108696 h 114300"/>
                  <a:gd name="connsiteX6" fmla="*/ 25241 w 47625"/>
                  <a:gd name="connsiteY6" fmla="*/ 10869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14300">
                    <a:moveTo>
                      <a:pt x="25241" y="108696"/>
                    </a:moveTo>
                    <a:cubicBezTo>
                      <a:pt x="26194" y="78216"/>
                      <a:pt x="31909" y="48689"/>
                      <a:pt x="41434" y="21066"/>
                    </a:cubicBezTo>
                    <a:cubicBezTo>
                      <a:pt x="43339" y="16304"/>
                      <a:pt x="40481" y="10589"/>
                      <a:pt x="35719" y="8684"/>
                    </a:cubicBezTo>
                    <a:lnTo>
                      <a:pt x="31909" y="7731"/>
                    </a:lnTo>
                    <a:cubicBezTo>
                      <a:pt x="27146" y="5826"/>
                      <a:pt x="21431" y="8684"/>
                      <a:pt x="19526" y="14399"/>
                    </a:cubicBezTo>
                    <a:cubicBezTo>
                      <a:pt x="11906" y="44879"/>
                      <a:pt x="7144" y="76311"/>
                      <a:pt x="7144" y="108696"/>
                    </a:cubicBezTo>
                    <a:lnTo>
                      <a:pt x="25241" y="108696"/>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6" name="Rectangle 45">
              <a:extLst>
                <a:ext uri="{FF2B5EF4-FFF2-40B4-BE49-F238E27FC236}">
                  <a16:creationId xmlns:a16="http://schemas.microsoft.com/office/drawing/2014/main" id="{056BEC6B-AF95-4A45-A0DC-EEB0E176EF87}"/>
                </a:ext>
              </a:extLst>
            </p:cNvPr>
            <p:cNvSpPr/>
            <p:nvPr/>
          </p:nvSpPr>
          <p:spPr bwMode="auto">
            <a:xfrm>
              <a:off x="8512452" y="4693188"/>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pPr>
              <a:r>
                <a:rPr lang="en-US" dirty="0">
                  <a:solidFill>
                    <a:schemeClr val="tx2"/>
                  </a:solidFill>
                  <a:cs typeface="Segoe UI" panose="020B0502040204020203" pitchFamily="34" charset="0"/>
                </a:rPr>
                <a:t>Performance constraints</a:t>
              </a:r>
            </a:p>
          </p:txBody>
        </p:sp>
      </p:grpSp>
    </p:spTree>
    <p:extLst>
      <p:ext uri="{BB962C8B-B14F-4D97-AF65-F5344CB8AC3E}">
        <p14:creationId xmlns:p14="http://schemas.microsoft.com/office/powerpoint/2010/main" val="50271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125E-6 1.85185E-6 L -3.125E-6 -0.14144 " pathEditMode="relative" rAng="0" ptsTypes="AA">
                                      <p:cBhvr>
                                        <p:cTn id="6" dur="2000" fill="hold"/>
                                        <p:tgtEl>
                                          <p:spTgt spid="3"/>
                                        </p:tgtEl>
                                        <p:attrNameLst>
                                          <p:attrName>ppt_x</p:attrName>
                                          <p:attrName>ppt_y</p:attrName>
                                        </p:attrNameLst>
                                      </p:cBhvr>
                                      <p:rCtr x="0" y="-7083"/>
                                    </p:animMotion>
                                  </p:childTnLst>
                                </p:cTn>
                              </p:par>
                            </p:childTnLst>
                          </p:cTn>
                        </p:par>
                        <p:par>
                          <p:cTn id="7" fill="hold">
                            <p:stCondLst>
                              <p:cond delay="2000"/>
                            </p:stCondLst>
                            <p:childTnLst>
                              <p:par>
                                <p:cTn id="8" presetID="10" presetClass="exit" presetSubtype="0" fill="hold" grpId="0" nodeType="afterEffect">
                                  <p:stCondLst>
                                    <p:cond delay="0"/>
                                  </p:stCondLst>
                                  <p:childTnLst>
                                    <p:animEffect transition="out" filter="fade">
                                      <p:cBhvr>
                                        <p:cTn id="9" dur="500"/>
                                        <p:tgtEl>
                                          <p:spTgt spid="129"/>
                                        </p:tgtEl>
                                      </p:cBhvr>
                                    </p:animEffect>
                                    <p:set>
                                      <p:cBhvr>
                                        <p:cTn id="10" dur="1" fill="hold">
                                          <p:stCondLst>
                                            <p:cond delay="499"/>
                                          </p:stCondLst>
                                        </p:cTn>
                                        <p:tgtEl>
                                          <p:spTgt spid="129"/>
                                        </p:tgtEl>
                                        <p:attrNameLst>
                                          <p:attrName>style.visibility</p:attrName>
                                        </p:attrNameLst>
                                      </p:cBhvr>
                                      <p:to>
                                        <p:strVal val="hidden"/>
                                      </p:to>
                                    </p:set>
                                  </p:childTnLst>
                                </p:cTn>
                              </p:par>
                            </p:childTnLst>
                          </p:cTn>
                        </p:par>
                        <p:par>
                          <p:cTn id="11" fill="hold">
                            <p:stCondLst>
                              <p:cond delay="2500"/>
                            </p:stCondLst>
                            <p:childTnLst>
                              <p:par>
                                <p:cTn id="12" presetID="2" presetClass="entr" presetSubtype="4" decel="50000" fill="hold" nodeType="afterEffect">
                                  <p:stCondLst>
                                    <p:cond delay="0"/>
                                  </p:stCondLst>
                                  <p:childTnLst>
                                    <p:set>
                                      <p:cBhvr>
                                        <p:cTn id="13" dur="1" fill="hold">
                                          <p:stCondLst>
                                            <p:cond delay="0"/>
                                          </p:stCondLst>
                                        </p:cTn>
                                        <p:tgtEl>
                                          <p:spTgt spid="126"/>
                                        </p:tgtEl>
                                        <p:attrNameLst>
                                          <p:attrName>style.visibility</p:attrName>
                                        </p:attrNameLst>
                                      </p:cBhvr>
                                      <p:to>
                                        <p:strVal val="visible"/>
                                      </p:to>
                                    </p:set>
                                    <p:anim calcmode="lin" valueType="num">
                                      <p:cBhvr additive="base">
                                        <p:cTn id="14" dur="500" fill="hold"/>
                                        <p:tgtEl>
                                          <p:spTgt spid="126"/>
                                        </p:tgtEl>
                                        <p:attrNameLst>
                                          <p:attrName>ppt_x</p:attrName>
                                        </p:attrNameLst>
                                      </p:cBhvr>
                                      <p:tavLst>
                                        <p:tav tm="0">
                                          <p:val>
                                            <p:strVal val="#ppt_x"/>
                                          </p:val>
                                        </p:tav>
                                        <p:tav tm="100000">
                                          <p:val>
                                            <p:strVal val="#ppt_x"/>
                                          </p:val>
                                        </p:tav>
                                      </p:tavLst>
                                    </p:anim>
                                    <p:anim calcmode="lin" valueType="num">
                                      <p:cBhvr additive="base">
                                        <p:cTn id="15" dur="500" fill="hold"/>
                                        <p:tgtEl>
                                          <p:spTgt spid="126"/>
                                        </p:tgtEl>
                                        <p:attrNameLst>
                                          <p:attrName>ppt_y</p:attrName>
                                        </p:attrNameLst>
                                      </p:cBhvr>
                                      <p:tavLst>
                                        <p:tav tm="0">
                                          <p:val>
                                            <p:strVal val="1+#ppt_h/2"/>
                                          </p:val>
                                        </p:tav>
                                        <p:tav tm="100000">
                                          <p:val>
                                            <p:strVal val="#ppt_y"/>
                                          </p:val>
                                        </p:tav>
                                      </p:tavLst>
                                    </p:anim>
                                  </p:childTnLst>
                                </p:cTn>
                              </p:par>
                            </p:childTnLst>
                          </p:cTn>
                        </p:par>
                        <p:par>
                          <p:cTn id="16" fill="hold">
                            <p:stCondLst>
                              <p:cond delay="3000"/>
                            </p:stCondLst>
                            <p:childTnLst>
                              <p:par>
                                <p:cTn id="17" presetID="2" presetClass="entr" presetSubtype="4" decel="50000"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500" fill="hold"/>
                                        <p:tgtEl>
                                          <p:spTgt spid="51"/>
                                        </p:tgtEl>
                                        <p:attrNameLst>
                                          <p:attrName>ppt_x</p:attrName>
                                        </p:attrNameLst>
                                      </p:cBhvr>
                                      <p:tavLst>
                                        <p:tav tm="0">
                                          <p:val>
                                            <p:strVal val="#ppt_x"/>
                                          </p:val>
                                        </p:tav>
                                        <p:tav tm="100000">
                                          <p:val>
                                            <p:strVal val="#ppt_x"/>
                                          </p:val>
                                        </p:tav>
                                      </p:tavLst>
                                    </p:anim>
                                    <p:anim calcmode="lin" valueType="num">
                                      <p:cBhvr additive="base">
                                        <p:cTn id="20"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425" y="1184320"/>
            <a:ext cx="9296309" cy="3535032"/>
          </a:xfrm>
        </p:spPr>
        <p:txBody>
          <a:bodyPr anchor="ctr">
            <a:normAutofit/>
          </a:bodyPr>
          <a:lstStyle/>
          <a:p>
            <a:pPr>
              <a:spcBef>
                <a:spcPts val="2400"/>
              </a:spcBef>
            </a:pPr>
            <a:r>
              <a:rPr lang="en-US" spc="-150" dirty="0"/>
              <a:t>What approach should I take to overcome these challenges?</a:t>
            </a:r>
          </a:p>
        </p:txBody>
      </p:sp>
    </p:spTree>
    <p:extLst>
      <p:ext uri="{BB962C8B-B14F-4D97-AF65-F5344CB8AC3E}">
        <p14:creationId xmlns:p14="http://schemas.microsoft.com/office/powerpoint/2010/main" val="307924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vert="horz" wrap="square" lIns="0" tIns="164592" rIns="0" bIns="0" rtlCol="0" anchor="t">
            <a:noAutofit/>
          </a:bodyPr>
          <a:lstStyle/>
          <a:p>
            <a:r>
              <a:rPr lang="en-US" spc="-150" dirty="0"/>
              <a:t>Our customers have three common objectives</a:t>
            </a:r>
            <a:endParaRPr lang="en-IN" spc="-150" dirty="0"/>
          </a:p>
        </p:txBody>
      </p:sp>
      <p:sp>
        <p:nvSpPr>
          <p:cNvPr id="43" name="Text Placeholder 84">
            <a:extLst>
              <a:ext uri="{FF2B5EF4-FFF2-40B4-BE49-F238E27FC236}">
                <a16:creationId xmlns:a16="http://schemas.microsoft.com/office/drawing/2014/main" id="{CD512860-E504-483F-8C41-0D1B285ABF80}"/>
              </a:ext>
            </a:extLst>
          </p:cNvPr>
          <p:cNvSpPr txBox="1">
            <a:spLocks/>
          </p:cNvSpPr>
          <p:nvPr/>
        </p:nvSpPr>
        <p:spPr>
          <a:xfrm>
            <a:off x="457200" y="3685764"/>
            <a:ext cx="3319272" cy="1060567"/>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extend</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to untapped sources”</a:t>
            </a:r>
          </a:p>
        </p:txBody>
      </p:sp>
      <p:sp>
        <p:nvSpPr>
          <p:cNvPr id="44" name="Text Placeholder 55">
            <a:extLst>
              <a:ext uri="{FF2B5EF4-FFF2-40B4-BE49-F238E27FC236}">
                <a16:creationId xmlns:a16="http://schemas.microsoft.com/office/drawing/2014/main" id="{3D20EA0C-8AD4-4291-9D20-01D354523323}"/>
              </a:ext>
            </a:extLst>
          </p:cNvPr>
          <p:cNvSpPr txBox="1">
            <a:spLocks/>
          </p:cNvSpPr>
          <p:nvPr/>
        </p:nvSpPr>
        <p:spPr>
          <a:xfrm>
            <a:off x="4223467" y="3685764"/>
            <a:ext cx="3626305" cy="1060566"/>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use ML and AI to </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get deeper insights from our data”</a:t>
            </a:r>
          </a:p>
        </p:txBody>
      </p:sp>
      <p:sp>
        <p:nvSpPr>
          <p:cNvPr id="46" name="Text Placeholder 56">
            <a:extLst>
              <a:ext uri="{FF2B5EF4-FFF2-40B4-BE49-F238E27FC236}">
                <a16:creationId xmlns:a16="http://schemas.microsoft.com/office/drawing/2014/main" id="{18D418D6-E01A-42CD-A0E8-FA4A9240FB6B}"/>
              </a:ext>
            </a:extLst>
          </p:cNvPr>
          <p:cNvSpPr txBox="1">
            <a:spLocks/>
          </p:cNvSpPr>
          <p:nvPr/>
        </p:nvSpPr>
        <p:spPr>
          <a:xfrm>
            <a:off x="8439711" y="3685764"/>
            <a:ext cx="3316738" cy="1060566"/>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get insights</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from our devices in real-time”</a:t>
            </a:r>
          </a:p>
        </p:txBody>
      </p:sp>
      <p:sp>
        <p:nvSpPr>
          <p:cNvPr id="65" name="Text Placeholder 84">
            <a:extLst>
              <a:ext uri="{FF2B5EF4-FFF2-40B4-BE49-F238E27FC236}">
                <a16:creationId xmlns:a16="http://schemas.microsoft.com/office/drawing/2014/main" id="{A52FC487-2E75-49FC-99BD-BAAAF10A4BDC}"/>
              </a:ext>
            </a:extLst>
          </p:cNvPr>
          <p:cNvSpPr txBox="1">
            <a:spLocks/>
          </p:cNvSpPr>
          <p:nvPr/>
        </p:nvSpPr>
        <p:spPr>
          <a:xfrm>
            <a:off x="457200" y="4554663"/>
            <a:ext cx="3319272"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Modern Data Warehouse</a:t>
            </a:r>
          </a:p>
        </p:txBody>
      </p:sp>
      <p:sp>
        <p:nvSpPr>
          <p:cNvPr id="66" name="Text Placeholder 55">
            <a:extLst>
              <a:ext uri="{FF2B5EF4-FFF2-40B4-BE49-F238E27FC236}">
                <a16:creationId xmlns:a16="http://schemas.microsoft.com/office/drawing/2014/main" id="{2885CD6C-77B2-4973-AD9B-D15FD2004F97}"/>
              </a:ext>
            </a:extLst>
          </p:cNvPr>
          <p:cNvSpPr txBox="1">
            <a:spLocks/>
          </p:cNvSpPr>
          <p:nvPr/>
        </p:nvSpPr>
        <p:spPr>
          <a:xfrm>
            <a:off x="4223467" y="4554663"/>
            <a:ext cx="3316737"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dvanced Analytics</a:t>
            </a:r>
          </a:p>
        </p:txBody>
      </p:sp>
      <p:sp>
        <p:nvSpPr>
          <p:cNvPr id="67" name="Text Placeholder 56">
            <a:extLst>
              <a:ext uri="{FF2B5EF4-FFF2-40B4-BE49-F238E27FC236}">
                <a16:creationId xmlns:a16="http://schemas.microsoft.com/office/drawing/2014/main" id="{D79B7823-2FD9-4797-B505-E0FBEF6D1D3B}"/>
              </a:ext>
            </a:extLst>
          </p:cNvPr>
          <p:cNvSpPr txBox="1">
            <a:spLocks/>
          </p:cNvSpPr>
          <p:nvPr/>
        </p:nvSpPr>
        <p:spPr>
          <a:xfrm>
            <a:off x="8409231" y="4554663"/>
            <a:ext cx="3316737"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Real-time Analytics</a:t>
            </a:r>
          </a:p>
        </p:txBody>
      </p:sp>
      <p:grpSp>
        <p:nvGrpSpPr>
          <p:cNvPr id="129" name="Graphic 99">
            <a:extLst>
              <a:ext uri="{FF2B5EF4-FFF2-40B4-BE49-F238E27FC236}">
                <a16:creationId xmlns:a16="http://schemas.microsoft.com/office/drawing/2014/main" id="{1116DB71-D934-4C5E-9826-530102326406}"/>
              </a:ext>
            </a:extLst>
          </p:cNvPr>
          <p:cNvGrpSpPr/>
          <p:nvPr/>
        </p:nvGrpSpPr>
        <p:grpSpPr>
          <a:xfrm>
            <a:off x="465395" y="2227142"/>
            <a:ext cx="1214685" cy="1205503"/>
            <a:chOff x="5654516" y="2989421"/>
            <a:chExt cx="882015" cy="875348"/>
          </a:xfrm>
        </p:grpSpPr>
        <p:sp>
          <p:nvSpPr>
            <p:cNvPr id="130" name="Freeform: Shape 129">
              <a:extLst>
                <a:ext uri="{FF2B5EF4-FFF2-40B4-BE49-F238E27FC236}">
                  <a16:creationId xmlns:a16="http://schemas.microsoft.com/office/drawing/2014/main" id="{356A5827-A096-49F5-B0FB-8A749F4113EE}"/>
                </a:ext>
              </a:extLst>
            </p:cNvPr>
            <p:cNvSpPr/>
            <p:nvPr/>
          </p:nvSpPr>
          <p:spPr>
            <a:xfrm>
              <a:off x="5655469"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2886" y="80486"/>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CB2B2544-C408-4059-BDAD-0849507BF940}"/>
                </a:ext>
              </a:extLst>
            </p:cNvPr>
            <p:cNvSpPr/>
            <p:nvPr/>
          </p:nvSpPr>
          <p:spPr>
            <a:xfrm>
              <a:off x="565451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311DF0B3-33D4-40B6-83FB-ED830AA73EDA}"/>
                </a:ext>
              </a:extLst>
            </p:cNvPr>
            <p:cNvSpPr/>
            <p:nvPr/>
          </p:nvSpPr>
          <p:spPr>
            <a:xfrm>
              <a:off x="6298406"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3839" y="80486"/>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94FFACA8-BB95-4E4F-AD3C-9C1CECE4A7CB}"/>
                </a:ext>
              </a:extLst>
            </p:cNvPr>
            <p:cNvSpPr/>
            <p:nvPr/>
          </p:nvSpPr>
          <p:spPr>
            <a:xfrm>
              <a:off x="629840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2886"/>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28736C55-8181-4098-968D-FE8B5B8600D3}"/>
                </a:ext>
              </a:extLst>
            </p:cNvPr>
            <p:cNvSpPr/>
            <p:nvPr/>
          </p:nvSpPr>
          <p:spPr>
            <a:xfrm>
              <a:off x="5969794" y="298942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2886 w 238125"/>
                <a:gd name="connsiteY3" fmla="*/ 50006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2886" y="20479"/>
                    <a:pt x="232886" y="50006"/>
                  </a:cubicBezTo>
                  <a:cubicBezTo>
                    <a:pt x="232886" y="79534"/>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B89CE077-452A-4982-9E27-304E50FFACED}"/>
                </a:ext>
              </a:extLst>
            </p:cNvPr>
            <p:cNvSpPr/>
            <p:nvPr/>
          </p:nvSpPr>
          <p:spPr>
            <a:xfrm>
              <a:off x="5968841" y="3032284"/>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6" name="Freeform: Shape 135">
              <a:extLst>
                <a:ext uri="{FF2B5EF4-FFF2-40B4-BE49-F238E27FC236}">
                  <a16:creationId xmlns:a16="http://schemas.microsoft.com/office/drawing/2014/main" id="{7E757344-1388-400D-8403-F7AD25A402D6}"/>
                </a:ext>
              </a:extLst>
            </p:cNvPr>
            <p:cNvSpPr/>
            <p:nvPr/>
          </p:nvSpPr>
          <p:spPr>
            <a:xfrm>
              <a:off x="6083141" y="3311366"/>
              <a:ext cx="9525" cy="123825"/>
            </a:xfrm>
            <a:custGeom>
              <a:avLst/>
              <a:gdLst>
                <a:gd name="connsiteX0" fmla="*/ 7144 w 9525"/>
                <a:gd name="connsiteY0" fmla="*/ 7144 h 123825"/>
                <a:gd name="connsiteX1" fmla="*/ 7144 w 9525"/>
                <a:gd name="connsiteY1" fmla="*/ 124301 h 123825"/>
              </a:gdLst>
              <a:ahLst/>
              <a:cxnLst>
                <a:cxn ang="0">
                  <a:pos x="connsiteX0" y="connsiteY0"/>
                </a:cxn>
                <a:cxn ang="0">
                  <a:pos x="connsiteX1" y="connsiteY1"/>
                </a:cxn>
              </a:cxnLst>
              <a:rect l="l" t="t" r="r" b="b"/>
              <a:pathLst>
                <a:path w="9525" h="123825">
                  <a:moveTo>
                    <a:pt x="7144" y="7144"/>
                  </a:moveTo>
                  <a:lnTo>
                    <a:pt x="7144" y="124301"/>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9C1A5D0A-C581-45CC-ABEE-6EF611EFF63B}"/>
                </a:ext>
              </a:extLst>
            </p:cNvPr>
            <p:cNvSpPr/>
            <p:nvPr/>
          </p:nvSpPr>
          <p:spPr>
            <a:xfrm>
              <a:off x="6043136" y="3394234"/>
              <a:ext cx="85725" cy="47625"/>
            </a:xfrm>
            <a:custGeom>
              <a:avLst/>
              <a:gdLst>
                <a:gd name="connsiteX0" fmla="*/ 86201 w 85725"/>
                <a:gd name="connsiteY0" fmla="*/ 7144 h 47625"/>
                <a:gd name="connsiteX1" fmla="*/ 66199 w 85725"/>
                <a:gd name="connsiteY1" fmla="*/ 25241 h 47625"/>
                <a:gd name="connsiteX2" fmla="*/ 47149 w 85725"/>
                <a:gd name="connsiteY2" fmla="*/ 43339 h 47625"/>
                <a:gd name="connsiteX3" fmla="*/ 27146 w 85725"/>
                <a:gd name="connsiteY3" fmla="*/ 25241 h 47625"/>
                <a:gd name="connsiteX4" fmla="*/ 7144 w 85725"/>
                <a:gd name="connsiteY4" fmla="*/ 714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7625">
                  <a:moveTo>
                    <a:pt x="86201" y="7144"/>
                  </a:moveTo>
                  <a:lnTo>
                    <a:pt x="66199" y="25241"/>
                  </a:lnTo>
                  <a:lnTo>
                    <a:pt x="47149" y="43339"/>
                  </a:lnTo>
                  <a:lnTo>
                    <a:pt x="27146" y="25241"/>
                  </a:lnTo>
                  <a:lnTo>
                    <a:pt x="7144" y="7144"/>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075726E4-243C-423C-B209-59F3E707125F}"/>
                </a:ext>
              </a:extLst>
            </p:cNvPr>
            <p:cNvSpPr/>
            <p:nvPr/>
          </p:nvSpPr>
          <p:spPr>
            <a:xfrm>
              <a:off x="5741194" y="3438049"/>
              <a:ext cx="76200" cy="104775"/>
            </a:xfrm>
            <a:custGeom>
              <a:avLst/>
              <a:gdLst>
                <a:gd name="connsiteX0" fmla="*/ 7144 w 76200"/>
                <a:gd name="connsiteY0" fmla="*/ 7144 h 104775"/>
                <a:gd name="connsiteX1" fmla="*/ 75724 w 76200"/>
                <a:gd name="connsiteY1" fmla="*/ 100489 h 104775"/>
              </a:gdLst>
              <a:ahLst/>
              <a:cxnLst>
                <a:cxn ang="0">
                  <a:pos x="connsiteX0" y="connsiteY0"/>
                </a:cxn>
                <a:cxn ang="0">
                  <a:pos x="connsiteX1" y="connsiteY1"/>
                </a:cxn>
              </a:cxnLst>
              <a:rect l="l" t="t" r="r" b="b"/>
              <a:pathLst>
                <a:path w="76200" h="104775">
                  <a:moveTo>
                    <a:pt x="7144" y="7144"/>
                  </a:moveTo>
                  <a:lnTo>
                    <a:pt x="75724" y="100489"/>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9" name="Freeform: Shape 138">
              <a:extLst>
                <a:ext uri="{FF2B5EF4-FFF2-40B4-BE49-F238E27FC236}">
                  <a16:creationId xmlns:a16="http://schemas.microsoft.com/office/drawing/2014/main" id="{F2B25867-EC05-4169-A6E8-2D40E9389707}"/>
                </a:ext>
              </a:extLst>
            </p:cNvPr>
            <p:cNvSpPr/>
            <p:nvPr/>
          </p:nvSpPr>
          <p:spPr>
            <a:xfrm>
              <a:off x="5758339" y="3480911"/>
              <a:ext cx="76200" cy="66675"/>
            </a:xfrm>
            <a:custGeom>
              <a:avLst/>
              <a:gdLst>
                <a:gd name="connsiteX0" fmla="*/ 70961 w 76200"/>
                <a:gd name="connsiteY0" fmla="*/ 7144 h 66675"/>
                <a:gd name="connsiteX1" fmla="*/ 65246 w 76200"/>
                <a:gd name="connsiteY1" fmla="*/ 33814 h 66675"/>
                <a:gd name="connsiteX2" fmla="*/ 59531 w 76200"/>
                <a:gd name="connsiteY2" fmla="*/ 59531 h 66675"/>
                <a:gd name="connsiteX3" fmla="*/ 33814 w 76200"/>
                <a:gd name="connsiteY3" fmla="*/ 56674 h 66675"/>
                <a:gd name="connsiteX4" fmla="*/ 7144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0961" y="7144"/>
                  </a:moveTo>
                  <a:lnTo>
                    <a:pt x="65246" y="33814"/>
                  </a:lnTo>
                  <a:lnTo>
                    <a:pt x="59531" y="59531"/>
                  </a:lnTo>
                  <a:lnTo>
                    <a:pt x="33814" y="56674"/>
                  </a:lnTo>
                  <a:lnTo>
                    <a:pt x="7144" y="53816"/>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0" name="Freeform: Shape 139">
              <a:extLst>
                <a:ext uri="{FF2B5EF4-FFF2-40B4-BE49-F238E27FC236}">
                  <a16:creationId xmlns:a16="http://schemas.microsoft.com/office/drawing/2014/main" id="{2B1ED50B-1F01-447A-B4DE-60707AC0A95D}"/>
                </a:ext>
              </a:extLst>
            </p:cNvPr>
            <p:cNvSpPr/>
            <p:nvPr/>
          </p:nvSpPr>
          <p:spPr>
            <a:xfrm>
              <a:off x="6361271" y="3438049"/>
              <a:ext cx="76200" cy="104775"/>
            </a:xfrm>
            <a:custGeom>
              <a:avLst/>
              <a:gdLst>
                <a:gd name="connsiteX0" fmla="*/ 75724 w 76200"/>
                <a:gd name="connsiteY0" fmla="*/ 7144 h 104775"/>
                <a:gd name="connsiteX1" fmla="*/ 7144 w 76200"/>
                <a:gd name="connsiteY1" fmla="*/ 100489 h 104775"/>
              </a:gdLst>
              <a:ahLst/>
              <a:cxnLst>
                <a:cxn ang="0">
                  <a:pos x="connsiteX0" y="connsiteY0"/>
                </a:cxn>
                <a:cxn ang="0">
                  <a:pos x="connsiteX1" y="connsiteY1"/>
                </a:cxn>
              </a:cxnLst>
              <a:rect l="l" t="t" r="r" b="b"/>
              <a:pathLst>
                <a:path w="76200" h="104775">
                  <a:moveTo>
                    <a:pt x="75724" y="7144"/>
                  </a:moveTo>
                  <a:lnTo>
                    <a:pt x="7144" y="100489"/>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9F2208F4-1F23-4ED6-AB17-DBD2AB98F30D}"/>
                </a:ext>
              </a:extLst>
            </p:cNvPr>
            <p:cNvSpPr/>
            <p:nvPr/>
          </p:nvSpPr>
          <p:spPr>
            <a:xfrm>
              <a:off x="6349841" y="3480911"/>
              <a:ext cx="76200" cy="66675"/>
            </a:xfrm>
            <a:custGeom>
              <a:avLst/>
              <a:gdLst>
                <a:gd name="connsiteX0" fmla="*/ 7144 w 76200"/>
                <a:gd name="connsiteY0" fmla="*/ 7144 h 66675"/>
                <a:gd name="connsiteX1" fmla="*/ 12859 w 76200"/>
                <a:gd name="connsiteY1" fmla="*/ 33814 h 66675"/>
                <a:gd name="connsiteX2" fmla="*/ 17621 w 76200"/>
                <a:gd name="connsiteY2" fmla="*/ 59531 h 66675"/>
                <a:gd name="connsiteX3" fmla="*/ 44291 w 76200"/>
                <a:gd name="connsiteY3" fmla="*/ 56674 h 66675"/>
                <a:gd name="connsiteX4" fmla="*/ 70961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144" y="7144"/>
                  </a:moveTo>
                  <a:lnTo>
                    <a:pt x="12859" y="33814"/>
                  </a:lnTo>
                  <a:lnTo>
                    <a:pt x="17621" y="59531"/>
                  </a:lnTo>
                  <a:lnTo>
                    <a:pt x="44291" y="56674"/>
                  </a:lnTo>
                  <a:lnTo>
                    <a:pt x="70961" y="53816"/>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4F70CB8B-9DCF-4DDE-A13E-68BE5461D340}"/>
                </a:ext>
              </a:extLst>
            </p:cNvPr>
            <p:cNvSpPr/>
            <p:nvPr/>
          </p:nvSpPr>
          <p:spPr>
            <a:xfrm>
              <a:off x="5820251" y="3480911"/>
              <a:ext cx="533400" cy="381000"/>
            </a:xfrm>
            <a:custGeom>
              <a:avLst/>
              <a:gdLst>
                <a:gd name="connsiteX0" fmla="*/ 270034 w 533400"/>
                <a:gd name="connsiteY0" fmla="*/ 130969 h 381000"/>
                <a:gd name="connsiteX1" fmla="*/ 438626 w 533400"/>
                <a:gd name="connsiteY1" fmla="*/ 130969 h 381000"/>
                <a:gd name="connsiteX2" fmla="*/ 438626 w 533400"/>
                <a:gd name="connsiteY2" fmla="*/ 382429 h 381000"/>
                <a:gd name="connsiteX3" fmla="*/ 489109 w 533400"/>
                <a:gd name="connsiteY3" fmla="*/ 382429 h 381000"/>
                <a:gd name="connsiteX4" fmla="*/ 489109 w 533400"/>
                <a:gd name="connsiteY4" fmla="*/ 110014 h 381000"/>
                <a:gd name="connsiteX5" fmla="*/ 531971 w 533400"/>
                <a:gd name="connsiteY5" fmla="*/ 110014 h 381000"/>
                <a:gd name="connsiteX6" fmla="*/ 531971 w 533400"/>
                <a:gd name="connsiteY6" fmla="*/ 77629 h 381000"/>
                <a:gd name="connsiteX7" fmla="*/ 270034 w 533400"/>
                <a:gd name="connsiteY7" fmla="*/ 7144 h 381000"/>
                <a:gd name="connsiteX8" fmla="*/ 7144 w 533400"/>
                <a:gd name="connsiteY8" fmla="*/ 77629 h 381000"/>
                <a:gd name="connsiteX9" fmla="*/ 7144 w 533400"/>
                <a:gd name="connsiteY9" fmla="*/ 110014 h 381000"/>
                <a:gd name="connsiteX10" fmla="*/ 50959 w 533400"/>
                <a:gd name="connsiteY10" fmla="*/ 110014 h 381000"/>
                <a:gd name="connsiteX11" fmla="*/ 50959 w 533400"/>
                <a:gd name="connsiteY11" fmla="*/ 382429 h 381000"/>
                <a:gd name="connsiteX12" fmla="*/ 100489 w 533400"/>
                <a:gd name="connsiteY12" fmla="*/ 382429 h 381000"/>
                <a:gd name="connsiteX13" fmla="*/ 100489 w 533400"/>
                <a:gd name="connsiteY13" fmla="*/ 13096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400" h="381000">
                  <a:moveTo>
                    <a:pt x="270034" y="130969"/>
                  </a:moveTo>
                  <a:lnTo>
                    <a:pt x="438626" y="130969"/>
                  </a:lnTo>
                  <a:lnTo>
                    <a:pt x="438626" y="382429"/>
                  </a:lnTo>
                  <a:lnTo>
                    <a:pt x="489109" y="382429"/>
                  </a:lnTo>
                  <a:lnTo>
                    <a:pt x="489109" y="110014"/>
                  </a:lnTo>
                  <a:lnTo>
                    <a:pt x="531971" y="110014"/>
                  </a:lnTo>
                  <a:lnTo>
                    <a:pt x="531971" y="77629"/>
                  </a:lnTo>
                  <a:lnTo>
                    <a:pt x="270034" y="7144"/>
                  </a:lnTo>
                  <a:lnTo>
                    <a:pt x="7144" y="77629"/>
                  </a:lnTo>
                  <a:lnTo>
                    <a:pt x="7144" y="110014"/>
                  </a:lnTo>
                  <a:lnTo>
                    <a:pt x="50959" y="110014"/>
                  </a:lnTo>
                  <a:lnTo>
                    <a:pt x="50959" y="382429"/>
                  </a:lnTo>
                  <a:lnTo>
                    <a:pt x="100489" y="382429"/>
                  </a:lnTo>
                  <a:lnTo>
                    <a:pt x="100489" y="13096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3306003B-9DAC-4DB3-A342-5991EF98B7D2}"/>
                </a:ext>
              </a:extLst>
            </p:cNvPr>
            <p:cNvSpPr/>
            <p:nvPr/>
          </p:nvSpPr>
          <p:spPr>
            <a:xfrm>
              <a:off x="5950744" y="3648588"/>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5B377C2D-A66D-4FA1-B297-B146CF820D60}"/>
                </a:ext>
              </a:extLst>
            </p:cNvPr>
            <p:cNvSpPr/>
            <p:nvPr/>
          </p:nvSpPr>
          <p:spPr>
            <a:xfrm>
              <a:off x="5950744"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9959DADE-5E72-4758-A630-57CCF091C2E3}"/>
                </a:ext>
              </a:extLst>
            </p:cNvPr>
            <p:cNvSpPr/>
            <p:nvPr/>
          </p:nvSpPr>
          <p:spPr>
            <a:xfrm>
              <a:off x="5950744"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35F19760-F2C2-480F-86F5-D11472F8B509}"/>
                </a:ext>
              </a:extLst>
            </p:cNvPr>
            <p:cNvSpPr/>
            <p:nvPr/>
          </p:nvSpPr>
          <p:spPr>
            <a:xfrm>
              <a:off x="6035516"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5AA586C4-0F1B-4EC0-BC66-820013CC4E44}"/>
                </a:ext>
              </a:extLst>
            </p:cNvPr>
            <p:cNvSpPr/>
            <p:nvPr/>
          </p:nvSpPr>
          <p:spPr>
            <a:xfrm>
              <a:off x="6035516"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D2AB134A-35DF-4511-946B-B44E70D60A4A}"/>
                </a:ext>
              </a:extLst>
            </p:cNvPr>
            <p:cNvSpPr/>
            <p:nvPr/>
          </p:nvSpPr>
          <p:spPr>
            <a:xfrm>
              <a:off x="6118981"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897F189-B8F6-4093-87D5-CBE873BA5799}"/>
              </a:ext>
            </a:extLst>
          </p:cNvPr>
          <p:cNvGrpSpPr/>
          <p:nvPr/>
        </p:nvGrpSpPr>
        <p:grpSpPr>
          <a:xfrm>
            <a:off x="8362966" y="2309246"/>
            <a:ext cx="1836363" cy="906423"/>
            <a:chOff x="9244892" y="2529177"/>
            <a:chExt cx="1591313" cy="785467"/>
          </a:xfrm>
        </p:grpSpPr>
        <p:sp>
          <p:nvSpPr>
            <p:cNvPr id="54" name="Freeform: Shape 53">
              <a:extLst>
                <a:ext uri="{FF2B5EF4-FFF2-40B4-BE49-F238E27FC236}">
                  <a16:creationId xmlns:a16="http://schemas.microsoft.com/office/drawing/2014/main" id="{D94429EC-4058-463A-9F4F-0004026273E8}"/>
                </a:ext>
              </a:extLst>
            </p:cNvPr>
            <p:cNvSpPr/>
            <p:nvPr/>
          </p:nvSpPr>
          <p:spPr>
            <a:xfrm flipV="1">
              <a:off x="9244892" y="2529177"/>
              <a:ext cx="767617" cy="785467"/>
            </a:xfrm>
            <a:custGeom>
              <a:avLst/>
              <a:gdLst>
                <a:gd name="connsiteX0" fmla="*/ 38498 w 767617"/>
                <a:gd name="connsiteY0" fmla="*/ 393743 h 785466"/>
                <a:gd name="connsiteX1" fmla="*/ 388389 w 767617"/>
                <a:gd name="connsiteY1" fmla="*/ 38498 h 785466"/>
                <a:gd name="connsiteX2" fmla="*/ 736494 w 767617"/>
                <a:gd name="connsiteY2" fmla="*/ 393743 h 785466"/>
                <a:gd name="connsiteX3" fmla="*/ 388389 w 767617"/>
                <a:gd name="connsiteY3" fmla="*/ 745418 h 785466"/>
                <a:gd name="connsiteX4" fmla="*/ 38498 w 767617"/>
                <a:gd name="connsiteY4" fmla="*/ 393743 h 785466"/>
                <a:gd name="connsiteX5" fmla="*/ 38498 w 767617"/>
                <a:gd name="connsiteY5" fmla="*/ 393743 h 785466"/>
                <a:gd name="connsiteX6" fmla="*/ 388389 w 767617"/>
                <a:gd name="connsiteY6" fmla="*/ 747203 h 785466"/>
                <a:gd name="connsiteX7" fmla="*/ 565119 w 767617"/>
                <a:gd name="connsiteY7" fmla="*/ 395528 h 785466"/>
                <a:gd name="connsiteX8" fmla="*/ 388389 w 767617"/>
                <a:gd name="connsiteY8" fmla="*/ 40283 h 785466"/>
                <a:gd name="connsiteX9" fmla="*/ 209873 w 767617"/>
                <a:gd name="connsiteY9" fmla="*/ 395528 h 785466"/>
                <a:gd name="connsiteX10" fmla="*/ 388389 w 767617"/>
                <a:gd name="connsiteY10" fmla="*/ 747203 h 785466"/>
                <a:gd name="connsiteX11" fmla="*/ 388389 w 767617"/>
                <a:gd name="connsiteY11" fmla="*/ 747203 h 785466"/>
                <a:gd name="connsiteX12" fmla="*/ 54564 w 767617"/>
                <a:gd name="connsiteY12" fmla="*/ 284849 h 785466"/>
                <a:gd name="connsiteX13" fmla="*/ 718643 w 767617"/>
                <a:gd name="connsiteY13" fmla="*/ 284849 h 785466"/>
                <a:gd name="connsiteX14" fmla="*/ 56349 w 767617"/>
                <a:gd name="connsiteY14" fmla="*/ 506207 h 785466"/>
                <a:gd name="connsiteX15" fmla="*/ 716857 w 767617"/>
                <a:gd name="connsiteY15" fmla="*/ 506207 h 78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7617" h="785466">
                  <a:moveTo>
                    <a:pt x="38498" y="393743"/>
                  </a:moveTo>
                  <a:cubicBezTo>
                    <a:pt x="38498" y="197376"/>
                    <a:pt x="195592" y="38498"/>
                    <a:pt x="388389" y="38498"/>
                  </a:cubicBezTo>
                  <a:cubicBezTo>
                    <a:pt x="579400" y="38498"/>
                    <a:pt x="736494" y="197376"/>
                    <a:pt x="736494" y="393743"/>
                  </a:cubicBezTo>
                  <a:cubicBezTo>
                    <a:pt x="736494" y="588324"/>
                    <a:pt x="579400" y="745418"/>
                    <a:pt x="388389" y="745418"/>
                  </a:cubicBezTo>
                  <a:cubicBezTo>
                    <a:pt x="193807" y="747203"/>
                    <a:pt x="38498" y="588324"/>
                    <a:pt x="38498" y="393743"/>
                  </a:cubicBezTo>
                  <a:lnTo>
                    <a:pt x="38498" y="393743"/>
                  </a:lnTo>
                  <a:close/>
                  <a:moveTo>
                    <a:pt x="388389" y="747203"/>
                  </a:moveTo>
                  <a:cubicBezTo>
                    <a:pt x="486572" y="747203"/>
                    <a:pt x="565119" y="588324"/>
                    <a:pt x="565119" y="395528"/>
                  </a:cubicBezTo>
                  <a:cubicBezTo>
                    <a:pt x="565119" y="199161"/>
                    <a:pt x="486572" y="40283"/>
                    <a:pt x="388389" y="40283"/>
                  </a:cubicBezTo>
                  <a:cubicBezTo>
                    <a:pt x="288420" y="40283"/>
                    <a:pt x="209873" y="199161"/>
                    <a:pt x="209873" y="395528"/>
                  </a:cubicBezTo>
                  <a:cubicBezTo>
                    <a:pt x="208088" y="588324"/>
                    <a:pt x="288420" y="747203"/>
                    <a:pt x="388389" y="747203"/>
                  </a:cubicBezTo>
                  <a:lnTo>
                    <a:pt x="388389" y="747203"/>
                  </a:lnTo>
                  <a:close/>
                  <a:moveTo>
                    <a:pt x="54564" y="284849"/>
                  </a:moveTo>
                  <a:cubicBezTo>
                    <a:pt x="718643" y="284849"/>
                    <a:pt x="718643" y="284849"/>
                    <a:pt x="718643" y="284849"/>
                  </a:cubicBezTo>
                  <a:moveTo>
                    <a:pt x="56349" y="506207"/>
                  </a:moveTo>
                  <a:cubicBezTo>
                    <a:pt x="716857" y="506207"/>
                    <a:pt x="716857" y="506207"/>
                    <a:pt x="716857" y="506207"/>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55" name="Group 54">
              <a:extLst>
                <a:ext uri="{FF2B5EF4-FFF2-40B4-BE49-F238E27FC236}">
                  <a16:creationId xmlns:a16="http://schemas.microsoft.com/office/drawing/2014/main" id="{3464AF34-8C90-4C2D-98C5-1F7BA0AAEA7D}"/>
                </a:ext>
              </a:extLst>
            </p:cNvPr>
            <p:cNvGrpSpPr/>
            <p:nvPr/>
          </p:nvGrpSpPr>
          <p:grpSpPr>
            <a:xfrm>
              <a:off x="10235835" y="2588940"/>
              <a:ext cx="432223" cy="332479"/>
              <a:chOff x="10167112" y="3894451"/>
              <a:chExt cx="363518" cy="279629"/>
            </a:xfrm>
          </p:grpSpPr>
          <p:sp>
            <p:nvSpPr>
              <p:cNvPr id="56" name="Freeform: Shape 55">
                <a:extLst>
                  <a:ext uri="{FF2B5EF4-FFF2-40B4-BE49-F238E27FC236}">
                    <a16:creationId xmlns:a16="http://schemas.microsoft.com/office/drawing/2014/main" id="{6FC0212D-63C3-4E1C-B65A-C65CC87AE64B}"/>
                  </a:ext>
                </a:extLst>
              </p:cNvPr>
              <p:cNvSpPr/>
              <p:nvPr/>
            </p:nvSpPr>
            <p:spPr>
              <a:xfrm flipV="1">
                <a:off x="10291121" y="3983203"/>
                <a:ext cx="109420" cy="109420"/>
              </a:xfrm>
              <a:custGeom>
                <a:avLst/>
                <a:gdLst>
                  <a:gd name="connsiteX0" fmla="*/ 154919 w 160664"/>
                  <a:gd name="connsiteY0" fmla="*/ 88868 h 160663"/>
                  <a:gd name="connsiteX1" fmla="*/ 88868 w 160664"/>
                  <a:gd name="connsiteY1" fmla="*/ 154918 h 160663"/>
                  <a:gd name="connsiteX2" fmla="*/ 22817 w 160664"/>
                  <a:gd name="connsiteY2" fmla="*/ 88868 h 160663"/>
                  <a:gd name="connsiteX3" fmla="*/ 88868 w 160664"/>
                  <a:gd name="connsiteY3" fmla="*/ 22817 h 160663"/>
                  <a:gd name="connsiteX4" fmla="*/ 154919 w 160664"/>
                  <a:gd name="connsiteY4" fmla="*/ 88868 h 160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664" h="160663">
                    <a:moveTo>
                      <a:pt x="154919" y="88868"/>
                    </a:moveTo>
                    <a:cubicBezTo>
                      <a:pt x="154919" y="125346"/>
                      <a:pt x="125347" y="154918"/>
                      <a:pt x="88868" y="154918"/>
                    </a:cubicBezTo>
                    <a:cubicBezTo>
                      <a:pt x="52389" y="154918"/>
                      <a:pt x="22817" y="125346"/>
                      <a:pt x="22817" y="88868"/>
                    </a:cubicBezTo>
                    <a:cubicBezTo>
                      <a:pt x="22817" y="52389"/>
                      <a:pt x="52389" y="22817"/>
                      <a:pt x="88868" y="22817"/>
                    </a:cubicBezTo>
                    <a:cubicBezTo>
                      <a:pt x="125347" y="22817"/>
                      <a:pt x="154919" y="52389"/>
                      <a:pt x="154919" y="88868"/>
                    </a:cubicBezTo>
                    <a:close/>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B9791B2D-FA4A-4DD3-A1F2-A51B75FD580A}"/>
                  </a:ext>
                </a:extLst>
              </p:cNvPr>
              <p:cNvSpPr/>
              <p:nvPr/>
            </p:nvSpPr>
            <p:spPr>
              <a:xfrm flipV="1">
                <a:off x="10167112" y="3894451"/>
                <a:ext cx="85105" cy="279629"/>
              </a:xfrm>
              <a:custGeom>
                <a:avLst/>
                <a:gdLst>
                  <a:gd name="connsiteX0" fmla="*/ 108504 w 124960"/>
                  <a:gd name="connsiteY0" fmla="*/ 22817 h 410584"/>
                  <a:gd name="connsiteX1" fmla="*/ 22817 w 124960"/>
                  <a:gd name="connsiteY1" fmla="*/ 210258 h 410584"/>
                  <a:gd name="connsiteX2" fmla="*/ 108504 w 124960"/>
                  <a:gd name="connsiteY2" fmla="*/ 397699 h 410584"/>
                </a:gdLst>
                <a:ahLst/>
                <a:cxnLst>
                  <a:cxn ang="0">
                    <a:pos x="connsiteX0" y="connsiteY0"/>
                  </a:cxn>
                  <a:cxn ang="0">
                    <a:pos x="connsiteX1" y="connsiteY1"/>
                  </a:cxn>
                  <a:cxn ang="0">
                    <a:pos x="connsiteX2" y="connsiteY2"/>
                  </a:cxn>
                </a:cxnLst>
                <a:rect l="l" t="t" r="r" b="b"/>
                <a:pathLst>
                  <a:path w="124960" h="410584">
                    <a:moveTo>
                      <a:pt x="108504" y="22817"/>
                    </a:moveTo>
                    <a:cubicBezTo>
                      <a:pt x="56735" y="67446"/>
                      <a:pt x="22817" y="135281"/>
                      <a:pt x="22817" y="210258"/>
                    </a:cubicBezTo>
                    <a:cubicBezTo>
                      <a:pt x="22817" y="285234"/>
                      <a:pt x="56735" y="351285"/>
                      <a:pt x="108504" y="397699"/>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F6671DE4-8F67-43D9-9395-2C9D9D98A228}"/>
                  </a:ext>
                </a:extLst>
              </p:cNvPr>
              <p:cNvSpPr/>
              <p:nvPr/>
            </p:nvSpPr>
            <p:spPr>
              <a:xfrm flipV="1">
                <a:off x="10445525" y="3894451"/>
                <a:ext cx="85105" cy="279629"/>
              </a:xfrm>
              <a:custGeom>
                <a:avLst/>
                <a:gdLst>
                  <a:gd name="connsiteX0" fmla="*/ 22817 w 124960"/>
                  <a:gd name="connsiteY0" fmla="*/ 22817 h 410584"/>
                  <a:gd name="connsiteX1" fmla="*/ 108504 w 124960"/>
                  <a:gd name="connsiteY1" fmla="*/ 210258 h 410584"/>
                  <a:gd name="connsiteX2" fmla="*/ 22817 w 124960"/>
                  <a:gd name="connsiteY2" fmla="*/ 397699 h 410584"/>
                </a:gdLst>
                <a:ahLst/>
                <a:cxnLst>
                  <a:cxn ang="0">
                    <a:pos x="connsiteX0" y="connsiteY0"/>
                  </a:cxn>
                  <a:cxn ang="0">
                    <a:pos x="connsiteX1" y="connsiteY1"/>
                  </a:cxn>
                  <a:cxn ang="0">
                    <a:pos x="connsiteX2" y="connsiteY2"/>
                  </a:cxn>
                </a:cxnLst>
                <a:rect l="l" t="t" r="r" b="b"/>
                <a:pathLst>
                  <a:path w="124960" h="410584">
                    <a:moveTo>
                      <a:pt x="22817" y="22817"/>
                    </a:moveTo>
                    <a:cubicBezTo>
                      <a:pt x="74586" y="67446"/>
                      <a:pt x="108504" y="135281"/>
                      <a:pt x="108504" y="210258"/>
                    </a:cubicBezTo>
                    <a:cubicBezTo>
                      <a:pt x="108504" y="285234"/>
                      <a:pt x="74586" y="351285"/>
                      <a:pt x="22817" y="397699"/>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485AF189-3C4E-455C-BA6F-89B99C1AB60D}"/>
                  </a:ext>
                </a:extLst>
              </p:cNvPr>
              <p:cNvSpPr/>
              <p:nvPr/>
            </p:nvSpPr>
            <p:spPr>
              <a:xfrm flipV="1">
                <a:off x="10229116" y="3946729"/>
                <a:ext cx="60789" cy="182367"/>
              </a:xfrm>
              <a:custGeom>
                <a:avLst/>
                <a:gdLst>
                  <a:gd name="connsiteX0" fmla="*/ 78157 w 89257"/>
                  <a:gd name="connsiteY0" fmla="*/ 22817 h 267772"/>
                  <a:gd name="connsiteX1" fmla="*/ 22817 w 89257"/>
                  <a:gd name="connsiteY1" fmla="*/ 142422 h 267772"/>
                  <a:gd name="connsiteX2" fmla="*/ 78157 w 89257"/>
                  <a:gd name="connsiteY2" fmla="*/ 262027 h 267772"/>
                </a:gdLst>
                <a:ahLst/>
                <a:cxnLst>
                  <a:cxn ang="0">
                    <a:pos x="connsiteX0" y="connsiteY0"/>
                  </a:cxn>
                  <a:cxn ang="0">
                    <a:pos x="connsiteX1" y="connsiteY1"/>
                  </a:cxn>
                  <a:cxn ang="0">
                    <a:pos x="connsiteX2" y="connsiteY2"/>
                  </a:cxn>
                </a:cxnLst>
                <a:rect l="l" t="t" r="r" b="b"/>
                <a:pathLst>
                  <a:path w="89257" h="267772">
                    <a:moveTo>
                      <a:pt x="78157" y="22817"/>
                    </a:moveTo>
                    <a:cubicBezTo>
                      <a:pt x="44239" y="51379"/>
                      <a:pt x="22817" y="94223"/>
                      <a:pt x="22817" y="142422"/>
                    </a:cubicBezTo>
                    <a:cubicBezTo>
                      <a:pt x="22817" y="190621"/>
                      <a:pt x="44239" y="233465"/>
                      <a:pt x="78157" y="262027"/>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0" name="Freeform: Shape 59">
                <a:extLst>
                  <a:ext uri="{FF2B5EF4-FFF2-40B4-BE49-F238E27FC236}">
                    <a16:creationId xmlns:a16="http://schemas.microsoft.com/office/drawing/2014/main" id="{9AAB1DD1-7D82-4D09-9783-BD542B42DB82}"/>
                  </a:ext>
                </a:extLst>
              </p:cNvPr>
              <p:cNvSpPr/>
              <p:nvPr/>
            </p:nvSpPr>
            <p:spPr>
              <a:xfrm flipV="1">
                <a:off x="10404188" y="3946729"/>
                <a:ext cx="60789" cy="182367"/>
              </a:xfrm>
              <a:custGeom>
                <a:avLst/>
                <a:gdLst>
                  <a:gd name="connsiteX0" fmla="*/ 22817 w 89257"/>
                  <a:gd name="connsiteY0" fmla="*/ 22817 h 267772"/>
                  <a:gd name="connsiteX1" fmla="*/ 78157 w 89257"/>
                  <a:gd name="connsiteY1" fmla="*/ 142422 h 267772"/>
                  <a:gd name="connsiteX2" fmla="*/ 22817 w 89257"/>
                  <a:gd name="connsiteY2" fmla="*/ 262027 h 267772"/>
                </a:gdLst>
                <a:ahLst/>
                <a:cxnLst>
                  <a:cxn ang="0">
                    <a:pos x="connsiteX0" y="connsiteY0"/>
                  </a:cxn>
                  <a:cxn ang="0">
                    <a:pos x="connsiteX1" y="connsiteY1"/>
                  </a:cxn>
                  <a:cxn ang="0">
                    <a:pos x="connsiteX2" y="connsiteY2"/>
                  </a:cxn>
                </a:cxnLst>
                <a:rect l="l" t="t" r="r" b="b"/>
                <a:pathLst>
                  <a:path w="89257" h="267772">
                    <a:moveTo>
                      <a:pt x="22817" y="22817"/>
                    </a:moveTo>
                    <a:cubicBezTo>
                      <a:pt x="56735" y="51379"/>
                      <a:pt x="78157" y="94223"/>
                      <a:pt x="78157" y="142422"/>
                    </a:cubicBezTo>
                    <a:cubicBezTo>
                      <a:pt x="78157" y="190621"/>
                      <a:pt x="56735" y="233465"/>
                      <a:pt x="22817" y="262027"/>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1" name="Group 60">
              <a:extLst>
                <a:ext uri="{FF2B5EF4-FFF2-40B4-BE49-F238E27FC236}">
                  <a16:creationId xmlns:a16="http://schemas.microsoft.com/office/drawing/2014/main" id="{5E8C9699-74F4-426B-B2A2-58C7369797B4}"/>
                </a:ext>
              </a:extLst>
            </p:cNvPr>
            <p:cNvGrpSpPr/>
            <p:nvPr/>
          </p:nvGrpSpPr>
          <p:grpSpPr>
            <a:xfrm>
              <a:off x="10067688" y="3011466"/>
              <a:ext cx="768517" cy="273727"/>
              <a:chOff x="8430842" y="4479489"/>
              <a:chExt cx="561378" cy="199949"/>
            </a:xfrm>
          </p:grpSpPr>
          <p:grpSp>
            <p:nvGrpSpPr>
              <p:cNvPr id="62" name="Group 61">
                <a:extLst>
                  <a:ext uri="{FF2B5EF4-FFF2-40B4-BE49-F238E27FC236}">
                    <a16:creationId xmlns:a16="http://schemas.microsoft.com/office/drawing/2014/main" id="{42240760-507A-4BBA-A544-88F1C09F201E}"/>
                  </a:ext>
                </a:extLst>
              </p:cNvPr>
              <p:cNvGrpSpPr/>
              <p:nvPr/>
            </p:nvGrpSpPr>
            <p:grpSpPr>
              <a:xfrm>
                <a:off x="8430842" y="4479489"/>
                <a:ext cx="561378" cy="199949"/>
                <a:chOff x="9335113" y="6013729"/>
                <a:chExt cx="561378" cy="199949"/>
              </a:xfrm>
            </p:grpSpPr>
            <p:grpSp>
              <p:nvGrpSpPr>
                <p:cNvPr id="64" name="Group 63">
                  <a:extLst>
                    <a:ext uri="{FF2B5EF4-FFF2-40B4-BE49-F238E27FC236}">
                      <a16:creationId xmlns:a16="http://schemas.microsoft.com/office/drawing/2014/main" id="{1A77B562-3F9C-4814-8E2F-FACEA7E5A2A4}"/>
                    </a:ext>
                  </a:extLst>
                </p:cNvPr>
                <p:cNvGrpSpPr/>
                <p:nvPr/>
              </p:nvGrpSpPr>
              <p:grpSpPr>
                <a:xfrm>
                  <a:off x="9335113" y="6013729"/>
                  <a:ext cx="561378" cy="141145"/>
                  <a:chOff x="9335113" y="6013729"/>
                  <a:chExt cx="561378" cy="141145"/>
                </a:xfrm>
              </p:grpSpPr>
              <p:sp>
                <p:nvSpPr>
                  <p:cNvPr id="69" name="Rectangle: Rounded Corners 68">
                    <a:extLst>
                      <a:ext uri="{FF2B5EF4-FFF2-40B4-BE49-F238E27FC236}">
                        <a16:creationId xmlns:a16="http://schemas.microsoft.com/office/drawing/2014/main" id="{F1DE3173-F37B-4F97-AEC8-7F2F2B7348C1}"/>
                      </a:ext>
                    </a:extLst>
                  </p:cNvPr>
                  <p:cNvSpPr/>
                  <p:nvPr/>
                </p:nvSpPr>
                <p:spPr bwMode="auto">
                  <a:xfrm>
                    <a:off x="9335113" y="6013729"/>
                    <a:ext cx="561378" cy="141145"/>
                  </a:xfrm>
                  <a:prstGeom prst="round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F28ED63A-426E-4123-B7D6-380DD384BC04}"/>
                      </a:ext>
                    </a:extLst>
                  </p:cNvPr>
                  <p:cNvSpPr>
                    <a:spLocks noChangeAspect="1"/>
                  </p:cNvSpPr>
                  <p:nvPr/>
                </p:nvSpPr>
                <p:spPr bwMode="auto">
                  <a:xfrm>
                    <a:off x="9405677" y="6061639"/>
                    <a:ext cx="45720" cy="45324"/>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8" name="Rectangle 67">
                  <a:extLst>
                    <a:ext uri="{FF2B5EF4-FFF2-40B4-BE49-F238E27FC236}">
                      <a16:creationId xmlns:a16="http://schemas.microsoft.com/office/drawing/2014/main" id="{93E202EE-2C03-4C2C-A7AB-1B68D5578A9C}"/>
                    </a:ext>
                  </a:extLst>
                </p:cNvPr>
                <p:cNvSpPr/>
                <p:nvPr/>
              </p:nvSpPr>
              <p:spPr bwMode="auto">
                <a:xfrm>
                  <a:off x="9504075" y="6154874"/>
                  <a:ext cx="223455" cy="58804"/>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63" name="Straight Connector 62">
                <a:extLst>
                  <a:ext uri="{FF2B5EF4-FFF2-40B4-BE49-F238E27FC236}">
                    <a16:creationId xmlns:a16="http://schemas.microsoft.com/office/drawing/2014/main" id="{064F5773-7F60-45A7-ABCE-B8D75467EE33}"/>
                  </a:ext>
                </a:extLst>
              </p:cNvPr>
              <p:cNvCxnSpPr/>
              <p:nvPr/>
            </p:nvCxnSpPr>
            <p:spPr>
              <a:xfrm>
                <a:off x="8430842" y="4679438"/>
                <a:ext cx="55778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D117BB87-F69A-490F-AA92-0E162F31F120}"/>
              </a:ext>
            </a:extLst>
          </p:cNvPr>
          <p:cNvGrpSpPr/>
          <p:nvPr/>
        </p:nvGrpSpPr>
        <p:grpSpPr>
          <a:xfrm>
            <a:off x="4190597" y="2149423"/>
            <a:ext cx="905367" cy="1221229"/>
            <a:chOff x="5896536" y="3159204"/>
            <a:chExt cx="395440" cy="533400"/>
          </a:xfrm>
        </p:grpSpPr>
        <p:sp>
          <p:nvSpPr>
            <p:cNvPr id="48" name="Freeform: Shape 47">
              <a:extLst>
                <a:ext uri="{FF2B5EF4-FFF2-40B4-BE49-F238E27FC236}">
                  <a16:creationId xmlns:a16="http://schemas.microsoft.com/office/drawing/2014/main" id="{5721E1CF-6E44-4B49-9784-66731B28D950}"/>
                </a:ext>
              </a:extLst>
            </p:cNvPr>
            <p:cNvSpPr/>
            <p:nvPr/>
          </p:nvSpPr>
          <p:spPr>
            <a:xfrm>
              <a:off x="5916942" y="3159204"/>
              <a:ext cx="161925" cy="533400"/>
            </a:xfrm>
            <a:custGeom>
              <a:avLst/>
              <a:gdLst>
                <a:gd name="connsiteX0" fmla="*/ 23800 w 161925"/>
                <a:gd name="connsiteY0" fmla="*/ 10716 h 533400"/>
                <a:gd name="connsiteX1" fmla="*/ 56185 w 161925"/>
                <a:gd name="connsiteY1" fmla="*/ 103108 h 533400"/>
                <a:gd name="connsiteX2" fmla="*/ 120955 w 161925"/>
                <a:gd name="connsiteY2" fmla="*/ 180261 h 533400"/>
                <a:gd name="connsiteX3" fmla="*/ 155245 w 161925"/>
                <a:gd name="connsiteY3" fmla="*/ 272653 h 533400"/>
                <a:gd name="connsiteX4" fmla="*/ 110477 w 161925"/>
                <a:gd name="connsiteY4" fmla="*/ 362188 h 533400"/>
                <a:gd name="connsiteX5" fmla="*/ 40945 w 161925"/>
                <a:gd name="connsiteY5" fmla="*/ 436483 h 533400"/>
                <a:gd name="connsiteX6" fmla="*/ 12370 w 161925"/>
                <a:gd name="connsiteY6" fmla="*/ 53078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23800" y="10716"/>
                  </a:moveTo>
                  <a:cubicBezTo>
                    <a:pt x="21895" y="44053"/>
                    <a:pt x="37135" y="76438"/>
                    <a:pt x="56185" y="103108"/>
                  </a:cubicBezTo>
                  <a:cubicBezTo>
                    <a:pt x="75235" y="129778"/>
                    <a:pt x="100952" y="153591"/>
                    <a:pt x="120955" y="180261"/>
                  </a:cubicBezTo>
                  <a:cubicBezTo>
                    <a:pt x="140957" y="206931"/>
                    <a:pt x="157150" y="239316"/>
                    <a:pt x="155245" y="272653"/>
                  </a:cubicBezTo>
                  <a:cubicBezTo>
                    <a:pt x="153340" y="306943"/>
                    <a:pt x="133337" y="337423"/>
                    <a:pt x="110477" y="362188"/>
                  </a:cubicBezTo>
                  <a:cubicBezTo>
                    <a:pt x="87617" y="386953"/>
                    <a:pt x="60947" y="408861"/>
                    <a:pt x="40945" y="436483"/>
                  </a:cubicBezTo>
                  <a:cubicBezTo>
                    <a:pt x="19990" y="463153"/>
                    <a:pt x="5702" y="498396"/>
                    <a:pt x="12370" y="530781"/>
                  </a:cubicBezTo>
                </a:path>
              </a:pathLst>
            </a:custGeom>
            <a:no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938224B1-BC9C-4F60-A709-52EC182AFAD7}"/>
                </a:ext>
              </a:extLst>
            </p:cNvPr>
            <p:cNvSpPr/>
            <p:nvPr/>
          </p:nvSpPr>
          <p:spPr>
            <a:xfrm>
              <a:off x="5896536" y="3159204"/>
              <a:ext cx="161925" cy="533400"/>
            </a:xfrm>
            <a:custGeom>
              <a:avLst/>
              <a:gdLst>
                <a:gd name="connsiteX0" fmla="*/ 142313 w 161925"/>
                <a:gd name="connsiteY0" fmla="*/ 10716 h 533400"/>
                <a:gd name="connsiteX1" fmla="*/ 109928 w 161925"/>
                <a:gd name="connsiteY1" fmla="*/ 104061 h 533400"/>
                <a:gd name="connsiteX2" fmla="*/ 45158 w 161925"/>
                <a:gd name="connsiteY2" fmla="*/ 181213 h 533400"/>
                <a:gd name="connsiteX3" fmla="*/ 10868 w 161925"/>
                <a:gd name="connsiteY3" fmla="*/ 273606 h 533400"/>
                <a:gd name="connsiteX4" fmla="*/ 55636 w 161925"/>
                <a:gd name="connsiteY4" fmla="*/ 363141 h 533400"/>
                <a:gd name="connsiteX5" fmla="*/ 125168 w 161925"/>
                <a:gd name="connsiteY5" fmla="*/ 437436 h 533400"/>
                <a:gd name="connsiteX6" fmla="*/ 153743 w 161925"/>
                <a:gd name="connsiteY6" fmla="*/ 531733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142313" y="10716"/>
                  </a:moveTo>
                  <a:cubicBezTo>
                    <a:pt x="145171" y="44053"/>
                    <a:pt x="129931" y="76438"/>
                    <a:pt x="109928" y="104061"/>
                  </a:cubicBezTo>
                  <a:cubicBezTo>
                    <a:pt x="89926" y="131683"/>
                    <a:pt x="65161" y="154543"/>
                    <a:pt x="45158" y="181213"/>
                  </a:cubicBezTo>
                  <a:cubicBezTo>
                    <a:pt x="25156" y="207883"/>
                    <a:pt x="8963" y="240268"/>
                    <a:pt x="10868" y="273606"/>
                  </a:cubicBezTo>
                  <a:cubicBezTo>
                    <a:pt x="13726" y="306943"/>
                    <a:pt x="32776" y="337423"/>
                    <a:pt x="55636" y="363141"/>
                  </a:cubicBezTo>
                  <a:cubicBezTo>
                    <a:pt x="78496" y="387906"/>
                    <a:pt x="105166" y="409813"/>
                    <a:pt x="125168" y="437436"/>
                  </a:cubicBezTo>
                  <a:cubicBezTo>
                    <a:pt x="146123" y="464106"/>
                    <a:pt x="160411" y="499348"/>
                    <a:pt x="153743" y="531733"/>
                  </a:cubicBezTo>
                </a:path>
              </a:pathLst>
            </a:custGeom>
            <a:no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0" name="Freeform: Shape 49">
              <a:extLst>
                <a:ext uri="{FF2B5EF4-FFF2-40B4-BE49-F238E27FC236}">
                  <a16:creationId xmlns:a16="http://schemas.microsoft.com/office/drawing/2014/main" id="{6952FDC1-010E-481A-92EC-297D49FC4476}"/>
                </a:ext>
              </a:extLst>
            </p:cNvPr>
            <p:cNvSpPr/>
            <p:nvPr/>
          </p:nvSpPr>
          <p:spPr>
            <a:xfrm>
              <a:off x="5945266" y="3169682"/>
              <a:ext cx="85725" cy="19050"/>
            </a:xfrm>
            <a:custGeom>
              <a:avLst/>
              <a:gdLst>
                <a:gd name="connsiteX0" fmla="*/ 10716 w 85725"/>
                <a:gd name="connsiteY0" fmla="*/ 10716 h 19050"/>
                <a:gd name="connsiteX1" fmla="*/ 80248 w 85725"/>
                <a:gd name="connsiteY1" fmla="*/ 10716 h 19050"/>
              </a:gdLst>
              <a:ahLst/>
              <a:cxnLst>
                <a:cxn ang="0">
                  <a:pos x="connsiteX0" y="connsiteY0"/>
                </a:cxn>
                <a:cxn ang="0">
                  <a:pos x="connsiteX1" y="connsiteY1"/>
                </a:cxn>
              </a:cxnLst>
              <a:rect l="l" t="t" r="r" b="b"/>
              <a:pathLst>
                <a:path w="85725" h="19050">
                  <a:moveTo>
                    <a:pt x="10716" y="10716"/>
                  </a:moveTo>
                  <a:lnTo>
                    <a:pt x="8024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005E68B3-94AD-49BE-863A-7AC0FF58D5EB}"/>
                </a:ext>
              </a:extLst>
            </p:cNvPr>
            <p:cNvSpPr/>
            <p:nvPr/>
          </p:nvSpPr>
          <p:spPr>
            <a:xfrm>
              <a:off x="5933836" y="3667839"/>
              <a:ext cx="114300" cy="19050"/>
            </a:xfrm>
            <a:custGeom>
              <a:avLst/>
              <a:gdLst>
                <a:gd name="connsiteX0" fmla="*/ 10716 w 114300"/>
                <a:gd name="connsiteY0" fmla="*/ 10716 h 19050"/>
                <a:gd name="connsiteX1" fmla="*/ 105966 w 114300"/>
                <a:gd name="connsiteY1" fmla="*/ 10716 h 19050"/>
              </a:gdLst>
              <a:ahLst/>
              <a:cxnLst>
                <a:cxn ang="0">
                  <a:pos x="connsiteX0" y="connsiteY0"/>
                </a:cxn>
                <a:cxn ang="0">
                  <a:pos x="connsiteX1" y="connsiteY1"/>
                </a:cxn>
              </a:cxnLst>
              <a:rect l="l" t="t" r="r" b="b"/>
              <a:pathLst>
                <a:path w="114300" h="19050">
                  <a:moveTo>
                    <a:pt x="10716" y="10716"/>
                  </a:moveTo>
                  <a:lnTo>
                    <a:pt x="105966"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1D331D23-D680-4534-8E6A-F0A665F02F4A}"/>
                </a:ext>
              </a:extLst>
            </p:cNvPr>
            <p:cNvSpPr/>
            <p:nvPr/>
          </p:nvSpPr>
          <p:spPr>
            <a:xfrm>
              <a:off x="5941456" y="3632597"/>
              <a:ext cx="95250" cy="19050"/>
            </a:xfrm>
            <a:custGeom>
              <a:avLst/>
              <a:gdLst>
                <a:gd name="connsiteX0" fmla="*/ 10716 w 95250"/>
                <a:gd name="connsiteY0" fmla="*/ 10716 h 19050"/>
                <a:gd name="connsiteX1" fmla="*/ 89773 w 95250"/>
                <a:gd name="connsiteY1" fmla="*/ 10716 h 19050"/>
              </a:gdLst>
              <a:ahLst/>
              <a:cxnLst>
                <a:cxn ang="0">
                  <a:pos x="connsiteX0" y="connsiteY0"/>
                </a:cxn>
                <a:cxn ang="0">
                  <a:pos x="connsiteX1" y="connsiteY1"/>
                </a:cxn>
              </a:cxnLst>
              <a:rect l="l" t="t" r="r" b="b"/>
              <a:pathLst>
                <a:path w="95250" h="19050">
                  <a:moveTo>
                    <a:pt x="10716" y="10716"/>
                  </a:moveTo>
                  <a:lnTo>
                    <a:pt x="89773"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24778C9E-F689-45CE-89C1-8FF447A68BAB}"/>
                </a:ext>
              </a:extLst>
            </p:cNvPr>
            <p:cNvSpPr/>
            <p:nvPr/>
          </p:nvSpPr>
          <p:spPr>
            <a:xfrm>
              <a:off x="5961459" y="3597354"/>
              <a:ext cx="57150" cy="19050"/>
            </a:xfrm>
            <a:custGeom>
              <a:avLst/>
              <a:gdLst>
                <a:gd name="connsiteX0" fmla="*/ 10716 w 57150"/>
                <a:gd name="connsiteY0" fmla="*/ 10716 h 19050"/>
                <a:gd name="connsiteX1" fmla="*/ 49768 w 57150"/>
                <a:gd name="connsiteY1" fmla="*/ 10716 h 19050"/>
              </a:gdLst>
              <a:ahLst/>
              <a:cxnLst>
                <a:cxn ang="0">
                  <a:pos x="connsiteX0" y="connsiteY0"/>
                </a:cxn>
                <a:cxn ang="0">
                  <a:pos x="connsiteX1" y="connsiteY1"/>
                </a:cxn>
              </a:cxnLst>
              <a:rect l="l" t="t" r="r" b="b"/>
              <a:pathLst>
                <a:path w="57150" h="19050">
                  <a:moveTo>
                    <a:pt x="10716" y="10716"/>
                  </a:moveTo>
                  <a:lnTo>
                    <a:pt x="4976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B1874D16-1D42-49D1-8363-978BC1838845}"/>
                </a:ext>
              </a:extLst>
            </p:cNvPr>
            <p:cNvSpPr/>
            <p:nvPr/>
          </p:nvSpPr>
          <p:spPr>
            <a:xfrm>
              <a:off x="5955744" y="3210639"/>
              <a:ext cx="66675" cy="19050"/>
            </a:xfrm>
            <a:custGeom>
              <a:avLst/>
              <a:gdLst>
                <a:gd name="connsiteX0" fmla="*/ 10716 w 66675"/>
                <a:gd name="connsiteY0" fmla="*/ 10716 h 19050"/>
                <a:gd name="connsiteX1" fmla="*/ 58341 w 66675"/>
                <a:gd name="connsiteY1" fmla="*/ 10716 h 19050"/>
              </a:gdLst>
              <a:ahLst/>
              <a:cxnLst>
                <a:cxn ang="0">
                  <a:pos x="connsiteX0" y="connsiteY0"/>
                </a:cxn>
                <a:cxn ang="0">
                  <a:pos x="connsiteX1" y="connsiteY1"/>
                </a:cxn>
              </a:cxnLst>
              <a:rect l="l" t="t" r="r" b="b"/>
              <a:pathLst>
                <a:path w="66675" h="19050">
                  <a:moveTo>
                    <a:pt x="10716" y="10716"/>
                  </a:moveTo>
                  <a:lnTo>
                    <a:pt x="5834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CCDF841B-0CD4-4461-9405-D4793BF528C6}"/>
                </a:ext>
              </a:extLst>
            </p:cNvPr>
            <p:cNvSpPr/>
            <p:nvPr/>
          </p:nvSpPr>
          <p:spPr>
            <a:xfrm>
              <a:off x="5969079" y="3303984"/>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FE0C9938-B5FD-4538-8DB7-516AED4B065D}"/>
                </a:ext>
              </a:extLst>
            </p:cNvPr>
            <p:cNvSpPr/>
            <p:nvPr/>
          </p:nvSpPr>
          <p:spPr>
            <a:xfrm>
              <a:off x="5969079" y="3519249"/>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4" name="Freeform: Shape 73">
              <a:extLst>
                <a:ext uri="{FF2B5EF4-FFF2-40B4-BE49-F238E27FC236}">
                  <a16:creationId xmlns:a16="http://schemas.microsoft.com/office/drawing/2014/main" id="{51BA0CF1-BA28-40DE-9FAF-E0EEC28BBAE1}"/>
                </a:ext>
              </a:extLst>
            </p:cNvPr>
            <p:cNvSpPr/>
            <p:nvPr/>
          </p:nvSpPr>
          <p:spPr>
            <a:xfrm>
              <a:off x="5949076" y="3340179"/>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5" name="Freeform: Shape 74">
              <a:extLst>
                <a:ext uri="{FF2B5EF4-FFF2-40B4-BE49-F238E27FC236}">
                  <a16:creationId xmlns:a16="http://schemas.microsoft.com/office/drawing/2014/main" id="{089A8A63-96CC-4F54-A6DB-C748451DD04E}"/>
                </a:ext>
              </a:extLst>
            </p:cNvPr>
            <p:cNvSpPr/>
            <p:nvPr/>
          </p:nvSpPr>
          <p:spPr>
            <a:xfrm>
              <a:off x="5929074" y="3376374"/>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6" name="Freeform: Shape 75">
              <a:extLst>
                <a:ext uri="{FF2B5EF4-FFF2-40B4-BE49-F238E27FC236}">
                  <a16:creationId xmlns:a16="http://schemas.microsoft.com/office/drawing/2014/main" id="{C7924FA5-22B9-44CC-83D7-027289696D57}"/>
                </a:ext>
              </a:extLst>
            </p:cNvPr>
            <p:cNvSpPr/>
            <p:nvPr/>
          </p:nvSpPr>
          <p:spPr>
            <a:xfrm>
              <a:off x="5929074" y="3447812"/>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7" name="Freeform: Shape 76">
              <a:extLst>
                <a:ext uri="{FF2B5EF4-FFF2-40B4-BE49-F238E27FC236}">
                  <a16:creationId xmlns:a16="http://schemas.microsoft.com/office/drawing/2014/main" id="{9314DB57-DC9B-4DA2-8A22-3C56D133043F}"/>
                </a:ext>
              </a:extLst>
            </p:cNvPr>
            <p:cNvSpPr/>
            <p:nvPr/>
          </p:nvSpPr>
          <p:spPr>
            <a:xfrm>
              <a:off x="5949076" y="3483054"/>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8" name="Freeform: Shape 77">
              <a:extLst>
                <a:ext uri="{FF2B5EF4-FFF2-40B4-BE49-F238E27FC236}">
                  <a16:creationId xmlns:a16="http://schemas.microsoft.com/office/drawing/2014/main" id="{87E90DFF-18C8-407A-BB53-297EC2B72156}"/>
                </a:ext>
              </a:extLst>
            </p:cNvPr>
            <p:cNvSpPr/>
            <p:nvPr/>
          </p:nvSpPr>
          <p:spPr>
            <a:xfrm>
              <a:off x="5917644" y="3411617"/>
              <a:ext cx="142875" cy="19050"/>
            </a:xfrm>
            <a:custGeom>
              <a:avLst/>
              <a:gdLst>
                <a:gd name="connsiteX0" fmla="*/ 10716 w 142875"/>
                <a:gd name="connsiteY0" fmla="*/ 10716 h 19050"/>
                <a:gd name="connsiteX1" fmla="*/ 132636 w 142875"/>
                <a:gd name="connsiteY1" fmla="*/ 10716 h 19050"/>
              </a:gdLst>
              <a:ahLst/>
              <a:cxnLst>
                <a:cxn ang="0">
                  <a:pos x="connsiteX0" y="connsiteY0"/>
                </a:cxn>
                <a:cxn ang="0">
                  <a:pos x="connsiteX1" y="connsiteY1"/>
                </a:cxn>
              </a:cxnLst>
              <a:rect l="l" t="t" r="r" b="b"/>
              <a:pathLst>
                <a:path w="142875" h="19050">
                  <a:moveTo>
                    <a:pt x="10716" y="10716"/>
                  </a:moveTo>
                  <a:lnTo>
                    <a:pt x="132636"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9" name="Freeform: Shape 78">
              <a:extLst>
                <a:ext uri="{FF2B5EF4-FFF2-40B4-BE49-F238E27FC236}">
                  <a16:creationId xmlns:a16="http://schemas.microsoft.com/office/drawing/2014/main" id="{124E13DB-398B-4CDE-941E-33F3D3D1448E}"/>
                </a:ext>
              </a:extLst>
            </p:cNvPr>
            <p:cNvSpPr/>
            <p:nvPr/>
          </p:nvSpPr>
          <p:spPr>
            <a:xfrm>
              <a:off x="6085284" y="3496389"/>
              <a:ext cx="85725" cy="85725"/>
            </a:xfrm>
            <a:custGeom>
              <a:avLst/>
              <a:gdLst>
                <a:gd name="connsiteX0" fmla="*/ 81201 w 85725"/>
                <a:gd name="connsiteY0" fmla="*/ 45958 h 85725"/>
                <a:gd name="connsiteX1" fmla="*/ 45958 w 85725"/>
                <a:gd name="connsiteY1" fmla="*/ 81201 h 85725"/>
                <a:gd name="connsiteX2" fmla="*/ 10716 w 85725"/>
                <a:gd name="connsiteY2" fmla="*/ 45958 h 85725"/>
                <a:gd name="connsiteX3" fmla="*/ 45958 w 85725"/>
                <a:gd name="connsiteY3" fmla="*/ 10716 h 85725"/>
                <a:gd name="connsiteX4" fmla="*/ 81201 w 85725"/>
                <a:gd name="connsiteY4" fmla="*/ 4595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1201" y="45958"/>
                  </a:moveTo>
                  <a:cubicBezTo>
                    <a:pt x="81201" y="65422"/>
                    <a:pt x="65422" y="81201"/>
                    <a:pt x="45958" y="81201"/>
                  </a:cubicBezTo>
                  <a:cubicBezTo>
                    <a:pt x="26494" y="81201"/>
                    <a:pt x="10716" y="65422"/>
                    <a:pt x="10716" y="45958"/>
                  </a:cubicBezTo>
                  <a:cubicBezTo>
                    <a:pt x="10716" y="26494"/>
                    <a:pt x="26494" y="10716"/>
                    <a:pt x="45958" y="10716"/>
                  </a:cubicBezTo>
                  <a:cubicBezTo>
                    <a:pt x="65422" y="10716"/>
                    <a:pt x="81201" y="26494"/>
                    <a:pt x="81201" y="4595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1394810B-EBB3-4875-9893-EE4FD29B7631}"/>
                </a:ext>
              </a:extLst>
            </p:cNvPr>
            <p:cNvSpPr/>
            <p:nvPr/>
          </p:nvSpPr>
          <p:spPr>
            <a:xfrm>
              <a:off x="6133861" y="3392432"/>
              <a:ext cx="85725" cy="114300"/>
            </a:xfrm>
            <a:custGeom>
              <a:avLst/>
              <a:gdLst>
                <a:gd name="connsiteX0" fmla="*/ 76438 w 85725"/>
                <a:gd name="connsiteY0" fmla="*/ 48950 h 114300"/>
                <a:gd name="connsiteX1" fmla="*/ 65008 w 85725"/>
                <a:gd name="connsiteY1" fmla="*/ 13708 h 114300"/>
                <a:gd name="connsiteX2" fmla="*/ 29766 w 85725"/>
                <a:gd name="connsiteY2" fmla="*/ 25138 h 114300"/>
                <a:gd name="connsiteX3" fmla="*/ 34528 w 85725"/>
                <a:gd name="connsiteY3" fmla="*/ 55618 h 114300"/>
                <a:gd name="connsiteX4" fmla="*/ 10716 w 85725"/>
                <a:gd name="connsiteY4" fmla="*/ 102290 h 114300"/>
                <a:gd name="connsiteX5" fmla="*/ 24051 w 85725"/>
                <a:gd name="connsiteY5" fmla="*/ 108958 h 114300"/>
                <a:gd name="connsiteX6" fmla="*/ 47863 w 85725"/>
                <a:gd name="connsiteY6" fmla="*/ 62285 h 114300"/>
                <a:gd name="connsiteX7" fmla="*/ 76438 w 85725"/>
                <a:gd name="connsiteY7" fmla="*/ 489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14300">
                  <a:moveTo>
                    <a:pt x="76438" y="48950"/>
                  </a:moveTo>
                  <a:cubicBezTo>
                    <a:pt x="83106" y="36568"/>
                    <a:pt x="78343" y="20375"/>
                    <a:pt x="65008" y="13708"/>
                  </a:cubicBezTo>
                  <a:cubicBezTo>
                    <a:pt x="52626" y="7040"/>
                    <a:pt x="36433" y="11803"/>
                    <a:pt x="29766" y="25138"/>
                  </a:cubicBezTo>
                  <a:cubicBezTo>
                    <a:pt x="24051" y="35615"/>
                    <a:pt x="26908" y="47998"/>
                    <a:pt x="34528" y="55618"/>
                  </a:cubicBezTo>
                  <a:lnTo>
                    <a:pt x="10716" y="102290"/>
                  </a:lnTo>
                  <a:lnTo>
                    <a:pt x="24051" y="108958"/>
                  </a:lnTo>
                  <a:lnTo>
                    <a:pt x="47863" y="62285"/>
                  </a:lnTo>
                  <a:cubicBezTo>
                    <a:pt x="59293" y="65143"/>
                    <a:pt x="70723" y="59428"/>
                    <a:pt x="76438" y="48950"/>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5F35219A-2F24-4118-9EF2-3BA4FD73C9EF}"/>
                </a:ext>
              </a:extLst>
            </p:cNvPr>
            <p:cNvSpPr/>
            <p:nvPr/>
          </p:nvSpPr>
          <p:spPr>
            <a:xfrm>
              <a:off x="6168151" y="3515439"/>
              <a:ext cx="123825" cy="66675"/>
            </a:xfrm>
            <a:custGeom>
              <a:avLst/>
              <a:gdLst>
                <a:gd name="connsiteX0" fmla="*/ 87868 w 123825"/>
                <a:gd name="connsiteY0" fmla="*/ 62151 h 66675"/>
                <a:gd name="connsiteX1" fmla="*/ 114538 w 123825"/>
                <a:gd name="connsiteY1" fmla="*/ 37386 h 66675"/>
                <a:gd name="connsiteX2" fmla="*/ 89773 w 123825"/>
                <a:gd name="connsiteY2" fmla="*/ 10716 h 66675"/>
                <a:gd name="connsiteX3" fmla="*/ 64056 w 123825"/>
                <a:gd name="connsiteY3" fmla="*/ 27861 h 66675"/>
                <a:gd name="connsiteX4" fmla="*/ 11668 w 123825"/>
                <a:gd name="connsiteY4" fmla="*/ 25956 h 66675"/>
                <a:gd name="connsiteX5" fmla="*/ 10716 w 123825"/>
                <a:gd name="connsiteY5" fmla="*/ 41196 h 66675"/>
                <a:gd name="connsiteX6" fmla="*/ 63103 w 123825"/>
                <a:gd name="connsiteY6" fmla="*/ 43101 h 66675"/>
                <a:gd name="connsiteX7" fmla="*/ 87868 w 123825"/>
                <a:gd name="connsiteY7" fmla="*/ 621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66675">
                  <a:moveTo>
                    <a:pt x="87868" y="62151"/>
                  </a:moveTo>
                  <a:cubicBezTo>
                    <a:pt x="102156" y="63103"/>
                    <a:pt x="114538" y="51673"/>
                    <a:pt x="114538" y="37386"/>
                  </a:cubicBezTo>
                  <a:cubicBezTo>
                    <a:pt x="115491" y="23098"/>
                    <a:pt x="104061" y="10716"/>
                    <a:pt x="89773" y="10716"/>
                  </a:cubicBezTo>
                  <a:cubicBezTo>
                    <a:pt x="78343" y="10716"/>
                    <a:pt x="67866" y="17383"/>
                    <a:pt x="64056" y="27861"/>
                  </a:cubicBezTo>
                  <a:lnTo>
                    <a:pt x="11668" y="25956"/>
                  </a:lnTo>
                  <a:lnTo>
                    <a:pt x="10716" y="41196"/>
                  </a:lnTo>
                  <a:lnTo>
                    <a:pt x="63103" y="43101"/>
                  </a:lnTo>
                  <a:cubicBezTo>
                    <a:pt x="66913" y="53578"/>
                    <a:pt x="76438" y="62151"/>
                    <a:pt x="87868" y="62151"/>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0E36E818-4EF8-4C20-9ECF-AD91E82B812C}"/>
                </a:ext>
              </a:extLst>
            </p:cNvPr>
            <p:cNvSpPr/>
            <p:nvPr/>
          </p:nvSpPr>
          <p:spPr>
            <a:xfrm>
              <a:off x="6127194" y="3576399"/>
              <a:ext cx="66675" cy="114300"/>
            </a:xfrm>
            <a:custGeom>
              <a:avLst/>
              <a:gdLst>
                <a:gd name="connsiteX0" fmla="*/ 63103 w 66675"/>
                <a:gd name="connsiteY0" fmla="*/ 80248 h 114300"/>
                <a:gd name="connsiteX1" fmla="*/ 45006 w 66675"/>
                <a:gd name="connsiteY1" fmla="*/ 111681 h 114300"/>
                <a:gd name="connsiteX2" fmla="*/ 13573 w 66675"/>
                <a:gd name="connsiteY2" fmla="*/ 93583 h 114300"/>
                <a:gd name="connsiteX3" fmla="*/ 25003 w 66675"/>
                <a:gd name="connsiteY3" fmla="*/ 65008 h 114300"/>
                <a:gd name="connsiteX4" fmla="*/ 10716 w 66675"/>
                <a:gd name="connsiteY4" fmla="*/ 14526 h 114300"/>
                <a:gd name="connsiteX5" fmla="*/ 25003 w 66675"/>
                <a:gd name="connsiteY5" fmla="*/ 10716 h 114300"/>
                <a:gd name="connsiteX6" fmla="*/ 38338 w 66675"/>
                <a:gd name="connsiteY6" fmla="*/ 61198 h 114300"/>
                <a:gd name="connsiteX7" fmla="*/ 63103 w 66675"/>
                <a:gd name="connsiteY7" fmla="*/ 8024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114300">
                  <a:moveTo>
                    <a:pt x="63103" y="80248"/>
                  </a:moveTo>
                  <a:cubicBezTo>
                    <a:pt x="66913" y="94536"/>
                    <a:pt x="58341" y="108823"/>
                    <a:pt x="45006" y="111681"/>
                  </a:cubicBezTo>
                  <a:cubicBezTo>
                    <a:pt x="30718" y="115491"/>
                    <a:pt x="16431" y="106918"/>
                    <a:pt x="13573" y="93583"/>
                  </a:cubicBezTo>
                  <a:cubicBezTo>
                    <a:pt x="10716" y="82153"/>
                    <a:pt x="15478" y="70723"/>
                    <a:pt x="25003" y="65008"/>
                  </a:cubicBezTo>
                  <a:lnTo>
                    <a:pt x="10716" y="14526"/>
                  </a:lnTo>
                  <a:lnTo>
                    <a:pt x="25003" y="10716"/>
                  </a:lnTo>
                  <a:lnTo>
                    <a:pt x="38338" y="61198"/>
                  </a:lnTo>
                  <a:cubicBezTo>
                    <a:pt x="49768" y="61198"/>
                    <a:pt x="59293" y="68818"/>
                    <a:pt x="63103" y="8024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3" name="Freeform: Shape 82">
              <a:extLst>
                <a:ext uri="{FF2B5EF4-FFF2-40B4-BE49-F238E27FC236}">
                  <a16:creationId xmlns:a16="http://schemas.microsoft.com/office/drawing/2014/main" id="{C73DE0CB-7BEC-4915-9259-47F48AFA3FFC}"/>
                </a:ext>
              </a:extLst>
            </p:cNvPr>
            <p:cNvSpPr/>
            <p:nvPr/>
          </p:nvSpPr>
          <p:spPr>
            <a:xfrm>
              <a:off x="5977069" y="3540204"/>
              <a:ext cx="114300" cy="76200"/>
            </a:xfrm>
            <a:custGeom>
              <a:avLst/>
              <a:gdLst>
                <a:gd name="connsiteX0" fmla="*/ 27490 w 114300"/>
                <a:gd name="connsiteY0" fmla="*/ 22146 h 76200"/>
                <a:gd name="connsiteX1" fmla="*/ 12250 w 114300"/>
                <a:gd name="connsiteY1" fmla="*/ 55483 h 76200"/>
                <a:gd name="connsiteX2" fmla="*/ 45588 w 114300"/>
                <a:gd name="connsiteY2" fmla="*/ 70723 h 76200"/>
                <a:gd name="connsiteX3" fmla="*/ 61780 w 114300"/>
                <a:gd name="connsiteY3" fmla="*/ 44053 h 76200"/>
                <a:gd name="connsiteX4" fmla="*/ 110358 w 114300"/>
                <a:gd name="connsiteY4" fmla="*/ 25003 h 76200"/>
                <a:gd name="connsiteX5" fmla="*/ 104643 w 114300"/>
                <a:gd name="connsiteY5" fmla="*/ 10716 h 76200"/>
                <a:gd name="connsiteX6" fmla="*/ 56065 w 114300"/>
                <a:gd name="connsiteY6" fmla="*/ 29766 h 76200"/>
                <a:gd name="connsiteX7" fmla="*/ 27490 w 114300"/>
                <a:gd name="connsiteY7" fmla="*/ 2214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76200">
                  <a:moveTo>
                    <a:pt x="27490" y="22146"/>
                  </a:moveTo>
                  <a:cubicBezTo>
                    <a:pt x="14155" y="26908"/>
                    <a:pt x="7488" y="42148"/>
                    <a:pt x="12250" y="55483"/>
                  </a:cubicBezTo>
                  <a:cubicBezTo>
                    <a:pt x="17013" y="68818"/>
                    <a:pt x="32253" y="75486"/>
                    <a:pt x="45588" y="70723"/>
                  </a:cubicBezTo>
                  <a:cubicBezTo>
                    <a:pt x="57018" y="66913"/>
                    <a:pt x="62733" y="55483"/>
                    <a:pt x="61780" y="44053"/>
                  </a:cubicBezTo>
                  <a:lnTo>
                    <a:pt x="110358" y="25003"/>
                  </a:lnTo>
                  <a:lnTo>
                    <a:pt x="104643" y="10716"/>
                  </a:lnTo>
                  <a:lnTo>
                    <a:pt x="56065" y="29766"/>
                  </a:lnTo>
                  <a:cubicBezTo>
                    <a:pt x="50350" y="21193"/>
                    <a:pt x="38920" y="17383"/>
                    <a:pt x="27490" y="22146"/>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4F4A4051-B74D-4C6E-9B09-3AEFDA7596D6}"/>
                </a:ext>
              </a:extLst>
            </p:cNvPr>
            <p:cNvSpPr/>
            <p:nvPr/>
          </p:nvSpPr>
          <p:spPr>
            <a:xfrm>
              <a:off x="6014234" y="3410099"/>
              <a:ext cx="95250" cy="104775"/>
            </a:xfrm>
            <a:custGeom>
              <a:avLst/>
              <a:gdLst>
                <a:gd name="connsiteX0" fmla="*/ 16043 w 95250"/>
                <a:gd name="connsiteY0" fmla="*/ 52238 h 104775"/>
                <a:gd name="connsiteX1" fmla="*/ 20806 w 95250"/>
                <a:gd name="connsiteY1" fmla="*/ 16043 h 104775"/>
                <a:gd name="connsiteX2" fmla="*/ 57001 w 95250"/>
                <a:gd name="connsiteY2" fmla="*/ 20806 h 104775"/>
                <a:gd name="connsiteX3" fmla="*/ 57953 w 95250"/>
                <a:gd name="connsiteY3" fmla="*/ 52238 h 104775"/>
                <a:gd name="connsiteX4" fmla="*/ 90338 w 95250"/>
                <a:gd name="connsiteY4" fmla="*/ 93196 h 104775"/>
                <a:gd name="connsiteX5" fmla="*/ 78908 w 95250"/>
                <a:gd name="connsiteY5" fmla="*/ 102721 h 104775"/>
                <a:gd name="connsiteX6" fmla="*/ 46523 w 95250"/>
                <a:gd name="connsiteY6" fmla="*/ 61763 h 104775"/>
                <a:gd name="connsiteX7" fmla="*/ 16043 w 95250"/>
                <a:gd name="connsiteY7" fmla="*/ 5223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04775">
                  <a:moveTo>
                    <a:pt x="16043" y="52238"/>
                  </a:moveTo>
                  <a:cubicBezTo>
                    <a:pt x="7471" y="40808"/>
                    <a:pt x="9376" y="24616"/>
                    <a:pt x="20806" y="16043"/>
                  </a:cubicBezTo>
                  <a:cubicBezTo>
                    <a:pt x="32236" y="7471"/>
                    <a:pt x="48428" y="9376"/>
                    <a:pt x="57001" y="20806"/>
                  </a:cubicBezTo>
                  <a:cubicBezTo>
                    <a:pt x="64621" y="30331"/>
                    <a:pt x="64621" y="42713"/>
                    <a:pt x="57953" y="52238"/>
                  </a:cubicBezTo>
                  <a:lnTo>
                    <a:pt x="90338" y="93196"/>
                  </a:lnTo>
                  <a:lnTo>
                    <a:pt x="78908" y="102721"/>
                  </a:lnTo>
                  <a:lnTo>
                    <a:pt x="46523" y="61763"/>
                  </a:lnTo>
                  <a:cubicBezTo>
                    <a:pt x="36046" y="64621"/>
                    <a:pt x="23663" y="61763"/>
                    <a:pt x="16043" y="5223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49299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Rectangle 464">
            <a:extLst>
              <a:ext uri="{FF2B5EF4-FFF2-40B4-BE49-F238E27FC236}">
                <a16:creationId xmlns:a16="http://schemas.microsoft.com/office/drawing/2014/main" id="{CF301849-931C-40D0-82E9-83D1D1465A10}"/>
              </a:ext>
            </a:extLst>
          </p:cNvPr>
          <p:cNvSpPr/>
          <p:nvPr/>
        </p:nvSpPr>
        <p:spPr bwMode="auto">
          <a:xfrm>
            <a:off x="1921686"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 name="Title 1">
            <a:extLst>
              <a:ext uri="{FF2B5EF4-FFF2-40B4-BE49-F238E27FC236}">
                <a16:creationId xmlns:a16="http://schemas.microsoft.com/office/drawing/2014/main" id="{4731A548-05D0-4BF9-B935-7AB4BB3A2DA1}"/>
              </a:ext>
            </a:extLst>
          </p:cNvPr>
          <p:cNvSpPr>
            <a:spLocks noGrp="1"/>
          </p:cNvSpPr>
          <p:nvPr>
            <p:ph type="title"/>
          </p:nvPr>
        </p:nvSpPr>
        <p:spPr/>
        <p:txBody>
          <a:bodyPr/>
          <a:lstStyle/>
          <a:p>
            <a:r>
              <a:rPr lang="en-US" spc="-150" dirty="0">
                <a:solidFill>
                  <a:schemeClr val="tx2"/>
                </a:solidFill>
              </a:rPr>
              <a:t>Microsoft has a recommended reference architecture</a:t>
            </a:r>
          </a:p>
        </p:txBody>
      </p:sp>
      <p:sp>
        <p:nvSpPr>
          <p:cNvPr id="503" name="Shape 101">
            <a:extLst>
              <a:ext uri="{FF2B5EF4-FFF2-40B4-BE49-F238E27FC236}">
                <a16:creationId xmlns:a16="http://schemas.microsoft.com/office/drawing/2014/main" id="{9F4CFB08-5714-4D56-9C56-D5F37485E348}"/>
              </a:ext>
            </a:extLst>
          </p:cNvPr>
          <p:cNvSpPr txBox="1"/>
          <p:nvPr/>
        </p:nvSpPr>
        <p:spPr>
          <a:xfrm>
            <a:off x="84544" y="6248753"/>
            <a:ext cx="1574488" cy="387870"/>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Batch data</a:t>
            </a:r>
          </a:p>
        </p:txBody>
      </p:sp>
      <p:sp>
        <p:nvSpPr>
          <p:cNvPr id="504" name="Shape 101">
            <a:extLst>
              <a:ext uri="{FF2B5EF4-FFF2-40B4-BE49-F238E27FC236}">
                <a16:creationId xmlns:a16="http://schemas.microsoft.com/office/drawing/2014/main" id="{03961F54-2C95-4729-A019-82FF1A8C2C47}"/>
              </a:ext>
            </a:extLst>
          </p:cNvPr>
          <p:cNvSpPr txBox="1"/>
          <p:nvPr/>
        </p:nvSpPr>
        <p:spPr>
          <a:xfrm>
            <a:off x="84544" y="3288550"/>
            <a:ext cx="1574488" cy="387870"/>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Streaming data</a:t>
            </a:r>
          </a:p>
        </p:txBody>
      </p:sp>
      <p:sp>
        <p:nvSpPr>
          <p:cNvPr id="468" name="Rectangle 467">
            <a:extLst>
              <a:ext uri="{FF2B5EF4-FFF2-40B4-BE49-F238E27FC236}">
                <a16:creationId xmlns:a16="http://schemas.microsoft.com/office/drawing/2014/main" id="{504CEAA7-1EE3-400D-9304-40FEE6C14BF6}"/>
              </a:ext>
            </a:extLst>
          </p:cNvPr>
          <p:cNvSpPr/>
          <p:nvPr/>
        </p:nvSpPr>
        <p:spPr bwMode="auto">
          <a:xfrm>
            <a:off x="9429123"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nd serve</a:t>
            </a:r>
          </a:p>
        </p:txBody>
      </p:sp>
      <p:grpSp>
        <p:nvGrpSpPr>
          <p:cNvPr id="266" name="Group 265">
            <a:extLst>
              <a:ext uri="{FF2B5EF4-FFF2-40B4-BE49-F238E27FC236}">
                <a16:creationId xmlns:a16="http://schemas.microsoft.com/office/drawing/2014/main" id="{CD60E10E-A538-42DE-88D5-BD9AC0C2B088}"/>
              </a:ext>
            </a:extLst>
          </p:cNvPr>
          <p:cNvGrpSpPr/>
          <p:nvPr/>
        </p:nvGrpSpPr>
        <p:grpSpPr>
          <a:xfrm>
            <a:off x="10891404" y="2284574"/>
            <a:ext cx="683513" cy="689784"/>
            <a:chOff x="6981702" y="1590036"/>
            <a:chExt cx="410336" cy="414100"/>
          </a:xfrm>
          <a:solidFill>
            <a:schemeClr val="tx1"/>
          </a:solidFill>
        </p:grpSpPr>
        <p:grpSp>
          <p:nvGrpSpPr>
            <p:cNvPr id="267" name="Group 266">
              <a:extLst>
                <a:ext uri="{FF2B5EF4-FFF2-40B4-BE49-F238E27FC236}">
                  <a16:creationId xmlns:a16="http://schemas.microsoft.com/office/drawing/2014/main" id="{D777B257-980B-40F8-98C5-60C0F3973C59}"/>
                </a:ext>
              </a:extLst>
            </p:cNvPr>
            <p:cNvGrpSpPr/>
            <p:nvPr/>
          </p:nvGrpSpPr>
          <p:grpSpPr>
            <a:xfrm>
              <a:off x="7260237" y="1738027"/>
              <a:ext cx="129064" cy="91211"/>
              <a:chOff x="7199698" y="1738027"/>
              <a:chExt cx="129064" cy="91211"/>
            </a:xfrm>
            <a:grpFill/>
          </p:grpSpPr>
          <p:sp>
            <p:nvSpPr>
              <p:cNvPr id="279" name="Freeform: Shape 278">
                <a:extLst>
                  <a:ext uri="{FF2B5EF4-FFF2-40B4-BE49-F238E27FC236}">
                    <a16:creationId xmlns:a16="http://schemas.microsoft.com/office/drawing/2014/main" id="{045DF84E-FD5A-4D24-8726-C1DDA334EACB}"/>
                  </a:ext>
                </a:extLst>
              </p:cNvPr>
              <p:cNvSpPr/>
              <p:nvPr/>
            </p:nvSpPr>
            <p:spPr>
              <a:xfrm>
                <a:off x="7199698" y="1738027"/>
                <a:ext cx="50166" cy="91211"/>
              </a:xfrm>
              <a:custGeom>
                <a:avLst/>
                <a:gdLst>
                  <a:gd name="connsiteX0" fmla="*/ 204311 w 209550"/>
                  <a:gd name="connsiteY0" fmla="*/ 28099 h 381000"/>
                  <a:gd name="connsiteX1" fmla="*/ 184309 w 209550"/>
                  <a:gd name="connsiteY1" fmla="*/ 7144 h 381000"/>
                  <a:gd name="connsiteX2" fmla="*/ 17621 w 209550"/>
                  <a:gd name="connsiteY2" fmla="*/ 168116 h 381000"/>
                  <a:gd name="connsiteX3" fmla="*/ 7144 w 209550"/>
                  <a:gd name="connsiteY3" fmla="*/ 193834 h 381000"/>
                  <a:gd name="connsiteX4" fmla="*/ 17621 w 209550"/>
                  <a:gd name="connsiteY4" fmla="*/ 219551 h 381000"/>
                  <a:gd name="connsiteX5" fmla="*/ 184309 w 209550"/>
                  <a:gd name="connsiteY5" fmla="*/ 379571 h 381000"/>
                  <a:gd name="connsiteX6" fmla="*/ 204311 w 209550"/>
                  <a:gd name="connsiteY6" fmla="*/ 358616 h 381000"/>
                  <a:gd name="connsiteX7" fmla="*/ 37624 w 209550"/>
                  <a:gd name="connsiteY7" fmla="*/ 197644 h 381000"/>
                  <a:gd name="connsiteX8" fmla="*/ 35719 w 209550"/>
                  <a:gd name="connsiteY8" fmla="*/ 192881 h 381000"/>
                  <a:gd name="connsiteX9" fmla="*/ 37624 w 209550"/>
                  <a:gd name="connsiteY9" fmla="*/ 188119 h 381000"/>
                  <a:gd name="connsiteX10" fmla="*/ 204311 w 209550"/>
                  <a:gd name="connsiteY10" fmla="*/ 2809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204311" y="28099"/>
                    </a:moveTo>
                    <a:lnTo>
                      <a:pt x="184309" y="7144"/>
                    </a:lnTo>
                    <a:lnTo>
                      <a:pt x="17621" y="168116"/>
                    </a:lnTo>
                    <a:cubicBezTo>
                      <a:pt x="10954" y="174784"/>
                      <a:pt x="7144" y="184309"/>
                      <a:pt x="7144" y="193834"/>
                    </a:cubicBezTo>
                    <a:cubicBezTo>
                      <a:pt x="7144" y="203359"/>
                      <a:pt x="10954" y="212884"/>
                      <a:pt x="17621" y="219551"/>
                    </a:cubicBezTo>
                    <a:lnTo>
                      <a:pt x="184309" y="379571"/>
                    </a:lnTo>
                    <a:lnTo>
                      <a:pt x="204311" y="358616"/>
                    </a:lnTo>
                    <a:lnTo>
                      <a:pt x="37624" y="197644"/>
                    </a:lnTo>
                    <a:cubicBezTo>
                      <a:pt x="35719" y="195739"/>
                      <a:pt x="35719" y="193834"/>
                      <a:pt x="35719" y="192881"/>
                    </a:cubicBezTo>
                    <a:cubicBezTo>
                      <a:pt x="35719" y="191929"/>
                      <a:pt x="35719" y="190024"/>
                      <a:pt x="37624" y="188119"/>
                    </a:cubicBezTo>
                    <a:lnTo>
                      <a:pt x="204311" y="2809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0" name="Freeform: Shape 279">
                <a:extLst>
                  <a:ext uri="{FF2B5EF4-FFF2-40B4-BE49-F238E27FC236}">
                    <a16:creationId xmlns:a16="http://schemas.microsoft.com/office/drawing/2014/main" id="{71372E08-030B-42A2-8B52-23F775983B79}"/>
                  </a:ext>
                </a:extLst>
              </p:cNvPr>
              <p:cNvSpPr/>
              <p:nvPr/>
            </p:nvSpPr>
            <p:spPr>
              <a:xfrm>
                <a:off x="7278596" y="1738027"/>
                <a:ext cx="50166" cy="91211"/>
              </a:xfrm>
              <a:custGeom>
                <a:avLst/>
                <a:gdLst>
                  <a:gd name="connsiteX0" fmla="*/ 175736 w 209550"/>
                  <a:gd name="connsiteY0" fmla="*/ 192881 h 381000"/>
                  <a:gd name="connsiteX1" fmla="*/ 173831 w 209550"/>
                  <a:gd name="connsiteY1" fmla="*/ 197644 h 381000"/>
                  <a:gd name="connsiteX2" fmla="*/ 7144 w 209550"/>
                  <a:gd name="connsiteY2" fmla="*/ 357664 h 381000"/>
                  <a:gd name="connsiteX3" fmla="*/ 27146 w 209550"/>
                  <a:gd name="connsiteY3" fmla="*/ 378619 h 381000"/>
                  <a:gd name="connsiteX4" fmla="*/ 193834 w 209550"/>
                  <a:gd name="connsiteY4" fmla="*/ 218599 h 381000"/>
                  <a:gd name="connsiteX5" fmla="*/ 204311 w 209550"/>
                  <a:gd name="connsiteY5" fmla="*/ 192881 h 381000"/>
                  <a:gd name="connsiteX6" fmla="*/ 193834 w 209550"/>
                  <a:gd name="connsiteY6" fmla="*/ 167164 h 381000"/>
                  <a:gd name="connsiteX7" fmla="*/ 27146 w 209550"/>
                  <a:gd name="connsiteY7" fmla="*/ 7144 h 381000"/>
                  <a:gd name="connsiteX8" fmla="*/ 7144 w 209550"/>
                  <a:gd name="connsiteY8" fmla="*/ 28099 h 381000"/>
                  <a:gd name="connsiteX9" fmla="*/ 173831 w 209550"/>
                  <a:gd name="connsiteY9" fmla="*/ 188119 h 381000"/>
                  <a:gd name="connsiteX10" fmla="*/ 175736 w 209550"/>
                  <a:gd name="connsiteY10" fmla="*/ 1928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175736" y="192881"/>
                    </a:moveTo>
                    <a:cubicBezTo>
                      <a:pt x="175736" y="193834"/>
                      <a:pt x="175736" y="195739"/>
                      <a:pt x="173831" y="197644"/>
                    </a:cubicBezTo>
                    <a:lnTo>
                      <a:pt x="7144" y="357664"/>
                    </a:lnTo>
                    <a:lnTo>
                      <a:pt x="27146" y="378619"/>
                    </a:lnTo>
                    <a:lnTo>
                      <a:pt x="193834" y="218599"/>
                    </a:lnTo>
                    <a:cubicBezTo>
                      <a:pt x="200501" y="211931"/>
                      <a:pt x="204311" y="202406"/>
                      <a:pt x="204311" y="192881"/>
                    </a:cubicBezTo>
                    <a:cubicBezTo>
                      <a:pt x="204311" y="183356"/>
                      <a:pt x="200501" y="173831"/>
                      <a:pt x="193834" y="167164"/>
                    </a:cubicBezTo>
                    <a:lnTo>
                      <a:pt x="27146" y="7144"/>
                    </a:lnTo>
                    <a:lnTo>
                      <a:pt x="7144" y="28099"/>
                    </a:lnTo>
                    <a:lnTo>
                      <a:pt x="173831" y="188119"/>
                    </a:lnTo>
                    <a:cubicBezTo>
                      <a:pt x="174784" y="190024"/>
                      <a:pt x="175736" y="191929"/>
                      <a:pt x="175736" y="19288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1" name="Freeform: Shape 280">
                <a:extLst>
                  <a:ext uri="{FF2B5EF4-FFF2-40B4-BE49-F238E27FC236}">
                    <a16:creationId xmlns:a16="http://schemas.microsoft.com/office/drawing/2014/main" id="{FBCBD433-6206-4031-82AC-F86D15DEA7C5}"/>
                  </a:ext>
                </a:extLst>
              </p:cNvPr>
              <p:cNvSpPr/>
              <p:nvPr/>
            </p:nvSpPr>
            <p:spPr>
              <a:xfrm>
                <a:off x="7235954" y="1773827"/>
                <a:ext cx="25083" cy="25083"/>
              </a:xfrm>
              <a:custGeom>
                <a:avLst/>
                <a:gdLst>
                  <a:gd name="connsiteX0" fmla="*/ 7144 w 104775"/>
                  <a:gd name="connsiteY0" fmla="*/ 54769 h 104775"/>
                  <a:gd name="connsiteX1" fmla="*/ 53816 w 104775"/>
                  <a:gd name="connsiteY1" fmla="*/ 102394 h 104775"/>
                  <a:gd name="connsiteX2" fmla="*/ 100489 w 104775"/>
                  <a:gd name="connsiteY2" fmla="*/ 54769 h 104775"/>
                  <a:gd name="connsiteX3" fmla="*/ 53816 w 104775"/>
                  <a:gd name="connsiteY3" fmla="*/ 7144 h 104775"/>
                  <a:gd name="connsiteX4" fmla="*/ 7144 w 104775"/>
                  <a:gd name="connsiteY4" fmla="*/ 54769 h 104775"/>
                  <a:gd name="connsiteX5" fmla="*/ 71914 w 104775"/>
                  <a:gd name="connsiteY5" fmla="*/ 54769 h 104775"/>
                  <a:gd name="connsiteX6" fmla="*/ 53816 w 104775"/>
                  <a:gd name="connsiteY6" fmla="*/ 73819 h 104775"/>
                  <a:gd name="connsiteX7" fmla="*/ 35719 w 104775"/>
                  <a:gd name="connsiteY7" fmla="*/ 54769 h 104775"/>
                  <a:gd name="connsiteX8" fmla="*/ 53816 w 104775"/>
                  <a:gd name="connsiteY8" fmla="*/ 35719 h 104775"/>
                  <a:gd name="connsiteX9" fmla="*/ 71914 w 104775"/>
                  <a:gd name="connsiteY9" fmla="*/ 547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7144" y="54769"/>
                    </a:moveTo>
                    <a:cubicBezTo>
                      <a:pt x="7144" y="80486"/>
                      <a:pt x="28099" y="102394"/>
                      <a:pt x="53816" y="102394"/>
                    </a:cubicBezTo>
                    <a:cubicBezTo>
                      <a:pt x="79534" y="102394"/>
                      <a:pt x="100489" y="81439"/>
                      <a:pt x="100489" y="54769"/>
                    </a:cubicBezTo>
                    <a:cubicBezTo>
                      <a:pt x="100489" y="28099"/>
                      <a:pt x="79534" y="7144"/>
                      <a:pt x="53816" y="7144"/>
                    </a:cubicBezTo>
                    <a:cubicBezTo>
                      <a:pt x="28099" y="7144"/>
                      <a:pt x="7144" y="29051"/>
                      <a:pt x="7144" y="54769"/>
                    </a:cubicBezTo>
                    <a:close/>
                    <a:moveTo>
                      <a:pt x="71914" y="54769"/>
                    </a:moveTo>
                    <a:cubicBezTo>
                      <a:pt x="71914" y="65246"/>
                      <a:pt x="63341" y="73819"/>
                      <a:pt x="53816" y="73819"/>
                    </a:cubicBezTo>
                    <a:cubicBezTo>
                      <a:pt x="44291" y="73819"/>
                      <a:pt x="35719" y="65246"/>
                      <a:pt x="35719" y="54769"/>
                    </a:cubicBezTo>
                    <a:cubicBezTo>
                      <a:pt x="35719" y="44291"/>
                      <a:pt x="44291" y="35719"/>
                      <a:pt x="53816" y="35719"/>
                    </a:cubicBezTo>
                    <a:cubicBezTo>
                      <a:pt x="63341" y="35719"/>
                      <a:pt x="71914" y="44291"/>
                      <a:pt x="71914" y="54769"/>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2" name="Freeform: Shape 281">
                <a:extLst>
                  <a:ext uri="{FF2B5EF4-FFF2-40B4-BE49-F238E27FC236}">
                    <a16:creationId xmlns:a16="http://schemas.microsoft.com/office/drawing/2014/main" id="{0FB18B7D-15ED-4D58-9383-AA1E14920D09}"/>
                  </a:ext>
                </a:extLst>
              </p:cNvPr>
              <p:cNvSpPr/>
              <p:nvPr/>
            </p:nvSpPr>
            <p:spPr>
              <a:xfrm>
                <a:off x="7266966" y="1773599"/>
                <a:ext cx="25083" cy="25083"/>
              </a:xfrm>
              <a:custGeom>
                <a:avLst/>
                <a:gdLst>
                  <a:gd name="connsiteX0" fmla="*/ 53816 w 104775"/>
                  <a:gd name="connsiteY0" fmla="*/ 102394 h 104775"/>
                  <a:gd name="connsiteX1" fmla="*/ 100489 w 104775"/>
                  <a:gd name="connsiteY1" fmla="*/ 54769 h 104775"/>
                  <a:gd name="connsiteX2" fmla="*/ 53816 w 104775"/>
                  <a:gd name="connsiteY2" fmla="*/ 7144 h 104775"/>
                  <a:gd name="connsiteX3" fmla="*/ 7144 w 104775"/>
                  <a:gd name="connsiteY3" fmla="*/ 54769 h 104775"/>
                  <a:gd name="connsiteX4" fmla="*/ 53816 w 104775"/>
                  <a:gd name="connsiteY4" fmla="*/ 102394 h 104775"/>
                  <a:gd name="connsiteX5" fmla="*/ 53816 w 104775"/>
                  <a:gd name="connsiteY5" fmla="*/ 36671 h 104775"/>
                  <a:gd name="connsiteX6" fmla="*/ 71914 w 104775"/>
                  <a:gd name="connsiteY6" fmla="*/ 55721 h 104775"/>
                  <a:gd name="connsiteX7" fmla="*/ 53816 w 104775"/>
                  <a:gd name="connsiteY7" fmla="*/ 74771 h 104775"/>
                  <a:gd name="connsiteX8" fmla="*/ 35719 w 104775"/>
                  <a:gd name="connsiteY8" fmla="*/ 55721 h 104775"/>
                  <a:gd name="connsiteX9" fmla="*/ 53816 w 104775"/>
                  <a:gd name="connsiteY9" fmla="*/ 3667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102394"/>
                    </a:moveTo>
                    <a:cubicBezTo>
                      <a:pt x="79534" y="102394"/>
                      <a:pt x="100489" y="81439"/>
                      <a:pt x="100489" y="54769"/>
                    </a:cubicBezTo>
                    <a:cubicBezTo>
                      <a:pt x="100489" y="28099"/>
                      <a:pt x="79534" y="7144"/>
                      <a:pt x="53816" y="7144"/>
                    </a:cubicBezTo>
                    <a:cubicBezTo>
                      <a:pt x="28099" y="7144"/>
                      <a:pt x="7144" y="28099"/>
                      <a:pt x="7144" y="54769"/>
                    </a:cubicBezTo>
                    <a:cubicBezTo>
                      <a:pt x="7144" y="81439"/>
                      <a:pt x="28099" y="102394"/>
                      <a:pt x="53816" y="102394"/>
                    </a:cubicBezTo>
                    <a:close/>
                    <a:moveTo>
                      <a:pt x="53816" y="36671"/>
                    </a:moveTo>
                    <a:cubicBezTo>
                      <a:pt x="64294" y="36671"/>
                      <a:pt x="71914" y="45244"/>
                      <a:pt x="71914" y="55721"/>
                    </a:cubicBezTo>
                    <a:cubicBezTo>
                      <a:pt x="71914" y="66199"/>
                      <a:pt x="63341" y="74771"/>
                      <a:pt x="53816" y="74771"/>
                    </a:cubicBezTo>
                    <a:cubicBezTo>
                      <a:pt x="44291" y="74771"/>
                      <a:pt x="35719" y="66199"/>
                      <a:pt x="35719" y="55721"/>
                    </a:cubicBezTo>
                    <a:cubicBezTo>
                      <a:pt x="35719" y="45244"/>
                      <a:pt x="44291" y="36671"/>
                      <a:pt x="53816" y="3667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68" name="Group 267">
              <a:extLst>
                <a:ext uri="{FF2B5EF4-FFF2-40B4-BE49-F238E27FC236}">
                  <a16:creationId xmlns:a16="http://schemas.microsoft.com/office/drawing/2014/main" id="{CF60FDBD-C73A-429A-BB89-C9C521AFD3B9}"/>
                </a:ext>
              </a:extLst>
            </p:cNvPr>
            <p:cNvGrpSpPr/>
            <p:nvPr/>
          </p:nvGrpSpPr>
          <p:grpSpPr>
            <a:xfrm>
              <a:off x="7275970" y="1611015"/>
              <a:ext cx="91212" cy="82090"/>
              <a:chOff x="7163213" y="1611015"/>
              <a:chExt cx="91212" cy="82090"/>
            </a:xfrm>
            <a:grpFill/>
          </p:grpSpPr>
          <p:sp>
            <p:nvSpPr>
              <p:cNvPr id="277" name="Freeform: Shape 276">
                <a:extLst>
                  <a:ext uri="{FF2B5EF4-FFF2-40B4-BE49-F238E27FC236}">
                    <a16:creationId xmlns:a16="http://schemas.microsoft.com/office/drawing/2014/main" id="{16BF2292-9E33-49FC-BAA0-39672AB51FF4}"/>
                  </a:ext>
                </a:extLst>
              </p:cNvPr>
              <p:cNvSpPr/>
              <p:nvPr/>
            </p:nvSpPr>
            <p:spPr>
              <a:xfrm>
                <a:off x="7163213" y="1611015"/>
                <a:ext cx="91212" cy="82090"/>
              </a:xfrm>
              <a:custGeom>
                <a:avLst/>
                <a:gdLst>
                  <a:gd name="connsiteX0" fmla="*/ 382429 w 381000"/>
                  <a:gd name="connsiteY0" fmla="*/ 7144 h 342900"/>
                  <a:gd name="connsiteX1" fmla="*/ 7144 w 381000"/>
                  <a:gd name="connsiteY1" fmla="*/ 7144 h 342900"/>
                  <a:gd name="connsiteX2" fmla="*/ 7144 w 381000"/>
                  <a:gd name="connsiteY2" fmla="*/ 343376 h 342900"/>
                  <a:gd name="connsiteX3" fmla="*/ 382429 w 381000"/>
                  <a:gd name="connsiteY3" fmla="*/ 343376 h 342900"/>
                  <a:gd name="connsiteX4" fmla="*/ 382429 w 381000"/>
                  <a:gd name="connsiteY4" fmla="*/ 7144 h 342900"/>
                  <a:gd name="connsiteX5" fmla="*/ 35719 w 381000"/>
                  <a:gd name="connsiteY5" fmla="*/ 314801 h 342900"/>
                  <a:gd name="connsiteX6" fmla="*/ 35719 w 381000"/>
                  <a:gd name="connsiteY6" fmla="*/ 276701 h 342900"/>
                  <a:gd name="connsiteX7" fmla="*/ 136684 w 381000"/>
                  <a:gd name="connsiteY7" fmla="*/ 173831 h 342900"/>
                  <a:gd name="connsiteX8" fmla="*/ 223361 w 381000"/>
                  <a:gd name="connsiteY8" fmla="*/ 261461 h 342900"/>
                  <a:gd name="connsiteX9" fmla="*/ 252889 w 381000"/>
                  <a:gd name="connsiteY9" fmla="*/ 231934 h 342900"/>
                  <a:gd name="connsiteX10" fmla="*/ 333851 w 381000"/>
                  <a:gd name="connsiteY10" fmla="*/ 314801 h 342900"/>
                  <a:gd name="connsiteX11" fmla="*/ 35719 w 381000"/>
                  <a:gd name="connsiteY11" fmla="*/ 314801 h 342900"/>
                  <a:gd name="connsiteX12" fmla="*/ 353854 w 381000"/>
                  <a:gd name="connsiteY12" fmla="*/ 293846 h 342900"/>
                  <a:gd name="connsiteX13" fmla="*/ 252889 w 381000"/>
                  <a:gd name="connsiteY13" fmla="*/ 191929 h 342900"/>
                  <a:gd name="connsiteX14" fmla="*/ 223361 w 381000"/>
                  <a:gd name="connsiteY14" fmla="*/ 221456 h 342900"/>
                  <a:gd name="connsiteX15" fmla="*/ 136684 w 381000"/>
                  <a:gd name="connsiteY15" fmla="*/ 133826 h 342900"/>
                  <a:gd name="connsiteX16" fmla="*/ 35719 w 381000"/>
                  <a:gd name="connsiteY16" fmla="*/ 235744 h 342900"/>
                  <a:gd name="connsiteX17" fmla="*/ 35719 w 381000"/>
                  <a:gd name="connsiteY17" fmla="*/ 35719 h 342900"/>
                  <a:gd name="connsiteX18" fmla="*/ 353854 w 381000"/>
                  <a:gd name="connsiteY18" fmla="*/ 35719 h 342900"/>
                  <a:gd name="connsiteX19" fmla="*/ 353854 w 381000"/>
                  <a:gd name="connsiteY19" fmla="*/ 293846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342900">
                    <a:moveTo>
                      <a:pt x="382429" y="7144"/>
                    </a:moveTo>
                    <a:lnTo>
                      <a:pt x="7144" y="7144"/>
                    </a:lnTo>
                    <a:lnTo>
                      <a:pt x="7144" y="343376"/>
                    </a:lnTo>
                    <a:lnTo>
                      <a:pt x="382429" y="343376"/>
                    </a:lnTo>
                    <a:lnTo>
                      <a:pt x="382429" y="7144"/>
                    </a:lnTo>
                    <a:close/>
                    <a:moveTo>
                      <a:pt x="35719" y="314801"/>
                    </a:moveTo>
                    <a:lnTo>
                      <a:pt x="35719" y="276701"/>
                    </a:lnTo>
                    <a:lnTo>
                      <a:pt x="136684" y="173831"/>
                    </a:lnTo>
                    <a:lnTo>
                      <a:pt x="223361" y="261461"/>
                    </a:lnTo>
                    <a:lnTo>
                      <a:pt x="252889" y="231934"/>
                    </a:lnTo>
                    <a:lnTo>
                      <a:pt x="333851" y="314801"/>
                    </a:lnTo>
                    <a:lnTo>
                      <a:pt x="35719" y="314801"/>
                    </a:lnTo>
                    <a:close/>
                    <a:moveTo>
                      <a:pt x="353854" y="293846"/>
                    </a:moveTo>
                    <a:lnTo>
                      <a:pt x="252889" y="191929"/>
                    </a:lnTo>
                    <a:lnTo>
                      <a:pt x="223361" y="221456"/>
                    </a:lnTo>
                    <a:lnTo>
                      <a:pt x="136684" y="133826"/>
                    </a:lnTo>
                    <a:lnTo>
                      <a:pt x="35719" y="235744"/>
                    </a:lnTo>
                    <a:lnTo>
                      <a:pt x="35719" y="35719"/>
                    </a:lnTo>
                    <a:lnTo>
                      <a:pt x="353854" y="35719"/>
                    </a:lnTo>
                    <a:lnTo>
                      <a:pt x="353854" y="293846"/>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91B535A4-6EB9-4DC6-A79C-D08367D9FED2}"/>
                  </a:ext>
                </a:extLst>
              </p:cNvPr>
              <p:cNvSpPr/>
              <p:nvPr/>
            </p:nvSpPr>
            <p:spPr>
              <a:xfrm>
                <a:off x="7220448" y="1626749"/>
                <a:ext cx="25083" cy="25083"/>
              </a:xfrm>
              <a:custGeom>
                <a:avLst/>
                <a:gdLst>
                  <a:gd name="connsiteX0" fmla="*/ 53816 w 104775"/>
                  <a:gd name="connsiteY0" fmla="*/ 98584 h 104775"/>
                  <a:gd name="connsiteX1" fmla="*/ 100489 w 104775"/>
                  <a:gd name="connsiteY1" fmla="*/ 52864 h 104775"/>
                  <a:gd name="connsiteX2" fmla="*/ 53816 w 104775"/>
                  <a:gd name="connsiteY2" fmla="*/ 7144 h 104775"/>
                  <a:gd name="connsiteX3" fmla="*/ 7144 w 104775"/>
                  <a:gd name="connsiteY3" fmla="*/ 52864 h 104775"/>
                  <a:gd name="connsiteX4" fmla="*/ 53816 w 104775"/>
                  <a:gd name="connsiteY4" fmla="*/ 98584 h 104775"/>
                  <a:gd name="connsiteX5" fmla="*/ 53816 w 104775"/>
                  <a:gd name="connsiteY5" fmla="*/ 35719 h 104775"/>
                  <a:gd name="connsiteX6" fmla="*/ 71914 w 104775"/>
                  <a:gd name="connsiteY6" fmla="*/ 52864 h 104775"/>
                  <a:gd name="connsiteX7" fmla="*/ 53816 w 104775"/>
                  <a:gd name="connsiteY7" fmla="*/ 70009 h 104775"/>
                  <a:gd name="connsiteX8" fmla="*/ 35719 w 104775"/>
                  <a:gd name="connsiteY8" fmla="*/ 52864 h 104775"/>
                  <a:gd name="connsiteX9" fmla="*/ 53816 w 104775"/>
                  <a:gd name="connsiteY9" fmla="*/ 3571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98584"/>
                    </a:moveTo>
                    <a:cubicBezTo>
                      <a:pt x="79534" y="98584"/>
                      <a:pt x="100489" y="78581"/>
                      <a:pt x="100489" y="52864"/>
                    </a:cubicBezTo>
                    <a:cubicBezTo>
                      <a:pt x="100489" y="27146"/>
                      <a:pt x="79534" y="7144"/>
                      <a:pt x="53816" y="7144"/>
                    </a:cubicBezTo>
                    <a:cubicBezTo>
                      <a:pt x="28099" y="7144"/>
                      <a:pt x="7144" y="27146"/>
                      <a:pt x="7144" y="52864"/>
                    </a:cubicBezTo>
                    <a:cubicBezTo>
                      <a:pt x="7144" y="78581"/>
                      <a:pt x="28099" y="98584"/>
                      <a:pt x="53816" y="98584"/>
                    </a:cubicBezTo>
                    <a:close/>
                    <a:moveTo>
                      <a:pt x="53816" y="35719"/>
                    </a:moveTo>
                    <a:cubicBezTo>
                      <a:pt x="64294" y="35719"/>
                      <a:pt x="71914" y="43339"/>
                      <a:pt x="71914" y="52864"/>
                    </a:cubicBezTo>
                    <a:cubicBezTo>
                      <a:pt x="71914" y="62389"/>
                      <a:pt x="63341" y="70009"/>
                      <a:pt x="53816" y="70009"/>
                    </a:cubicBezTo>
                    <a:cubicBezTo>
                      <a:pt x="44291" y="70009"/>
                      <a:pt x="35719" y="62389"/>
                      <a:pt x="35719" y="52864"/>
                    </a:cubicBezTo>
                    <a:cubicBezTo>
                      <a:pt x="35719" y="43339"/>
                      <a:pt x="43339" y="35719"/>
                      <a:pt x="53816" y="35719"/>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69" name="Group 268">
              <a:extLst>
                <a:ext uri="{FF2B5EF4-FFF2-40B4-BE49-F238E27FC236}">
                  <a16:creationId xmlns:a16="http://schemas.microsoft.com/office/drawing/2014/main" id="{2926A30F-C5C1-417F-8918-420F6D8A7591}"/>
                </a:ext>
              </a:extLst>
            </p:cNvPr>
            <p:cNvGrpSpPr/>
            <p:nvPr/>
          </p:nvGrpSpPr>
          <p:grpSpPr>
            <a:xfrm>
              <a:off x="7005645" y="1894682"/>
              <a:ext cx="143658" cy="109454"/>
              <a:chOff x="6981702" y="1894682"/>
              <a:chExt cx="143658" cy="109454"/>
            </a:xfrm>
            <a:grpFill/>
          </p:grpSpPr>
          <p:sp>
            <p:nvSpPr>
              <p:cNvPr id="275" name="Freeform: Shape 274">
                <a:extLst>
                  <a:ext uri="{FF2B5EF4-FFF2-40B4-BE49-F238E27FC236}">
                    <a16:creationId xmlns:a16="http://schemas.microsoft.com/office/drawing/2014/main" id="{BED17C0E-489E-4995-84CA-A29D14056416}"/>
                  </a:ext>
                </a:extLst>
              </p:cNvPr>
              <p:cNvSpPr/>
              <p:nvPr/>
            </p:nvSpPr>
            <p:spPr>
              <a:xfrm>
                <a:off x="6981702" y="1894682"/>
                <a:ext cx="143658" cy="109454"/>
              </a:xfrm>
              <a:custGeom>
                <a:avLst/>
                <a:gdLst>
                  <a:gd name="connsiteX0" fmla="*/ 556736 w 600075"/>
                  <a:gd name="connsiteY0" fmla="*/ 7144 h 457200"/>
                  <a:gd name="connsiteX1" fmla="*/ 50006 w 600075"/>
                  <a:gd name="connsiteY1" fmla="*/ 7144 h 457200"/>
                  <a:gd name="connsiteX2" fmla="*/ 7144 w 600075"/>
                  <a:gd name="connsiteY2" fmla="*/ 50006 h 457200"/>
                  <a:gd name="connsiteX3" fmla="*/ 7144 w 600075"/>
                  <a:gd name="connsiteY3" fmla="*/ 410051 h 457200"/>
                  <a:gd name="connsiteX4" fmla="*/ 50006 w 600075"/>
                  <a:gd name="connsiteY4" fmla="*/ 452914 h 457200"/>
                  <a:gd name="connsiteX5" fmla="*/ 556736 w 600075"/>
                  <a:gd name="connsiteY5" fmla="*/ 452914 h 457200"/>
                  <a:gd name="connsiteX6" fmla="*/ 599599 w 600075"/>
                  <a:gd name="connsiteY6" fmla="*/ 410051 h 457200"/>
                  <a:gd name="connsiteX7" fmla="*/ 599599 w 600075"/>
                  <a:gd name="connsiteY7" fmla="*/ 50006 h 457200"/>
                  <a:gd name="connsiteX8" fmla="*/ 556736 w 600075"/>
                  <a:gd name="connsiteY8" fmla="*/ 7144 h 457200"/>
                  <a:gd name="connsiteX9" fmla="*/ 570071 w 600075"/>
                  <a:gd name="connsiteY9" fmla="*/ 410051 h 457200"/>
                  <a:gd name="connsiteX10" fmla="*/ 555784 w 600075"/>
                  <a:gd name="connsiteY10" fmla="*/ 424339 h 457200"/>
                  <a:gd name="connsiteX11" fmla="*/ 50006 w 600075"/>
                  <a:gd name="connsiteY11" fmla="*/ 424339 h 457200"/>
                  <a:gd name="connsiteX12" fmla="*/ 35719 w 600075"/>
                  <a:gd name="connsiteY12" fmla="*/ 410051 h 457200"/>
                  <a:gd name="connsiteX13" fmla="*/ 35719 w 600075"/>
                  <a:gd name="connsiteY13" fmla="*/ 50006 h 457200"/>
                  <a:gd name="connsiteX14" fmla="*/ 50006 w 600075"/>
                  <a:gd name="connsiteY14" fmla="*/ 35719 h 457200"/>
                  <a:gd name="connsiteX15" fmla="*/ 556736 w 600075"/>
                  <a:gd name="connsiteY15" fmla="*/ 35719 h 457200"/>
                  <a:gd name="connsiteX16" fmla="*/ 571024 w 600075"/>
                  <a:gd name="connsiteY16" fmla="*/ 50006 h 457200"/>
                  <a:gd name="connsiteX17" fmla="*/ 571024 w 600075"/>
                  <a:gd name="connsiteY17" fmla="*/ 41005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075" h="457200">
                    <a:moveTo>
                      <a:pt x="556736" y="7144"/>
                    </a:moveTo>
                    <a:lnTo>
                      <a:pt x="50006" y="7144"/>
                    </a:lnTo>
                    <a:cubicBezTo>
                      <a:pt x="26194" y="7144"/>
                      <a:pt x="7144" y="26194"/>
                      <a:pt x="7144" y="50006"/>
                    </a:cubicBezTo>
                    <a:lnTo>
                      <a:pt x="7144" y="410051"/>
                    </a:lnTo>
                    <a:cubicBezTo>
                      <a:pt x="7144" y="433864"/>
                      <a:pt x="26194" y="452914"/>
                      <a:pt x="50006" y="452914"/>
                    </a:cubicBezTo>
                    <a:lnTo>
                      <a:pt x="556736" y="452914"/>
                    </a:lnTo>
                    <a:cubicBezTo>
                      <a:pt x="580549" y="452914"/>
                      <a:pt x="599599" y="433864"/>
                      <a:pt x="599599" y="410051"/>
                    </a:cubicBezTo>
                    <a:lnTo>
                      <a:pt x="599599" y="50006"/>
                    </a:lnTo>
                    <a:cubicBezTo>
                      <a:pt x="598646" y="26194"/>
                      <a:pt x="580549" y="7144"/>
                      <a:pt x="556736" y="7144"/>
                    </a:cubicBezTo>
                    <a:close/>
                    <a:moveTo>
                      <a:pt x="570071" y="410051"/>
                    </a:moveTo>
                    <a:cubicBezTo>
                      <a:pt x="570071" y="417671"/>
                      <a:pt x="563404" y="424339"/>
                      <a:pt x="555784" y="424339"/>
                    </a:cubicBezTo>
                    <a:lnTo>
                      <a:pt x="50006" y="424339"/>
                    </a:lnTo>
                    <a:cubicBezTo>
                      <a:pt x="42386" y="424339"/>
                      <a:pt x="35719" y="417671"/>
                      <a:pt x="35719" y="410051"/>
                    </a:cubicBezTo>
                    <a:lnTo>
                      <a:pt x="35719" y="50006"/>
                    </a:lnTo>
                    <a:cubicBezTo>
                      <a:pt x="35719" y="42386"/>
                      <a:pt x="42386" y="35719"/>
                      <a:pt x="50006" y="35719"/>
                    </a:cubicBezTo>
                    <a:lnTo>
                      <a:pt x="556736" y="35719"/>
                    </a:lnTo>
                    <a:cubicBezTo>
                      <a:pt x="564356" y="35719"/>
                      <a:pt x="571024" y="42386"/>
                      <a:pt x="571024" y="50006"/>
                    </a:cubicBezTo>
                    <a:lnTo>
                      <a:pt x="571024" y="410051"/>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EF294F57-C4D0-4C97-B14B-ACCE63FC53DE}"/>
                  </a:ext>
                </a:extLst>
              </p:cNvPr>
              <p:cNvSpPr/>
              <p:nvPr/>
            </p:nvSpPr>
            <p:spPr>
              <a:xfrm>
                <a:off x="7043498" y="1976317"/>
                <a:ext cx="20523" cy="9121"/>
              </a:xfrm>
              <a:custGeom>
                <a:avLst/>
                <a:gdLst>
                  <a:gd name="connsiteX0" fmla="*/ 7144 w 85725"/>
                  <a:gd name="connsiteY0" fmla="*/ 7144 h 38100"/>
                  <a:gd name="connsiteX1" fmla="*/ 82391 w 85725"/>
                  <a:gd name="connsiteY1" fmla="*/ 7144 h 38100"/>
                  <a:gd name="connsiteX2" fmla="*/ 82391 w 85725"/>
                  <a:gd name="connsiteY2" fmla="*/ 35719 h 38100"/>
                  <a:gd name="connsiteX3" fmla="*/ 7144 w 8572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85725" h="38100">
                    <a:moveTo>
                      <a:pt x="7144" y="7144"/>
                    </a:moveTo>
                    <a:lnTo>
                      <a:pt x="82391" y="7144"/>
                    </a:lnTo>
                    <a:lnTo>
                      <a:pt x="82391" y="35719"/>
                    </a:lnTo>
                    <a:lnTo>
                      <a:pt x="7144"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270" name="Freeform: Shape 269">
              <a:extLst>
                <a:ext uri="{FF2B5EF4-FFF2-40B4-BE49-F238E27FC236}">
                  <a16:creationId xmlns:a16="http://schemas.microsoft.com/office/drawing/2014/main" id="{ECD388B8-E4B7-41F5-ABD0-BC0AA1ECC952}"/>
                </a:ext>
              </a:extLst>
            </p:cNvPr>
            <p:cNvSpPr/>
            <p:nvPr/>
          </p:nvSpPr>
          <p:spPr>
            <a:xfrm>
              <a:off x="6981702" y="1731870"/>
              <a:ext cx="191544" cy="125416"/>
            </a:xfrm>
            <a:custGeom>
              <a:avLst/>
              <a:gdLst>
                <a:gd name="connsiteX0" fmla="*/ 793909 w 800100"/>
                <a:gd name="connsiteY0" fmla="*/ 479584 h 523875"/>
                <a:gd name="connsiteX1" fmla="*/ 777716 w 800100"/>
                <a:gd name="connsiteY1" fmla="*/ 433864 h 523875"/>
                <a:gd name="connsiteX2" fmla="*/ 691991 w 800100"/>
                <a:gd name="connsiteY2" fmla="*/ 352901 h 523875"/>
                <a:gd name="connsiteX3" fmla="*/ 691991 w 800100"/>
                <a:gd name="connsiteY3" fmla="*/ 7144 h 523875"/>
                <a:gd name="connsiteX4" fmla="*/ 108109 w 800100"/>
                <a:gd name="connsiteY4" fmla="*/ 7144 h 523875"/>
                <a:gd name="connsiteX5" fmla="*/ 108109 w 800100"/>
                <a:gd name="connsiteY5" fmla="*/ 352901 h 523875"/>
                <a:gd name="connsiteX6" fmla="*/ 24289 w 800100"/>
                <a:gd name="connsiteY6" fmla="*/ 433864 h 523875"/>
                <a:gd name="connsiteX7" fmla="*/ 23336 w 800100"/>
                <a:gd name="connsiteY7" fmla="*/ 434816 h 523875"/>
                <a:gd name="connsiteX8" fmla="*/ 7144 w 800100"/>
                <a:gd name="connsiteY8" fmla="*/ 480536 h 523875"/>
                <a:gd name="connsiteX9" fmla="*/ 47149 w 800100"/>
                <a:gd name="connsiteY9" fmla="*/ 518636 h 523875"/>
                <a:gd name="connsiteX10" fmla="*/ 754856 w 800100"/>
                <a:gd name="connsiteY10" fmla="*/ 518636 h 523875"/>
                <a:gd name="connsiteX11" fmla="*/ 793909 w 800100"/>
                <a:gd name="connsiteY11" fmla="*/ 479584 h 523875"/>
                <a:gd name="connsiteX12" fmla="*/ 136684 w 800100"/>
                <a:gd name="connsiteY12" fmla="*/ 35719 h 523875"/>
                <a:gd name="connsiteX13" fmla="*/ 664369 w 800100"/>
                <a:gd name="connsiteY13" fmla="*/ 35719 h 523875"/>
                <a:gd name="connsiteX14" fmla="*/ 664369 w 800100"/>
                <a:gd name="connsiteY14" fmla="*/ 345281 h 523875"/>
                <a:gd name="connsiteX15" fmla="*/ 136684 w 800100"/>
                <a:gd name="connsiteY15" fmla="*/ 345281 h 523875"/>
                <a:gd name="connsiteX16" fmla="*/ 136684 w 800100"/>
                <a:gd name="connsiteY16" fmla="*/ 35719 h 523875"/>
                <a:gd name="connsiteX17" fmla="*/ 754856 w 800100"/>
                <a:gd name="connsiteY17" fmla="*/ 490061 h 523875"/>
                <a:gd name="connsiteX18" fmla="*/ 47149 w 800100"/>
                <a:gd name="connsiteY18" fmla="*/ 490061 h 523875"/>
                <a:gd name="connsiteX19" fmla="*/ 35719 w 800100"/>
                <a:gd name="connsiteY19" fmla="*/ 480536 h 523875"/>
                <a:gd name="connsiteX20" fmla="*/ 44291 w 800100"/>
                <a:gd name="connsiteY20" fmla="*/ 453866 h 523875"/>
                <a:gd name="connsiteX21" fmla="*/ 128111 w 800100"/>
                <a:gd name="connsiteY21" fmla="*/ 373856 h 523875"/>
                <a:gd name="connsiteX22" fmla="*/ 672941 w 800100"/>
                <a:gd name="connsiteY22" fmla="*/ 373856 h 523875"/>
                <a:gd name="connsiteX23" fmla="*/ 756761 w 800100"/>
                <a:gd name="connsiteY23" fmla="*/ 453866 h 523875"/>
                <a:gd name="connsiteX24" fmla="*/ 765334 w 800100"/>
                <a:gd name="connsiteY24" fmla="*/ 480536 h 523875"/>
                <a:gd name="connsiteX25" fmla="*/ 754856 w 800100"/>
                <a:gd name="connsiteY25" fmla="*/ 49006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0100" h="523875">
                  <a:moveTo>
                    <a:pt x="793909" y="479584"/>
                  </a:moveTo>
                  <a:cubicBezTo>
                    <a:pt x="793909" y="462439"/>
                    <a:pt x="788194" y="446246"/>
                    <a:pt x="777716" y="433864"/>
                  </a:cubicBezTo>
                  <a:lnTo>
                    <a:pt x="691991" y="352901"/>
                  </a:lnTo>
                  <a:lnTo>
                    <a:pt x="691991" y="7144"/>
                  </a:lnTo>
                  <a:lnTo>
                    <a:pt x="108109" y="7144"/>
                  </a:lnTo>
                  <a:lnTo>
                    <a:pt x="108109" y="352901"/>
                  </a:lnTo>
                  <a:lnTo>
                    <a:pt x="24289" y="433864"/>
                  </a:lnTo>
                  <a:lnTo>
                    <a:pt x="23336" y="434816"/>
                  </a:lnTo>
                  <a:cubicBezTo>
                    <a:pt x="12859" y="447199"/>
                    <a:pt x="7144" y="463391"/>
                    <a:pt x="7144" y="480536"/>
                  </a:cubicBezTo>
                  <a:cubicBezTo>
                    <a:pt x="7144" y="501491"/>
                    <a:pt x="25241" y="518636"/>
                    <a:pt x="47149" y="518636"/>
                  </a:cubicBezTo>
                  <a:lnTo>
                    <a:pt x="754856" y="518636"/>
                  </a:lnTo>
                  <a:cubicBezTo>
                    <a:pt x="776764" y="518636"/>
                    <a:pt x="793909" y="501491"/>
                    <a:pt x="793909" y="479584"/>
                  </a:cubicBezTo>
                  <a:close/>
                  <a:moveTo>
                    <a:pt x="136684" y="35719"/>
                  </a:moveTo>
                  <a:lnTo>
                    <a:pt x="664369" y="35719"/>
                  </a:lnTo>
                  <a:lnTo>
                    <a:pt x="664369" y="345281"/>
                  </a:lnTo>
                  <a:lnTo>
                    <a:pt x="136684" y="345281"/>
                  </a:lnTo>
                  <a:lnTo>
                    <a:pt x="136684" y="35719"/>
                  </a:lnTo>
                  <a:close/>
                  <a:moveTo>
                    <a:pt x="754856" y="490061"/>
                  </a:moveTo>
                  <a:lnTo>
                    <a:pt x="47149" y="490061"/>
                  </a:lnTo>
                  <a:cubicBezTo>
                    <a:pt x="41434" y="490061"/>
                    <a:pt x="35719" y="485299"/>
                    <a:pt x="35719" y="480536"/>
                  </a:cubicBezTo>
                  <a:cubicBezTo>
                    <a:pt x="35719" y="471011"/>
                    <a:pt x="38576" y="460534"/>
                    <a:pt x="44291" y="453866"/>
                  </a:cubicBezTo>
                  <a:lnTo>
                    <a:pt x="128111" y="373856"/>
                  </a:lnTo>
                  <a:lnTo>
                    <a:pt x="672941" y="373856"/>
                  </a:lnTo>
                  <a:lnTo>
                    <a:pt x="756761" y="453866"/>
                  </a:lnTo>
                  <a:cubicBezTo>
                    <a:pt x="762476" y="460534"/>
                    <a:pt x="765334" y="471011"/>
                    <a:pt x="765334" y="480536"/>
                  </a:cubicBezTo>
                  <a:cubicBezTo>
                    <a:pt x="765334" y="485299"/>
                    <a:pt x="760571" y="490061"/>
                    <a:pt x="754856" y="49006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271" name="Group 270">
              <a:extLst>
                <a:ext uri="{FF2B5EF4-FFF2-40B4-BE49-F238E27FC236}">
                  <a16:creationId xmlns:a16="http://schemas.microsoft.com/office/drawing/2014/main" id="{9418D2DB-FA2D-43A2-A662-95AD4E6821AF}"/>
                </a:ext>
              </a:extLst>
            </p:cNvPr>
            <p:cNvGrpSpPr/>
            <p:nvPr/>
          </p:nvGrpSpPr>
          <p:grpSpPr>
            <a:xfrm>
              <a:off x="7043954" y="1590036"/>
              <a:ext cx="66128" cy="104893"/>
              <a:chOff x="7043954" y="1590036"/>
              <a:chExt cx="66128" cy="104893"/>
            </a:xfrm>
            <a:grpFill/>
          </p:grpSpPr>
          <p:sp>
            <p:nvSpPr>
              <p:cNvPr id="273" name="Freeform: Shape 272">
                <a:extLst>
                  <a:ext uri="{FF2B5EF4-FFF2-40B4-BE49-F238E27FC236}">
                    <a16:creationId xmlns:a16="http://schemas.microsoft.com/office/drawing/2014/main" id="{82DB9522-6AC7-4977-B059-142922129581}"/>
                  </a:ext>
                </a:extLst>
              </p:cNvPr>
              <p:cNvSpPr/>
              <p:nvPr/>
            </p:nvSpPr>
            <p:spPr>
              <a:xfrm>
                <a:off x="7069493" y="1671898"/>
                <a:ext cx="15962" cy="9121"/>
              </a:xfrm>
              <a:custGeom>
                <a:avLst/>
                <a:gdLst>
                  <a:gd name="connsiteX0" fmla="*/ 7144 w 66675"/>
                  <a:gd name="connsiteY0" fmla="*/ 7144 h 38100"/>
                  <a:gd name="connsiteX1" fmla="*/ 60484 w 66675"/>
                  <a:gd name="connsiteY1" fmla="*/ 7144 h 38100"/>
                  <a:gd name="connsiteX2" fmla="*/ 60484 w 66675"/>
                  <a:gd name="connsiteY2" fmla="*/ 35719 h 38100"/>
                  <a:gd name="connsiteX3" fmla="*/ 7144 w 666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0484" y="7144"/>
                    </a:lnTo>
                    <a:lnTo>
                      <a:pt x="60484" y="35719"/>
                    </a:lnTo>
                    <a:lnTo>
                      <a:pt x="7144"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9805084A-2249-4FFF-B8CC-ADD74D8D3419}"/>
                  </a:ext>
                </a:extLst>
              </p:cNvPr>
              <p:cNvSpPr/>
              <p:nvPr/>
            </p:nvSpPr>
            <p:spPr>
              <a:xfrm>
                <a:off x="7043954" y="1590036"/>
                <a:ext cx="66128" cy="104893"/>
              </a:xfrm>
              <a:custGeom>
                <a:avLst/>
                <a:gdLst>
                  <a:gd name="connsiteX0" fmla="*/ 34766 w 276225"/>
                  <a:gd name="connsiteY0" fmla="*/ 431006 h 438150"/>
                  <a:gd name="connsiteX1" fmla="*/ 246221 w 276225"/>
                  <a:gd name="connsiteY1" fmla="*/ 431006 h 438150"/>
                  <a:gd name="connsiteX2" fmla="*/ 273844 w 276225"/>
                  <a:gd name="connsiteY2" fmla="*/ 403384 h 438150"/>
                  <a:gd name="connsiteX3" fmla="*/ 273844 w 276225"/>
                  <a:gd name="connsiteY3" fmla="*/ 34766 h 438150"/>
                  <a:gd name="connsiteX4" fmla="*/ 246221 w 276225"/>
                  <a:gd name="connsiteY4" fmla="*/ 7144 h 438150"/>
                  <a:gd name="connsiteX5" fmla="*/ 34766 w 276225"/>
                  <a:gd name="connsiteY5" fmla="*/ 7144 h 438150"/>
                  <a:gd name="connsiteX6" fmla="*/ 7144 w 276225"/>
                  <a:gd name="connsiteY6" fmla="*/ 34766 h 438150"/>
                  <a:gd name="connsiteX7" fmla="*/ 7144 w 276225"/>
                  <a:gd name="connsiteY7" fmla="*/ 403384 h 438150"/>
                  <a:gd name="connsiteX8" fmla="*/ 34766 w 276225"/>
                  <a:gd name="connsiteY8" fmla="*/ 431006 h 438150"/>
                  <a:gd name="connsiteX9" fmla="*/ 35719 w 276225"/>
                  <a:gd name="connsiteY9" fmla="*/ 35719 h 438150"/>
                  <a:gd name="connsiteX10" fmla="*/ 245269 w 276225"/>
                  <a:gd name="connsiteY10" fmla="*/ 35719 h 438150"/>
                  <a:gd name="connsiteX11" fmla="*/ 245269 w 276225"/>
                  <a:gd name="connsiteY11" fmla="*/ 402431 h 438150"/>
                  <a:gd name="connsiteX12" fmla="*/ 35719 w 276225"/>
                  <a:gd name="connsiteY12" fmla="*/ 402431 h 438150"/>
                  <a:gd name="connsiteX13" fmla="*/ 35719 w 276225"/>
                  <a:gd name="connsiteY13" fmla="*/ 35719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225" h="438150">
                    <a:moveTo>
                      <a:pt x="34766" y="431006"/>
                    </a:moveTo>
                    <a:lnTo>
                      <a:pt x="246221" y="431006"/>
                    </a:lnTo>
                    <a:cubicBezTo>
                      <a:pt x="261461" y="431006"/>
                      <a:pt x="273844" y="418624"/>
                      <a:pt x="273844" y="403384"/>
                    </a:cubicBezTo>
                    <a:lnTo>
                      <a:pt x="273844" y="34766"/>
                    </a:lnTo>
                    <a:cubicBezTo>
                      <a:pt x="273844" y="19526"/>
                      <a:pt x="261461" y="7144"/>
                      <a:pt x="246221" y="7144"/>
                    </a:cubicBezTo>
                    <a:lnTo>
                      <a:pt x="34766" y="7144"/>
                    </a:lnTo>
                    <a:cubicBezTo>
                      <a:pt x="19526" y="7144"/>
                      <a:pt x="7144" y="19526"/>
                      <a:pt x="7144" y="34766"/>
                    </a:cubicBezTo>
                    <a:lnTo>
                      <a:pt x="7144" y="403384"/>
                    </a:lnTo>
                    <a:cubicBezTo>
                      <a:pt x="7144" y="418624"/>
                      <a:pt x="19526" y="431006"/>
                      <a:pt x="34766" y="431006"/>
                    </a:cubicBezTo>
                    <a:close/>
                    <a:moveTo>
                      <a:pt x="35719" y="35719"/>
                    </a:moveTo>
                    <a:lnTo>
                      <a:pt x="245269" y="35719"/>
                    </a:lnTo>
                    <a:lnTo>
                      <a:pt x="245269" y="402431"/>
                    </a:lnTo>
                    <a:lnTo>
                      <a:pt x="35719" y="402431"/>
                    </a:lnTo>
                    <a:lnTo>
                      <a:pt x="35719"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272" name="Freeform: Shape 271">
              <a:extLst>
                <a:ext uri="{FF2B5EF4-FFF2-40B4-BE49-F238E27FC236}">
                  <a16:creationId xmlns:a16="http://schemas.microsoft.com/office/drawing/2014/main" id="{26756D44-1D23-465A-9366-9792086ED055}"/>
                </a:ext>
              </a:extLst>
            </p:cNvPr>
            <p:cNvSpPr/>
            <p:nvPr/>
          </p:nvSpPr>
          <p:spPr>
            <a:xfrm>
              <a:off x="7257501" y="1894682"/>
              <a:ext cx="134537" cy="109454"/>
            </a:xfrm>
            <a:custGeom>
              <a:avLst/>
              <a:gdLst>
                <a:gd name="connsiteX0" fmla="*/ 541496 w 561975"/>
                <a:gd name="connsiteY0" fmla="*/ 7144 h 457200"/>
                <a:gd name="connsiteX1" fmla="*/ 21431 w 561975"/>
                <a:gd name="connsiteY1" fmla="*/ 7144 h 457200"/>
                <a:gd name="connsiteX2" fmla="*/ 7144 w 561975"/>
                <a:gd name="connsiteY2" fmla="*/ 21431 h 457200"/>
                <a:gd name="connsiteX3" fmla="*/ 7144 w 561975"/>
                <a:gd name="connsiteY3" fmla="*/ 328136 h 457200"/>
                <a:gd name="connsiteX4" fmla="*/ 21431 w 561975"/>
                <a:gd name="connsiteY4" fmla="*/ 342424 h 457200"/>
                <a:gd name="connsiteX5" fmla="*/ 371951 w 561975"/>
                <a:gd name="connsiteY5" fmla="*/ 342424 h 457200"/>
                <a:gd name="connsiteX6" fmla="*/ 483394 w 561975"/>
                <a:gd name="connsiteY6" fmla="*/ 448151 h 457200"/>
                <a:gd name="connsiteX7" fmla="*/ 492919 w 561975"/>
                <a:gd name="connsiteY7" fmla="*/ 451961 h 457200"/>
                <a:gd name="connsiteX8" fmla="*/ 498634 w 561975"/>
                <a:gd name="connsiteY8" fmla="*/ 451009 h 457200"/>
                <a:gd name="connsiteX9" fmla="*/ 507206 w 561975"/>
                <a:gd name="connsiteY9" fmla="*/ 437674 h 457200"/>
                <a:gd name="connsiteX10" fmla="*/ 507206 w 561975"/>
                <a:gd name="connsiteY10" fmla="*/ 342424 h 457200"/>
                <a:gd name="connsiteX11" fmla="*/ 541496 w 561975"/>
                <a:gd name="connsiteY11" fmla="*/ 342424 h 457200"/>
                <a:gd name="connsiteX12" fmla="*/ 555784 w 561975"/>
                <a:gd name="connsiteY12" fmla="*/ 328136 h 457200"/>
                <a:gd name="connsiteX13" fmla="*/ 555784 w 561975"/>
                <a:gd name="connsiteY13" fmla="*/ 21431 h 457200"/>
                <a:gd name="connsiteX14" fmla="*/ 541496 w 561975"/>
                <a:gd name="connsiteY14" fmla="*/ 7144 h 457200"/>
                <a:gd name="connsiteX15" fmla="*/ 527209 w 561975"/>
                <a:gd name="connsiteY15" fmla="*/ 314801 h 457200"/>
                <a:gd name="connsiteX16" fmla="*/ 492919 w 561975"/>
                <a:gd name="connsiteY16" fmla="*/ 314801 h 457200"/>
                <a:gd name="connsiteX17" fmla="*/ 478631 w 561975"/>
                <a:gd name="connsiteY17" fmla="*/ 329089 h 457200"/>
                <a:gd name="connsiteX18" fmla="*/ 478631 w 561975"/>
                <a:gd name="connsiteY18" fmla="*/ 405289 h 457200"/>
                <a:gd name="connsiteX19" fmla="*/ 387191 w 561975"/>
                <a:gd name="connsiteY19" fmla="*/ 318611 h 457200"/>
                <a:gd name="connsiteX20" fmla="*/ 377666 w 561975"/>
                <a:gd name="connsiteY20" fmla="*/ 314801 h 457200"/>
                <a:gd name="connsiteX21" fmla="*/ 35719 w 561975"/>
                <a:gd name="connsiteY21" fmla="*/ 314801 h 457200"/>
                <a:gd name="connsiteX22" fmla="*/ 35719 w 561975"/>
                <a:gd name="connsiteY22" fmla="*/ 36671 h 457200"/>
                <a:gd name="connsiteX23" fmla="*/ 527209 w 561975"/>
                <a:gd name="connsiteY23" fmla="*/ 36671 h 457200"/>
                <a:gd name="connsiteX24" fmla="*/ 527209 w 561975"/>
                <a:gd name="connsiteY24" fmla="*/ 31480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61975" h="457200">
                  <a:moveTo>
                    <a:pt x="541496" y="7144"/>
                  </a:moveTo>
                  <a:lnTo>
                    <a:pt x="21431" y="7144"/>
                  </a:lnTo>
                  <a:cubicBezTo>
                    <a:pt x="13811" y="7144"/>
                    <a:pt x="7144" y="13811"/>
                    <a:pt x="7144" y="21431"/>
                  </a:cubicBezTo>
                  <a:lnTo>
                    <a:pt x="7144" y="328136"/>
                  </a:lnTo>
                  <a:cubicBezTo>
                    <a:pt x="7144" y="335756"/>
                    <a:pt x="13811" y="342424"/>
                    <a:pt x="21431" y="342424"/>
                  </a:cubicBezTo>
                  <a:lnTo>
                    <a:pt x="371951" y="342424"/>
                  </a:lnTo>
                  <a:lnTo>
                    <a:pt x="483394" y="448151"/>
                  </a:lnTo>
                  <a:cubicBezTo>
                    <a:pt x="486251" y="451009"/>
                    <a:pt x="490061" y="451961"/>
                    <a:pt x="492919" y="451961"/>
                  </a:cubicBezTo>
                  <a:cubicBezTo>
                    <a:pt x="494824" y="451961"/>
                    <a:pt x="496729" y="451961"/>
                    <a:pt x="498634" y="451009"/>
                  </a:cubicBezTo>
                  <a:cubicBezTo>
                    <a:pt x="504349" y="449104"/>
                    <a:pt x="507206" y="443389"/>
                    <a:pt x="507206" y="437674"/>
                  </a:cubicBezTo>
                  <a:lnTo>
                    <a:pt x="507206" y="342424"/>
                  </a:lnTo>
                  <a:lnTo>
                    <a:pt x="541496" y="342424"/>
                  </a:lnTo>
                  <a:cubicBezTo>
                    <a:pt x="549116" y="342424"/>
                    <a:pt x="555784" y="335756"/>
                    <a:pt x="555784" y="328136"/>
                  </a:cubicBezTo>
                  <a:lnTo>
                    <a:pt x="555784" y="21431"/>
                  </a:lnTo>
                  <a:cubicBezTo>
                    <a:pt x="555784" y="13811"/>
                    <a:pt x="550069" y="7144"/>
                    <a:pt x="541496" y="7144"/>
                  </a:cubicBezTo>
                  <a:close/>
                  <a:moveTo>
                    <a:pt x="527209" y="314801"/>
                  </a:moveTo>
                  <a:lnTo>
                    <a:pt x="492919" y="314801"/>
                  </a:lnTo>
                  <a:cubicBezTo>
                    <a:pt x="485299" y="314801"/>
                    <a:pt x="478631" y="321469"/>
                    <a:pt x="478631" y="329089"/>
                  </a:cubicBezTo>
                  <a:lnTo>
                    <a:pt x="478631" y="405289"/>
                  </a:lnTo>
                  <a:lnTo>
                    <a:pt x="387191" y="318611"/>
                  </a:lnTo>
                  <a:cubicBezTo>
                    <a:pt x="384334" y="315754"/>
                    <a:pt x="381476" y="314801"/>
                    <a:pt x="377666" y="314801"/>
                  </a:cubicBezTo>
                  <a:lnTo>
                    <a:pt x="35719" y="314801"/>
                  </a:lnTo>
                  <a:lnTo>
                    <a:pt x="35719" y="36671"/>
                  </a:lnTo>
                  <a:lnTo>
                    <a:pt x="527209" y="36671"/>
                  </a:lnTo>
                  <a:lnTo>
                    <a:pt x="527209" y="314801"/>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466" name="Rectangle 465">
            <a:extLst>
              <a:ext uri="{FF2B5EF4-FFF2-40B4-BE49-F238E27FC236}">
                <a16:creationId xmlns:a16="http://schemas.microsoft.com/office/drawing/2014/main" id="{504D5E86-6CAA-449E-B3DD-9F78FDE8BB36}"/>
              </a:ext>
            </a:extLst>
          </p:cNvPr>
          <p:cNvSpPr/>
          <p:nvPr/>
        </p:nvSpPr>
        <p:spPr bwMode="auto">
          <a:xfrm>
            <a:off x="4424166"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0593">
              <a:spcBef>
                <a:spcPct val="0"/>
              </a:spcBef>
              <a:spcAft>
                <a:spcPct val="35000"/>
              </a:spcAft>
              <a:defRPr/>
            </a:pPr>
            <a:r>
              <a:rPr lang="en-US" sz="1600" kern="0" dirty="0">
                <a:solidFill>
                  <a:srgbClr val="0078D7"/>
                </a:solidFill>
                <a:latin typeface="Segoe UI Semibold" panose="020B0702040204020203" pitchFamily="34" charset="0"/>
                <a:cs typeface="Segoe UI Semibold" panose="020B0702040204020203" pitchFamily="34" charset="0"/>
              </a:rPr>
              <a:t>Store</a:t>
            </a:r>
          </a:p>
        </p:txBody>
      </p:sp>
      <p:sp>
        <p:nvSpPr>
          <p:cNvPr id="467" name="Rectangle 466">
            <a:extLst>
              <a:ext uri="{FF2B5EF4-FFF2-40B4-BE49-F238E27FC236}">
                <a16:creationId xmlns:a16="http://schemas.microsoft.com/office/drawing/2014/main" id="{7DF2C3B3-5648-4A4A-A232-FA0A9EB8D4CA}"/>
              </a:ext>
            </a:extLst>
          </p:cNvPr>
          <p:cNvSpPr/>
          <p:nvPr/>
        </p:nvSpPr>
        <p:spPr bwMode="auto">
          <a:xfrm>
            <a:off x="6926645" y="1428644"/>
            <a:ext cx="2342748" cy="5086455"/>
          </a:xfrm>
          <a:prstGeom prst="rect">
            <a:avLst/>
          </a:prstGeom>
          <a:solidFill>
            <a:srgbClr val="F8F8F8"/>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grpSp>
        <p:nvGrpSpPr>
          <p:cNvPr id="472" name="Group 471">
            <a:extLst>
              <a:ext uri="{FF2B5EF4-FFF2-40B4-BE49-F238E27FC236}">
                <a16:creationId xmlns:a16="http://schemas.microsoft.com/office/drawing/2014/main" id="{80B0A9DF-CD82-40C5-8A20-CB7716B5E6FB}"/>
              </a:ext>
            </a:extLst>
          </p:cNvPr>
          <p:cNvGrpSpPr/>
          <p:nvPr/>
        </p:nvGrpSpPr>
        <p:grpSpPr>
          <a:xfrm>
            <a:off x="10971412" y="5468803"/>
            <a:ext cx="577120" cy="448001"/>
            <a:chOff x="9971054" y="1093656"/>
            <a:chExt cx="429171" cy="333150"/>
          </a:xfrm>
        </p:grpSpPr>
        <p:sp>
          <p:nvSpPr>
            <p:cNvPr id="572" name="Freeform: Shape 571">
              <a:extLst>
                <a:ext uri="{FF2B5EF4-FFF2-40B4-BE49-F238E27FC236}">
                  <a16:creationId xmlns:a16="http://schemas.microsoft.com/office/drawing/2014/main" id="{D7C91798-AF09-482E-94C6-539648A8E28F}"/>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58E88832-A23D-48E6-84CB-06DE5436EF61}"/>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54A60FFF-6D7F-463C-9E6D-0E06964068A4}"/>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5" name="Freeform: Shape 574">
              <a:extLst>
                <a:ext uri="{FF2B5EF4-FFF2-40B4-BE49-F238E27FC236}">
                  <a16:creationId xmlns:a16="http://schemas.microsoft.com/office/drawing/2014/main" id="{CE7A3F1A-FE69-4674-83B8-A12DF6BA5728}"/>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6" name="Freeform: Shape 575">
              <a:extLst>
                <a:ext uri="{FF2B5EF4-FFF2-40B4-BE49-F238E27FC236}">
                  <a16:creationId xmlns:a16="http://schemas.microsoft.com/office/drawing/2014/main" id="{A5C859B5-DA63-4B59-BD42-C37823E96EFA}"/>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1DD0604F-F92C-4C64-938C-C4BD9DCF65A8}"/>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2883306B-86C7-4868-AEF6-D539BF41AB95}"/>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479" name="Shape 101">
            <a:extLst>
              <a:ext uri="{FF2B5EF4-FFF2-40B4-BE49-F238E27FC236}">
                <a16:creationId xmlns:a16="http://schemas.microsoft.com/office/drawing/2014/main" id="{5B803ED7-8D66-4700-A5DB-B7CFBA6D7B0F}"/>
              </a:ext>
            </a:extLst>
          </p:cNvPr>
          <p:cNvSpPr txBox="1"/>
          <p:nvPr/>
        </p:nvSpPr>
        <p:spPr>
          <a:xfrm>
            <a:off x="10775000" y="3026007"/>
            <a:ext cx="962269"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Intelligent apps</a:t>
            </a:r>
          </a:p>
        </p:txBody>
      </p:sp>
      <p:sp>
        <p:nvSpPr>
          <p:cNvPr id="480" name="Shape 101">
            <a:extLst>
              <a:ext uri="{FF2B5EF4-FFF2-40B4-BE49-F238E27FC236}">
                <a16:creationId xmlns:a16="http://schemas.microsoft.com/office/drawing/2014/main" id="{61723E1F-E158-44B3-9283-DC1F5243CAB8}"/>
              </a:ext>
            </a:extLst>
          </p:cNvPr>
          <p:cNvSpPr txBox="1"/>
          <p:nvPr/>
        </p:nvSpPr>
        <p:spPr>
          <a:xfrm>
            <a:off x="10984426" y="4170696"/>
            <a:ext cx="543417" cy="169277"/>
          </a:xfrm>
          <a:prstGeom prst="rect">
            <a:avLst/>
          </a:prstGeom>
          <a:noFill/>
          <a:ln>
            <a:noFill/>
          </a:ln>
        </p:spPr>
        <p:txBody>
          <a:bodyPr wrap="non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Power BI</a:t>
            </a:r>
          </a:p>
        </p:txBody>
      </p:sp>
      <p:sp>
        <p:nvSpPr>
          <p:cNvPr id="481" name="Shape 101">
            <a:extLst>
              <a:ext uri="{FF2B5EF4-FFF2-40B4-BE49-F238E27FC236}">
                <a16:creationId xmlns:a16="http://schemas.microsoft.com/office/drawing/2014/main" id="{8F70D404-6753-458F-8950-B1345494E689}"/>
              </a:ext>
            </a:extLst>
          </p:cNvPr>
          <p:cNvSpPr txBox="1"/>
          <p:nvPr/>
        </p:nvSpPr>
        <p:spPr>
          <a:xfrm>
            <a:off x="10647772" y="6024049"/>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nalysis services</a:t>
            </a:r>
          </a:p>
        </p:txBody>
      </p:sp>
      <p:sp>
        <p:nvSpPr>
          <p:cNvPr id="482" name="Shape 101">
            <a:extLst>
              <a:ext uri="{FF2B5EF4-FFF2-40B4-BE49-F238E27FC236}">
                <a16:creationId xmlns:a16="http://schemas.microsoft.com/office/drawing/2014/main" id="{399F2A2F-CDE2-4FF9-82B8-1B418AF7B8F3}"/>
              </a:ext>
            </a:extLst>
          </p:cNvPr>
          <p:cNvSpPr txBox="1"/>
          <p:nvPr/>
        </p:nvSpPr>
        <p:spPr>
          <a:xfrm>
            <a:off x="9484158" y="6024049"/>
            <a:ext cx="1089497" cy="419031"/>
          </a:xfrm>
          <a:prstGeom prst="rect">
            <a:avLst/>
          </a:prstGeom>
          <a:noFill/>
          <a:ln>
            <a:noFill/>
          </a:ln>
        </p:spPr>
        <p:txBody>
          <a:bodyPr wrap="square" lIns="0" tIns="0" rIns="0" bIns="0" anchor="t" anchorCtr="0">
            <a:noAutofit/>
          </a:bodyPr>
          <a:lstStyle>
            <a:defPPr>
              <a:defRPr lang="en-US"/>
            </a:defPPr>
            <a:lvl1pPr marR="0" lvl="0" indent="0" algn="ctr" defTabSz="932597" fontAlgn="auto">
              <a:lnSpc>
                <a:spcPct val="100000"/>
              </a:lnSpc>
              <a:spcBef>
                <a:spcPts val="0"/>
              </a:spcBef>
              <a:spcAft>
                <a:spcPts val="0"/>
              </a:spcAft>
              <a:buClrTx/>
              <a:buSzTx/>
              <a:buFontTx/>
              <a:buNone/>
              <a:tabLst/>
              <a:defRPr kumimoji="0" sz="1100" b="0" i="0" u="none" strike="noStrike" kern="0" cap="none" spc="0" normalizeH="0" baseline="0">
                <a:ln>
                  <a:noFill/>
                </a:ln>
                <a:effectLst/>
                <a:uLnTx/>
                <a:uFillTx/>
                <a:latin typeface="Segoe UI"/>
                <a:cs typeface="Segoe UI Semibold" panose="020B0702040204020203" pitchFamily="34" charset="0"/>
              </a:defRPr>
            </a:lvl1pPr>
          </a:lstStyle>
          <a:p>
            <a:r>
              <a:rPr lang="en-US" dirty="0">
                <a:sym typeface="Calibri"/>
              </a:rPr>
              <a:t>Azure SQL data warehouse</a:t>
            </a:r>
          </a:p>
        </p:txBody>
      </p:sp>
      <p:sp>
        <p:nvSpPr>
          <p:cNvPr id="483" name="Shape 101">
            <a:extLst>
              <a:ext uri="{FF2B5EF4-FFF2-40B4-BE49-F238E27FC236}">
                <a16:creationId xmlns:a16="http://schemas.microsoft.com/office/drawing/2014/main" id="{BAE3DC0A-FFC5-4800-95E6-98231D3063FF}"/>
              </a:ext>
            </a:extLst>
          </p:cNvPr>
          <p:cNvSpPr txBox="1"/>
          <p:nvPr/>
        </p:nvSpPr>
        <p:spPr>
          <a:xfrm>
            <a:off x="9519036" y="3026007"/>
            <a:ext cx="962269"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b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b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cosmos DB</a:t>
            </a:r>
          </a:p>
        </p:txBody>
      </p:sp>
      <p:sp>
        <p:nvSpPr>
          <p:cNvPr id="486" name="Shape 101">
            <a:extLst>
              <a:ext uri="{FF2B5EF4-FFF2-40B4-BE49-F238E27FC236}">
                <a16:creationId xmlns:a16="http://schemas.microsoft.com/office/drawing/2014/main" id="{94FDE7C4-B6FE-446F-B7A9-1A03D6DD8457}"/>
              </a:ext>
            </a:extLst>
          </p:cNvPr>
          <p:cNvSpPr txBox="1"/>
          <p:nvPr/>
        </p:nvSpPr>
        <p:spPr>
          <a:xfrm>
            <a:off x="4572858" y="6188971"/>
            <a:ext cx="1986257"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blob storage</a:t>
            </a:r>
          </a:p>
        </p:txBody>
      </p:sp>
      <p:sp>
        <p:nvSpPr>
          <p:cNvPr id="487" name="Shape 101">
            <a:extLst>
              <a:ext uri="{FF2B5EF4-FFF2-40B4-BE49-F238E27FC236}">
                <a16:creationId xmlns:a16="http://schemas.microsoft.com/office/drawing/2014/main" id="{A3D43BC8-EE47-495C-A006-B591F87446FC}"/>
              </a:ext>
            </a:extLst>
          </p:cNvPr>
          <p:cNvSpPr txBox="1"/>
          <p:nvPr/>
        </p:nvSpPr>
        <p:spPr>
          <a:xfrm>
            <a:off x="2457938" y="6188971"/>
            <a:ext cx="1334036"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data factory</a:t>
            </a:r>
          </a:p>
        </p:txBody>
      </p:sp>
      <p:sp>
        <p:nvSpPr>
          <p:cNvPr id="489" name="Shape 101">
            <a:extLst>
              <a:ext uri="{FF2B5EF4-FFF2-40B4-BE49-F238E27FC236}">
                <a16:creationId xmlns:a16="http://schemas.microsoft.com/office/drawing/2014/main" id="{909D445E-4E6B-4F84-9A5E-7E3B316E9B0D}"/>
              </a:ext>
            </a:extLst>
          </p:cNvPr>
          <p:cNvSpPr txBox="1"/>
          <p:nvPr/>
        </p:nvSpPr>
        <p:spPr>
          <a:xfrm>
            <a:off x="2930947" y="2537415"/>
            <a:ext cx="1161243" cy="344077"/>
          </a:xfrm>
          <a:prstGeom prst="rect">
            <a:avLst/>
          </a:prstGeom>
          <a:noFill/>
          <a:ln>
            <a:noFill/>
          </a:ln>
        </p:spPr>
        <p:txBody>
          <a:bodyPr wrap="square" lIns="0" tIns="0" rIns="0" bIns="0" anchor="t" anchorCtr="0">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r>
              <a:rPr lang="en-US" sz="1100" kern="0" dirty="0">
                <a:latin typeface="Segoe UI"/>
                <a:cs typeface="Segoe UI Semibold" panose="020B0702040204020203" pitchFamily="34" charset="0"/>
                <a:sym typeface="Calibri"/>
              </a:rPr>
              <a:t>HD</a:t>
            </a: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insight</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pache </a:t>
            </a:r>
            <a:r>
              <a:rPr kumimoji="0" lang="en-US" sz="1100" b="0" i="0" u="none" strike="noStrike" kern="0" cap="none" spc="0" normalizeH="0" baseline="0" noProof="0" dirty="0" err="1">
                <a:ln>
                  <a:noFill/>
                </a:ln>
                <a:effectLst/>
                <a:uLnTx/>
                <a:uFillTx/>
                <a:latin typeface="Segoe UI"/>
                <a:ea typeface="+mn-ea"/>
                <a:cs typeface="Segoe UI Semibold" panose="020B0702040204020203" pitchFamily="34" charset="0"/>
                <a:sym typeface="Calibri"/>
              </a:rPr>
              <a:t>kafka</a:t>
            </a: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t>
            </a:r>
          </a:p>
        </p:txBody>
      </p:sp>
      <p:cxnSp>
        <p:nvCxnSpPr>
          <p:cNvPr id="490" name="Straight Connector 489">
            <a:extLst>
              <a:ext uri="{FF2B5EF4-FFF2-40B4-BE49-F238E27FC236}">
                <a16:creationId xmlns:a16="http://schemas.microsoft.com/office/drawing/2014/main" id="{BE10186C-C8CA-41C3-8119-09A53A527E62}"/>
              </a:ext>
            </a:extLst>
          </p:cNvPr>
          <p:cNvCxnSpPr>
            <a:cxnSpLocks/>
          </p:cNvCxnSpPr>
          <p:nvPr/>
        </p:nvCxnSpPr>
        <p:spPr>
          <a:xfrm flipV="1">
            <a:off x="11257843" y="4467860"/>
            <a:ext cx="0" cy="934366"/>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1" name="Straight Connector 490">
            <a:extLst>
              <a:ext uri="{FF2B5EF4-FFF2-40B4-BE49-F238E27FC236}">
                <a16:creationId xmlns:a16="http://schemas.microsoft.com/office/drawing/2014/main" id="{1D4AABA3-B5A4-4C43-A95D-1092418C56BE}"/>
              </a:ext>
            </a:extLst>
          </p:cNvPr>
          <p:cNvCxnSpPr>
            <a:cxnSpLocks/>
          </p:cNvCxnSpPr>
          <p:nvPr/>
        </p:nvCxnSpPr>
        <p:spPr>
          <a:xfrm rot="5400000" flipV="1">
            <a:off x="10647772" y="5457199"/>
            <a:ext cx="0" cy="507949"/>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2" name="Straight Connector 491">
            <a:extLst>
              <a:ext uri="{FF2B5EF4-FFF2-40B4-BE49-F238E27FC236}">
                <a16:creationId xmlns:a16="http://schemas.microsoft.com/office/drawing/2014/main" id="{C44B2690-EB2A-4F16-AA17-10BB0787A90B}"/>
              </a:ext>
            </a:extLst>
          </p:cNvPr>
          <p:cNvCxnSpPr>
            <a:cxnSpLocks/>
          </p:cNvCxnSpPr>
          <p:nvPr/>
        </p:nvCxnSpPr>
        <p:spPr>
          <a:xfrm rot="5400000" flipV="1">
            <a:off x="10588270" y="2329870"/>
            <a:ext cx="0" cy="507949"/>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3" name="Straight Connector 492">
            <a:extLst>
              <a:ext uri="{FF2B5EF4-FFF2-40B4-BE49-F238E27FC236}">
                <a16:creationId xmlns:a16="http://schemas.microsoft.com/office/drawing/2014/main" id="{520BDD4B-FAAC-419B-A228-179E171E69A9}"/>
              </a:ext>
            </a:extLst>
          </p:cNvPr>
          <p:cNvCxnSpPr>
            <a:cxnSpLocks/>
          </p:cNvCxnSpPr>
          <p:nvPr/>
        </p:nvCxnSpPr>
        <p:spPr>
          <a:xfrm>
            <a:off x="5976169" y="5725923"/>
            <a:ext cx="3709098"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496" name="Freeform: Shape 495">
            <a:extLst>
              <a:ext uri="{FF2B5EF4-FFF2-40B4-BE49-F238E27FC236}">
                <a16:creationId xmlns:a16="http://schemas.microsoft.com/office/drawing/2014/main" id="{4994255B-E9C9-4EBC-9D56-11D83C015B32}"/>
              </a:ext>
            </a:extLst>
          </p:cNvPr>
          <p:cNvSpPr/>
          <p:nvPr/>
        </p:nvSpPr>
        <p:spPr bwMode="auto">
          <a:xfrm>
            <a:off x="8110220" y="5104635"/>
            <a:ext cx="1575031" cy="465585"/>
          </a:xfrm>
          <a:custGeom>
            <a:avLst/>
            <a:gdLst>
              <a:gd name="connsiteX0" fmla="*/ 0 w 952500"/>
              <a:gd name="connsiteY0" fmla="*/ 0 h 165100"/>
              <a:gd name="connsiteX1" fmla="*/ 0 w 952500"/>
              <a:gd name="connsiteY1" fmla="*/ 165100 h 165100"/>
              <a:gd name="connsiteX2" fmla="*/ 952500 w 952500"/>
              <a:gd name="connsiteY2" fmla="*/ 165100 h 165100"/>
            </a:gdLst>
            <a:ahLst/>
            <a:cxnLst>
              <a:cxn ang="0">
                <a:pos x="connsiteX0" y="connsiteY0"/>
              </a:cxn>
              <a:cxn ang="0">
                <a:pos x="connsiteX1" y="connsiteY1"/>
              </a:cxn>
              <a:cxn ang="0">
                <a:pos x="connsiteX2" y="connsiteY2"/>
              </a:cxn>
            </a:cxnLst>
            <a:rect l="l" t="t" r="r" b="b"/>
            <a:pathLst>
              <a:path w="952500" h="165100">
                <a:moveTo>
                  <a:pt x="0" y="0"/>
                </a:moveTo>
                <a:lnTo>
                  <a:pt x="0" y="165100"/>
                </a:lnTo>
                <a:lnTo>
                  <a:pt x="952500" y="165100"/>
                </a:lnTo>
              </a:path>
            </a:pathLst>
          </a:custGeom>
          <a:noFill/>
          <a:ln w="19050" cap="flat" cmpd="sng" algn="ctr">
            <a:solidFill>
              <a:srgbClr val="FFFFFF">
                <a:lumMod val="75000"/>
              </a:srgbClr>
            </a:solidFill>
            <a:prstDash val="solid"/>
            <a:headEnd type="arrow" w="med" len="sm"/>
            <a:tailEnd type="arrow"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cxnSp>
        <p:nvCxnSpPr>
          <p:cNvPr id="497" name="Straight Connector 496">
            <a:extLst>
              <a:ext uri="{FF2B5EF4-FFF2-40B4-BE49-F238E27FC236}">
                <a16:creationId xmlns:a16="http://schemas.microsoft.com/office/drawing/2014/main" id="{5F23B0AD-8120-45FC-9283-00256D5D1570}"/>
              </a:ext>
            </a:extLst>
          </p:cNvPr>
          <p:cNvCxnSpPr>
            <a:cxnSpLocks/>
          </p:cNvCxnSpPr>
          <p:nvPr/>
        </p:nvCxnSpPr>
        <p:spPr>
          <a:xfrm>
            <a:off x="3464241" y="5725923"/>
            <a:ext cx="1726645" cy="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8" name="Straight Connector 497">
            <a:extLst>
              <a:ext uri="{FF2B5EF4-FFF2-40B4-BE49-F238E27FC236}">
                <a16:creationId xmlns:a16="http://schemas.microsoft.com/office/drawing/2014/main" id="{BF4EC55E-2E9B-4A4E-BD90-E94C786DB73E}"/>
              </a:ext>
            </a:extLst>
          </p:cNvPr>
          <p:cNvCxnSpPr>
            <a:cxnSpLocks/>
          </p:cNvCxnSpPr>
          <p:nvPr/>
        </p:nvCxnSpPr>
        <p:spPr>
          <a:xfrm>
            <a:off x="1613852" y="5725923"/>
            <a:ext cx="1170499" cy="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500" name="Straight Connector 499">
            <a:extLst>
              <a:ext uri="{FF2B5EF4-FFF2-40B4-BE49-F238E27FC236}">
                <a16:creationId xmlns:a16="http://schemas.microsoft.com/office/drawing/2014/main" id="{C83C8DDF-E2A1-49B7-B23D-4902F846657A}"/>
              </a:ext>
            </a:extLst>
          </p:cNvPr>
          <p:cNvCxnSpPr>
            <a:cxnSpLocks/>
          </p:cNvCxnSpPr>
          <p:nvPr/>
        </p:nvCxnSpPr>
        <p:spPr>
          <a:xfrm>
            <a:off x="5568136" y="3976509"/>
            <a:ext cx="0" cy="146304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501" name="Straight Connector 500">
            <a:extLst>
              <a:ext uri="{FF2B5EF4-FFF2-40B4-BE49-F238E27FC236}">
                <a16:creationId xmlns:a16="http://schemas.microsoft.com/office/drawing/2014/main" id="{179073DC-519E-4634-B566-3D7C9866B233}"/>
              </a:ext>
            </a:extLst>
          </p:cNvPr>
          <p:cNvCxnSpPr>
            <a:cxnSpLocks/>
          </p:cNvCxnSpPr>
          <p:nvPr/>
        </p:nvCxnSpPr>
        <p:spPr>
          <a:xfrm>
            <a:off x="1613852" y="2709453"/>
            <a:ext cx="677235"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505" name="Freeform: Shape 504">
            <a:extLst>
              <a:ext uri="{FF2B5EF4-FFF2-40B4-BE49-F238E27FC236}">
                <a16:creationId xmlns:a16="http://schemas.microsoft.com/office/drawing/2014/main" id="{9466342B-17DB-4914-A9EA-03C9C70BAEFF}"/>
              </a:ext>
            </a:extLst>
          </p:cNvPr>
          <p:cNvSpPr/>
          <p:nvPr/>
        </p:nvSpPr>
        <p:spPr bwMode="auto">
          <a:xfrm>
            <a:off x="1429151" y="1834297"/>
            <a:ext cx="179206" cy="1750312"/>
          </a:xfrm>
          <a:custGeom>
            <a:avLst/>
            <a:gdLst>
              <a:gd name="connsiteX0" fmla="*/ 0 w 121920"/>
              <a:gd name="connsiteY0" fmla="*/ 0 h 746760"/>
              <a:gd name="connsiteX1" fmla="*/ 121920 w 121920"/>
              <a:gd name="connsiteY1" fmla="*/ 0 h 746760"/>
              <a:gd name="connsiteX2" fmla="*/ 121920 w 121920"/>
              <a:gd name="connsiteY2" fmla="*/ 746760 h 746760"/>
              <a:gd name="connsiteX3" fmla="*/ 5080 w 121920"/>
              <a:gd name="connsiteY3" fmla="*/ 746760 h 746760"/>
            </a:gdLst>
            <a:ahLst/>
            <a:cxnLst>
              <a:cxn ang="0">
                <a:pos x="connsiteX0" y="connsiteY0"/>
              </a:cxn>
              <a:cxn ang="0">
                <a:pos x="connsiteX1" y="connsiteY1"/>
              </a:cxn>
              <a:cxn ang="0">
                <a:pos x="connsiteX2" y="connsiteY2"/>
              </a:cxn>
              <a:cxn ang="0">
                <a:pos x="connsiteX3" y="connsiteY3"/>
              </a:cxn>
            </a:cxnLst>
            <a:rect l="l" t="t" r="r" b="b"/>
            <a:pathLst>
              <a:path w="121920" h="746760">
                <a:moveTo>
                  <a:pt x="0" y="0"/>
                </a:moveTo>
                <a:lnTo>
                  <a:pt x="121920" y="0"/>
                </a:lnTo>
                <a:lnTo>
                  <a:pt x="121920" y="746760"/>
                </a:lnTo>
                <a:lnTo>
                  <a:pt x="5080" y="746760"/>
                </a:lnTo>
              </a:path>
            </a:pathLst>
          </a:custGeom>
          <a:noFill/>
          <a:ln w="19050" cap="flat" cmpd="sng" algn="ctr">
            <a:solidFill>
              <a:srgbClr val="FFFFFF">
                <a:lumMod val="75000"/>
              </a:srgbClr>
            </a:solidFill>
            <a:prstDash val="solid"/>
            <a:headEnd type="none" w="med" len="sm"/>
            <a:tailEnd type="none"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06" name="Freeform: Shape 505">
            <a:extLst>
              <a:ext uri="{FF2B5EF4-FFF2-40B4-BE49-F238E27FC236}">
                <a16:creationId xmlns:a16="http://schemas.microsoft.com/office/drawing/2014/main" id="{A2E8EBC6-6074-4354-900A-D2417E7E8A21}"/>
              </a:ext>
            </a:extLst>
          </p:cNvPr>
          <p:cNvSpPr/>
          <p:nvPr/>
        </p:nvSpPr>
        <p:spPr bwMode="auto">
          <a:xfrm>
            <a:off x="1437496" y="5124772"/>
            <a:ext cx="179206" cy="1206710"/>
          </a:xfrm>
          <a:custGeom>
            <a:avLst/>
            <a:gdLst>
              <a:gd name="connsiteX0" fmla="*/ 0 w 121920"/>
              <a:gd name="connsiteY0" fmla="*/ 0 h 746760"/>
              <a:gd name="connsiteX1" fmla="*/ 121920 w 121920"/>
              <a:gd name="connsiteY1" fmla="*/ 0 h 746760"/>
              <a:gd name="connsiteX2" fmla="*/ 121920 w 121920"/>
              <a:gd name="connsiteY2" fmla="*/ 746760 h 746760"/>
              <a:gd name="connsiteX3" fmla="*/ 5080 w 121920"/>
              <a:gd name="connsiteY3" fmla="*/ 746760 h 746760"/>
            </a:gdLst>
            <a:ahLst/>
            <a:cxnLst>
              <a:cxn ang="0">
                <a:pos x="connsiteX0" y="connsiteY0"/>
              </a:cxn>
              <a:cxn ang="0">
                <a:pos x="connsiteX1" y="connsiteY1"/>
              </a:cxn>
              <a:cxn ang="0">
                <a:pos x="connsiteX2" y="connsiteY2"/>
              </a:cxn>
              <a:cxn ang="0">
                <a:pos x="connsiteX3" y="connsiteY3"/>
              </a:cxn>
            </a:cxnLst>
            <a:rect l="l" t="t" r="r" b="b"/>
            <a:pathLst>
              <a:path w="121920" h="746760">
                <a:moveTo>
                  <a:pt x="0" y="0"/>
                </a:moveTo>
                <a:lnTo>
                  <a:pt x="121920" y="0"/>
                </a:lnTo>
                <a:lnTo>
                  <a:pt x="121920" y="746760"/>
                </a:lnTo>
                <a:lnTo>
                  <a:pt x="5080" y="746760"/>
                </a:lnTo>
              </a:path>
            </a:pathLst>
          </a:custGeom>
          <a:noFill/>
          <a:ln w="19050" cap="flat" cmpd="sng" algn="ctr">
            <a:solidFill>
              <a:srgbClr val="FFFFFF">
                <a:lumMod val="75000"/>
              </a:srgbClr>
            </a:solidFill>
            <a:prstDash val="solid"/>
            <a:headEnd type="none" w="med" len="sm"/>
            <a:tailEnd type="none"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A22DECD5-D0A8-4EBB-A233-7EA7EFA8F76D}"/>
              </a:ext>
            </a:extLst>
          </p:cNvPr>
          <p:cNvSpPr/>
          <p:nvPr/>
        </p:nvSpPr>
        <p:spPr bwMode="auto">
          <a:xfrm>
            <a:off x="8112760" y="2564248"/>
            <a:ext cx="1565333" cy="285985"/>
          </a:xfrm>
          <a:custGeom>
            <a:avLst/>
            <a:gdLst>
              <a:gd name="connsiteX0" fmla="*/ 990600 w 990600"/>
              <a:gd name="connsiteY0" fmla="*/ 0 h 624840"/>
              <a:gd name="connsiteX1" fmla="*/ 0 w 990600"/>
              <a:gd name="connsiteY1" fmla="*/ 0 h 624840"/>
              <a:gd name="connsiteX2" fmla="*/ 0 w 990600"/>
              <a:gd name="connsiteY2" fmla="*/ 624840 h 624840"/>
            </a:gdLst>
            <a:ahLst/>
            <a:cxnLst>
              <a:cxn ang="0">
                <a:pos x="connsiteX0" y="connsiteY0"/>
              </a:cxn>
              <a:cxn ang="0">
                <a:pos x="connsiteX1" y="connsiteY1"/>
              </a:cxn>
              <a:cxn ang="0">
                <a:pos x="connsiteX2" y="connsiteY2"/>
              </a:cxn>
            </a:cxnLst>
            <a:rect l="l" t="t" r="r" b="b"/>
            <a:pathLst>
              <a:path w="990600" h="624840">
                <a:moveTo>
                  <a:pt x="990600" y="0"/>
                </a:moveTo>
                <a:lnTo>
                  <a:pt x="0" y="0"/>
                </a:lnTo>
                <a:lnTo>
                  <a:pt x="0" y="624840"/>
                </a:lnTo>
              </a:path>
            </a:pathLst>
          </a:custGeom>
          <a:noFill/>
          <a:ln w="19050" cap="flat" cmpd="sng" algn="ctr">
            <a:solidFill>
              <a:srgbClr val="FFFFFF">
                <a:lumMod val="75000"/>
              </a:srgbClr>
            </a:solidFill>
            <a:prstDash val="solid"/>
            <a:headEnd type="arrow" w="sm" len="sm"/>
            <a:tailEnd type="arrow"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A885EC70-DEC2-43D0-B83C-CEFE802F0F86}"/>
              </a:ext>
            </a:extLst>
          </p:cNvPr>
          <p:cNvSpPr/>
          <p:nvPr/>
        </p:nvSpPr>
        <p:spPr bwMode="auto">
          <a:xfrm>
            <a:off x="4015739" y="2709453"/>
            <a:ext cx="3250119" cy="1267056"/>
          </a:xfrm>
          <a:custGeom>
            <a:avLst/>
            <a:gdLst>
              <a:gd name="connsiteX0" fmla="*/ 0 w 3817620"/>
              <a:gd name="connsiteY0" fmla="*/ 0 h 1341120"/>
              <a:gd name="connsiteX1" fmla="*/ 548640 w 3817620"/>
              <a:gd name="connsiteY1" fmla="*/ 0 h 1341120"/>
              <a:gd name="connsiteX2" fmla="*/ 548640 w 3817620"/>
              <a:gd name="connsiteY2" fmla="*/ 1341120 h 1341120"/>
              <a:gd name="connsiteX3" fmla="*/ 3817620 w 3817620"/>
              <a:gd name="connsiteY3" fmla="*/ 1341120 h 1341120"/>
            </a:gdLst>
            <a:ahLst/>
            <a:cxnLst>
              <a:cxn ang="0">
                <a:pos x="connsiteX0" y="connsiteY0"/>
              </a:cxn>
              <a:cxn ang="0">
                <a:pos x="connsiteX1" y="connsiteY1"/>
              </a:cxn>
              <a:cxn ang="0">
                <a:pos x="connsiteX2" y="connsiteY2"/>
              </a:cxn>
              <a:cxn ang="0">
                <a:pos x="connsiteX3" y="connsiteY3"/>
              </a:cxn>
            </a:cxnLst>
            <a:rect l="l" t="t" r="r" b="b"/>
            <a:pathLst>
              <a:path w="3817620" h="1341120">
                <a:moveTo>
                  <a:pt x="0" y="0"/>
                </a:moveTo>
                <a:lnTo>
                  <a:pt x="548640" y="0"/>
                </a:lnTo>
                <a:lnTo>
                  <a:pt x="548640" y="1341120"/>
                </a:lnTo>
                <a:lnTo>
                  <a:pt x="3817620" y="1341120"/>
                </a:lnTo>
              </a:path>
            </a:pathLst>
          </a:custGeom>
          <a:noFill/>
          <a:ln w="19050" cap="flat" cmpd="sng" algn="ctr">
            <a:solidFill>
              <a:srgbClr val="FFFFFF">
                <a:lumMod val="75000"/>
              </a:srgbClr>
            </a:solidFill>
            <a:prstDash val="solid"/>
            <a:headEnd type="none" w="sm" len="sm"/>
            <a:tailEnd type="arrow"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65" name="Straight Connector 264">
            <a:extLst>
              <a:ext uri="{FF2B5EF4-FFF2-40B4-BE49-F238E27FC236}">
                <a16:creationId xmlns:a16="http://schemas.microsoft.com/office/drawing/2014/main" id="{94045030-7BA7-44FA-A97F-77BC99305F79}"/>
              </a:ext>
            </a:extLst>
          </p:cNvPr>
          <p:cNvCxnSpPr>
            <a:cxnSpLocks/>
          </p:cNvCxnSpPr>
          <p:nvPr/>
        </p:nvCxnSpPr>
        <p:spPr>
          <a:xfrm>
            <a:off x="8933688" y="3974585"/>
            <a:ext cx="1957716"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283" name="Freeform: Shape 282">
            <a:extLst>
              <a:ext uri="{FF2B5EF4-FFF2-40B4-BE49-F238E27FC236}">
                <a16:creationId xmlns:a16="http://schemas.microsoft.com/office/drawing/2014/main" id="{07DA854C-AB6E-4A4C-83AB-FA100724765D}"/>
              </a:ext>
            </a:extLst>
          </p:cNvPr>
          <p:cNvSpPr/>
          <p:nvPr/>
        </p:nvSpPr>
        <p:spPr>
          <a:xfrm>
            <a:off x="11021465" y="3754665"/>
            <a:ext cx="469339" cy="347311"/>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EE5A03D9-15C4-4515-A311-091E399EC965}"/>
              </a:ext>
            </a:extLst>
          </p:cNvPr>
          <p:cNvGrpSpPr/>
          <p:nvPr/>
        </p:nvGrpSpPr>
        <p:grpSpPr>
          <a:xfrm>
            <a:off x="7130975" y="2905128"/>
            <a:ext cx="1934088" cy="2102029"/>
            <a:chOff x="7130975" y="2905128"/>
            <a:chExt cx="1934088" cy="2102029"/>
          </a:xfrm>
        </p:grpSpPr>
        <p:sp>
          <p:nvSpPr>
            <p:cNvPr id="176" name="Shape 101">
              <a:extLst>
                <a:ext uri="{FF2B5EF4-FFF2-40B4-BE49-F238E27FC236}">
                  <a16:creationId xmlns:a16="http://schemas.microsoft.com/office/drawing/2014/main" id="{20A300C7-6A72-41CE-8E51-893387FEF7B6}"/>
                </a:ext>
              </a:extLst>
            </p:cNvPr>
            <p:cNvSpPr txBox="1"/>
            <p:nvPr/>
          </p:nvSpPr>
          <p:spPr>
            <a:xfrm>
              <a:off x="7130975" y="2905128"/>
              <a:ext cx="1934088"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Data science and AI</a:t>
              </a:r>
            </a:p>
          </p:txBody>
        </p:sp>
        <p:sp>
          <p:nvSpPr>
            <p:cNvPr id="177" name="Shape 101">
              <a:extLst>
                <a:ext uri="{FF2B5EF4-FFF2-40B4-BE49-F238E27FC236}">
                  <a16:creationId xmlns:a16="http://schemas.microsoft.com/office/drawing/2014/main" id="{05E2BE5E-A1FE-4354-A186-51C101C59BDC}"/>
                </a:ext>
              </a:extLst>
            </p:cNvPr>
            <p:cNvSpPr txBox="1"/>
            <p:nvPr/>
          </p:nvSpPr>
          <p:spPr>
            <a:xfrm>
              <a:off x="7352975" y="4837880"/>
              <a:ext cx="1490088"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Data engineering</a:t>
              </a:r>
            </a:p>
          </p:txBody>
        </p:sp>
        <p:grpSp>
          <p:nvGrpSpPr>
            <p:cNvPr id="9" name="Group 8">
              <a:extLst>
                <a:ext uri="{FF2B5EF4-FFF2-40B4-BE49-F238E27FC236}">
                  <a16:creationId xmlns:a16="http://schemas.microsoft.com/office/drawing/2014/main" id="{3A0736F4-D58C-4101-9A50-654661269BCA}"/>
                </a:ext>
              </a:extLst>
            </p:cNvPr>
            <p:cNvGrpSpPr/>
            <p:nvPr/>
          </p:nvGrpSpPr>
          <p:grpSpPr>
            <a:xfrm>
              <a:off x="7376901" y="3168587"/>
              <a:ext cx="1442236" cy="1571815"/>
              <a:chOff x="7376901" y="3168587"/>
              <a:chExt cx="1442236" cy="1571815"/>
            </a:xfrm>
          </p:grpSpPr>
          <p:sp>
            <p:nvSpPr>
              <p:cNvPr id="175" name="Shape 101">
                <a:extLst>
                  <a:ext uri="{FF2B5EF4-FFF2-40B4-BE49-F238E27FC236}">
                    <a16:creationId xmlns:a16="http://schemas.microsoft.com/office/drawing/2014/main" id="{CB57554A-2BCA-4D35-8A16-3D573C3E2725}"/>
                  </a:ext>
                </a:extLst>
              </p:cNvPr>
              <p:cNvSpPr txBox="1"/>
              <p:nvPr/>
            </p:nvSpPr>
            <p:spPr>
              <a:xfrm>
                <a:off x="7564809" y="4205735"/>
                <a:ext cx="1066421"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r>
                  <a:rPr kumimoji="0" lang="en-US" sz="1100" b="0" i="0" u="none" strike="noStrike" kern="0" cap="none" spc="0" normalizeH="0" baseline="0" noProof="0" dirty="0" err="1">
                    <a:ln>
                      <a:noFill/>
                    </a:ln>
                    <a:effectLst/>
                    <a:uLnTx/>
                    <a:uFillTx/>
                    <a:latin typeface="Segoe UI"/>
                    <a:ea typeface="+mn-ea"/>
                    <a:cs typeface="Segoe UI Semibold" panose="020B0702040204020203" pitchFamily="34" charset="0"/>
                    <a:sym typeface="Calibri"/>
                  </a:rPr>
                  <a:t>databricks</a:t>
                </a:r>
                <a:endPar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endParaRPr>
              </a:p>
            </p:txBody>
          </p:sp>
          <p:sp>
            <p:nvSpPr>
              <p:cNvPr id="442" name="Rectangle: Rounded Corners 91">
                <a:extLst>
                  <a:ext uri="{FF2B5EF4-FFF2-40B4-BE49-F238E27FC236}">
                    <a16:creationId xmlns:a16="http://schemas.microsoft.com/office/drawing/2014/main" id="{35BFE694-6C57-4BE4-8133-0211C7222C74}"/>
                  </a:ext>
                </a:extLst>
              </p:cNvPr>
              <p:cNvSpPr/>
              <p:nvPr/>
            </p:nvSpPr>
            <p:spPr bwMode="auto">
              <a:xfrm>
                <a:off x="7376901" y="3326401"/>
                <a:ext cx="1442236" cy="1273246"/>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A1C0AC62-9516-4E5E-BED9-5A80EBF310BC}"/>
                  </a:ext>
                </a:extLst>
              </p:cNvPr>
              <p:cNvGrpSpPr/>
              <p:nvPr/>
            </p:nvGrpSpPr>
            <p:grpSpPr>
              <a:xfrm>
                <a:off x="7459716" y="3168587"/>
                <a:ext cx="1276606" cy="329184"/>
                <a:chOff x="7459716" y="3168587"/>
                <a:chExt cx="1276606" cy="329184"/>
              </a:xfrm>
            </p:grpSpPr>
            <p:grpSp>
              <p:nvGrpSpPr>
                <p:cNvPr id="18" name="Group 17">
                  <a:extLst>
                    <a:ext uri="{FF2B5EF4-FFF2-40B4-BE49-F238E27FC236}">
                      <a16:creationId xmlns:a16="http://schemas.microsoft.com/office/drawing/2014/main" id="{F2BE6496-5BC1-44EC-9A9E-990621C0ADFB}"/>
                    </a:ext>
                  </a:extLst>
                </p:cNvPr>
                <p:cNvGrpSpPr/>
                <p:nvPr/>
              </p:nvGrpSpPr>
              <p:grpSpPr>
                <a:xfrm>
                  <a:off x="7459716" y="3168587"/>
                  <a:ext cx="329184" cy="329184"/>
                  <a:chOff x="7041718" y="3008659"/>
                  <a:chExt cx="586168" cy="586166"/>
                </a:xfrm>
              </p:grpSpPr>
              <p:sp>
                <p:nvSpPr>
                  <p:cNvPr id="294" name="Oval 293">
                    <a:extLst>
                      <a:ext uri="{FF2B5EF4-FFF2-40B4-BE49-F238E27FC236}">
                        <a16:creationId xmlns:a16="http://schemas.microsoft.com/office/drawing/2014/main" id="{576CE03E-E467-48A1-86AC-CB091D7A2A6D}"/>
                      </a:ext>
                    </a:extLst>
                  </p:cNvPr>
                  <p:cNvSpPr/>
                  <p:nvPr/>
                </p:nvSpPr>
                <p:spPr bwMode="auto">
                  <a:xfrm>
                    <a:off x="7041718"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3" name="Group 12">
                    <a:extLst>
                      <a:ext uri="{FF2B5EF4-FFF2-40B4-BE49-F238E27FC236}">
                        <a16:creationId xmlns:a16="http://schemas.microsoft.com/office/drawing/2014/main" id="{8B2A2450-74C4-439A-868C-3DAC3464D61E}"/>
                      </a:ext>
                    </a:extLst>
                  </p:cNvPr>
                  <p:cNvGrpSpPr/>
                  <p:nvPr/>
                </p:nvGrpSpPr>
                <p:grpSpPr>
                  <a:xfrm>
                    <a:off x="7114786" y="3220386"/>
                    <a:ext cx="440033" cy="162713"/>
                    <a:chOff x="7120912" y="3104359"/>
                    <a:chExt cx="440033" cy="162713"/>
                  </a:xfrm>
                </p:grpSpPr>
                <p:sp>
                  <p:nvSpPr>
                    <p:cNvPr id="245" name="Freeform: Shape 244">
                      <a:extLst>
                        <a:ext uri="{FF2B5EF4-FFF2-40B4-BE49-F238E27FC236}">
                          <a16:creationId xmlns:a16="http://schemas.microsoft.com/office/drawing/2014/main" id="{0BB185A8-DE3E-4402-A6F3-B4CA86821E79}"/>
                        </a:ext>
                      </a:extLst>
                    </p:cNvPr>
                    <p:cNvSpPr/>
                    <p:nvPr/>
                  </p:nvSpPr>
                  <p:spPr>
                    <a:xfrm>
                      <a:off x="7317286" y="3104359"/>
                      <a:ext cx="115942" cy="97635"/>
                    </a:xfrm>
                    <a:custGeom>
                      <a:avLst/>
                      <a:gdLst>
                        <a:gd name="connsiteX0" fmla="*/ 78908 w 95102"/>
                        <a:gd name="connsiteY0" fmla="*/ 27832 h 80086"/>
                        <a:gd name="connsiteX1" fmla="*/ 67458 w 95102"/>
                        <a:gd name="connsiteY1" fmla="*/ 30835 h 80086"/>
                        <a:gd name="connsiteX2" fmla="*/ 56759 w 95102"/>
                        <a:gd name="connsiteY2" fmla="*/ 33713 h 80086"/>
                        <a:gd name="connsiteX3" fmla="*/ 54444 w 95102"/>
                        <a:gd name="connsiteY3" fmla="*/ 32649 h 80086"/>
                        <a:gd name="connsiteX4" fmla="*/ 44683 w 95102"/>
                        <a:gd name="connsiteY4" fmla="*/ 16382 h 80086"/>
                        <a:gd name="connsiteX5" fmla="*/ 43432 w 95102"/>
                        <a:gd name="connsiteY5" fmla="*/ 15318 h 80086"/>
                        <a:gd name="connsiteX6" fmla="*/ 41805 w 95102"/>
                        <a:gd name="connsiteY6" fmla="*/ 24328 h 80086"/>
                        <a:gd name="connsiteX7" fmla="*/ 39428 w 95102"/>
                        <a:gd name="connsiteY7" fmla="*/ 37780 h 80086"/>
                        <a:gd name="connsiteX8" fmla="*/ 37801 w 95102"/>
                        <a:gd name="connsiteY8" fmla="*/ 39219 h 80086"/>
                        <a:gd name="connsiteX9" fmla="*/ 17467 w 95102"/>
                        <a:gd name="connsiteY9" fmla="*/ 45601 h 80086"/>
                        <a:gd name="connsiteX10" fmla="*/ 15840 w 95102"/>
                        <a:gd name="connsiteY10" fmla="*/ 46539 h 80086"/>
                        <a:gd name="connsiteX11" fmla="*/ 33171 w 95102"/>
                        <a:gd name="connsiteY11" fmla="*/ 53422 h 80086"/>
                        <a:gd name="connsiteX12" fmla="*/ 32608 w 95102"/>
                        <a:gd name="connsiteY12" fmla="*/ 54298 h 80086"/>
                        <a:gd name="connsiteX13" fmla="*/ 22722 w 95102"/>
                        <a:gd name="connsiteY13" fmla="*/ 60680 h 80086"/>
                        <a:gd name="connsiteX14" fmla="*/ 20219 w 95102"/>
                        <a:gd name="connsiteY14" fmla="*/ 60867 h 80086"/>
                        <a:gd name="connsiteX15" fmla="*/ 7268 w 95102"/>
                        <a:gd name="connsiteY15" fmla="*/ 55111 h 80086"/>
                        <a:gd name="connsiteX16" fmla="*/ 2263 w 95102"/>
                        <a:gd name="connsiteY16" fmla="*/ 51294 h 80086"/>
                        <a:gd name="connsiteX17" fmla="*/ 4515 w 95102"/>
                        <a:gd name="connsiteY17" fmla="*/ 40408 h 80086"/>
                        <a:gd name="connsiteX18" fmla="*/ 9896 w 95102"/>
                        <a:gd name="connsiteY18" fmla="*/ 38280 h 80086"/>
                        <a:gd name="connsiteX19" fmla="*/ 29292 w 95102"/>
                        <a:gd name="connsiteY19" fmla="*/ 32211 h 80086"/>
                        <a:gd name="connsiteX20" fmla="*/ 31231 w 95102"/>
                        <a:gd name="connsiteY20" fmla="*/ 30022 h 80086"/>
                        <a:gd name="connsiteX21" fmla="*/ 34735 w 95102"/>
                        <a:gd name="connsiteY21" fmla="*/ 10313 h 80086"/>
                        <a:gd name="connsiteX22" fmla="*/ 38552 w 95102"/>
                        <a:gd name="connsiteY22" fmla="*/ 2492 h 80086"/>
                        <a:gd name="connsiteX23" fmla="*/ 47311 w 95102"/>
                        <a:gd name="connsiteY23" fmla="*/ 2116 h 80086"/>
                        <a:gd name="connsiteX24" fmla="*/ 52317 w 95102"/>
                        <a:gd name="connsiteY24" fmla="*/ 8999 h 80086"/>
                        <a:gd name="connsiteX25" fmla="*/ 60075 w 95102"/>
                        <a:gd name="connsiteY25" fmla="*/ 21888 h 80086"/>
                        <a:gd name="connsiteX26" fmla="*/ 62515 w 95102"/>
                        <a:gd name="connsiteY26" fmla="*/ 22639 h 80086"/>
                        <a:gd name="connsiteX27" fmla="*/ 85790 w 95102"/>
                        <a:gd name="connsiteY27" fmla="*/ 16444 h 80086"/>
                        <a:gd name="connsiteX28" fmla="*/ 91859 w 95102"/>
                        <a:gd name="connsiteY28" fmla="*/ 16507 h 80086"/>
                        <a:gd name="connsiteX29" fmla="*/ 94800 w 95102"/>
                        <a:gd name="connsiteY29" fmla="*/ 22388 h 80086"/>
                        <a:gd name="connsiteX30" fmla="*/ 91672 w 95102"/>
                        <a:gd name="connsiteY30" fmla="*/ 27644 h 80086"/>
                        <a:gd name="connsiteX31" fmla="*/ 75592 w 95102"/>
                        <a:gd name="connsiteY31" fmla="*/ 46477 h 80086"/>
                        <a:gd name="connsiteX32" fmla="*/ 75341 w 95102"/>
                        <a:gd name="connsiteY32" fmla="*/ 48854 h 80086"/>
                        <a:gd name="connsiteX33" fmla="*/ 84539 w 95102"/>
                        <a:gd name="connsiteY33" fmla="*/ 66186 h 80086"/>
                        <a:gd name="connsiteX34" fmla="*/ 85290 w 95102"/>
                        <a:gd name="connsiteY34" fmla="*/ 67562 h 80086"/>
                        <a:gd name="connsiteX35" fmla="*/ 85102 w 95102"/>
                        <a:gd name="connsiteY35" fmla="*/ 76447 h 80086"/>
                        <a:gd name="connsiteX36" fmla="*/ 76405 w 95102"/>
                        <a:gd name="connsiteY36" fmla="*/ 79450 h 80086"/>
                        <a:gd name="connsiteX37" fmla="*/ 58886 w 95102"/>
                        <a:gd name="connsiteY37" fmla="*/ 74257 h 80086"/>
                        <a:gd name="connsiteX38" fmla="*/ 57885 w 95102"/>
                        <a:gd name="connsiteY38" fmla="*/ 72630 h 80086"/>
                        <a:gd name="connsiteX39" fmla="*/ 56446 w 95102"/>
                        <a:gd name="connsiteY39" fmla="*/ 64183 h 80086"/>
                        <a:gd name="connsiteX40" fmla="*/ 57697 w 95102"/>
                        <a:gd name="connsiteY40" fmla="*/ 63057 h 80086"/>
                        <a:gd name="connsiteX41" fmla="*/ 71713 w 95102"/>
                        <a:gd name="connsiteY41" fmla="*/ 66936 h 80086"/>
                        <a:gd name="connsiteX42" fmla="*/ 73089 w 95102"/>
                        <a:gd name="connsiteY42" fmla="*/ 66999 h 80086"/>
                        <a:gd name="connsiteX43" fmla="*/ 72651 w 95102"/>
                        <a:gd name="connsiteY43" fmla="*/ 65622 h 80086"/>
                        <a:gd name="connsiteX44" fmla="*/ 63579 w 95102"/>
                        <a:gd name="connsiteY44" fmla="*/ 48604 h 80086"/>
                        <a:gd name="connsiteX45" fmla="*/ 63954 w 95102"/>
                        <a:gd name="connsiteY45" fmla="*/ 46227 h 80086"/>
                        <a:gd name="connsiteX46" fmla="*/ 77844 w 95102"/>
                        <a:gd name="connsiteY46" fmla="*/ 30022 h 80086"/>
                        <a:gd name="connsiteX47" fmla="*/ 78908 w 95102"/>
                        <a:gd name="connsiteY47" fmla="*/ 27832 h 8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5102" h="80086">
                          <a:moveTo>
                            <a:pt x="78908" y="27832"/>
                          </a:moveTo>
                          <a:cubicBezTo>
                            <a:pt x="74903" y="28895"/>
                            <a:pt x="71212" y="29834"/>
                            <a:pt x="67458" y="30835"/>
                          </a:cubicBezTo>
                          <a:cubicBezTo>
                            <a:pt x="63892" y="31773"/>
                            <a:pt x="60325" y="32712"/>
                            <a:pt x="56759" y="33713"/>
                          </a:cubicBezTo>
                          <a:cubicBezTo>
                            <a:pt x="55570" y="34026"/>
                            <a:pt x="55007" y="33650"/>
                            <a:pt x="54444" y="32649"/>
                          </a:cubicBezTo>
                          <a:cubicBezTo>
                            <a:pt x="51253" y="27206"/>
                            <a:pt x="47937" y="21825"/>
                            <a:pt x="44683" y="16382"/>
                          </a:cubicBezTo>
                          <a:cubicBezTo>
                            <a:pt x="44433" y="15944"/>
                            <a:pt x="44308" y="15381"/>
                            <a:pt x="43432" y="15318"/>
                          </a:cubicBezTo>
                          <a:cubicBezTo>
                            <a:pt x="42869" y="18321"/>
                            <a:pt x="42368" y="21325"/>
                            <a:pt x="41805" y="24328"/>
                          </a:cubicBezTo>
                          <a:cubicBezTo>
                            <a:pt x="40992" y="28833"/>
                            <a:pt x="40179" y="33275"/>
                            <a:pt x="39428" y="37780"/>
                          </a:cubicBezTo>
                          <a:cubicBezTo>
                            <a:pt x="39240" y="38844"/>
                            <a:pt x="38552" y="38969"/>
                            <a:pt x="37801" y="39219"/>
                          </a:cubicBezTo>
                          <a:cubicBezTo>
                            <a:pt x="30981" y="41346"/>
                            <a:pt x="24224" y="43474"/>
                            <a:pt x="17467" y="45601"/>
                          </a:cubicBezTo>
                          <a:cubicBezTo>
                            <a:pt x="16966" y="45789"/>
                            <a:pt x="16340" y="45789"/>
                            <a:pt x="15840" y="46539"/>
                          </a:cubicBezTo>
                          <a:cubicBezTo>
                            <a:pt x="21659" y="48854"/>
                            <a:pt x="27415" y="51107"/>
                            <a:pt x="33171" y="53422"/>
                          </a:cubicBezTo>
                          <a:cubicBezTo>
                            <a:pt x="33296" y="53985"/>
                            <a:pt x="32921" y="54110"/>
                            <a:pt x="32608" y="54298"/>
                          </a:cubicBezTo>
                          <a:cubicBezTo>
                            <a:pt x="29292" y="56425"/>
                            <a:pt x="25976" y="58552"/>
                            <a:pt x="22722" y="60680"/>
                          </a:cubicBezTo>
                          <a:cubicBezTo>
                            <a:pt x="21846" y="61243"/>
                            <a:pt x="21158" y="61305"/>
                            <a:pt x="20219" y="60867"/>
                          </a:cubicBezTo>
                          <a:cubicBezTo>
                            <a:pt x="15965" y="58865"/>
                            <a:pt x="11585" y="56988"/>
                            <a:pt x="7268" y="55111"/>
                          </a:cubicBezTo>
                          <a:cubicBezTo>
                            <a:pt x="5328" y="54235"/>
                            <a:pt x="3639" y="52921"/>
                            <a:pt x="2263" y="51294"/>
                          </a:cubicBezTo>
                          <a:cubicBezTo>
                            <a:pt x="-803" y="47666"/>
                            <a:pt x="135" y="43098"/>
                            <a:pt x="4515" y="40408"/>
                          </a:cubicBezTo>
                          <a:cubicBezTo>
                            <a:pt x="6204" y="39407"/>
                            <a:pt x="8081" y="38844"/>
                            <a:pt x="9896" y="38280"/>
                          </a:cubicBezTo>
                          <a:cubicBezTo>
                            <a:pt x="16340" y="36216"/>
                            <a:pt x="22785" y="34151"/>
                            <a:pt x="29292" y="32211"/>
                          </a:cubicBezTo>
                          <a:cubicBezTo>
                            <a:pt x="30543" y="31836"/>
                            <a:pt x="30981" y="31210"/>
                            <a:pt x="31231" y="30022"/>
                          </a:cubicBezTo>
                          <a:cubicBezTo>
                            <a:pt x="32358" y="23452"/>
                            <a:pt x="33546" y="16882"/>
                            <a:pt x="34735" y="10313"/>
                          </a:cubicBezTo>
                          <a:cubicBezTo>
                            <a:pt x="35298" y="7372"/>
                            <a:pt x="36362" y="4619"/>
                            <a:pt x="38552" y="2492"/>
                          </a:cubicBezTo>
                          <a:cubicBezTo>
                            <a:pt x="41180" y="-73"/>
                            <a:pt x="44433" y="-199"/>
                            <a:pt x="47311" y="2116"/>
                          </a:cubicBezTo>
                          <a:cubicBezTo>
                            <a:pt x="49564" y="3993"/>
                            <a:pt x="50815" y="6621"/>
                            <a:pt x="52317" y="8999"/>
                          </a:cubicBezTo>
                          <a:cubicBezTo>
                            <a:pt x="54944" y="13253"/>
                            <a:pt x="57510" y="17571"/>
                            <a:pt x="60075" y="21888"/>
                          </a:cubicBezTo>
                          <a:cubicBezTo>
                            <a:pt x="60701" y="23014"/>
                            <a:pt x="61451" y="22889"/>
                            <a:pt x="62515" y="22639"/>
                          </a:cubicBezTo>
                          <a:cubicBezTo>
                            <a:pt x="70273" y="20574"/>
                            <a:pt x="78032" y="18509"/>
                            <a:pt x="85790" y="16444"/>
                          </a:cubicBezTo>
                          <a:cubicBezTo>
                            <a:pt x="87792" y="15944"/>
                            <a:pt x="89857" y="15756"/>
                            <a:pt x="91859" y="16507"/>
                          </a:cubicBezTo>
                          <a:cubicBezTo>
                            <a:pt x="94487" y="17571"/>
                            <a:pt x="95551" y="19635"/>
                            <a:pt x="94800" y="22388"/>
                          </a:cubicBezTo>
                          <a:cubicBezTo>
                            <a:pt x="94237" y="24453"/>
                            <a:pt x="92985" y="26080"/>
                            <a:pt x="91672" y="27644"/>
                          </a:cubicBezTo>
                          <a:cubicBezTo>
                            <a:pt x="86353" y="33963"/>
                            <a:pt x="80973" y="40220"/>
                            <a:pt x="75592" y="46477"/>
                          </a:cubicBezTo>
                          <a:cubicBezTo>
                            <a:pt x="74841" y="47353"/>
                            <a:pt x="74841" y="47916"/>
                            <a:pt x="75341" y="48854"/>
                          </a:cubicBezTo>
                          <a:cubicBezTo>
                            <a:pt x="78407" y="54611"/>
                            <a:pt x="81473" y="60429"/>
                            <a:pt x="84539" y="66186"/>
                          </a:cubicBezTo>
                          <a:cubicBezTo>
                            <a:pt x="84789" y="66624"/>
                            <a:pt x="85039" y="67061"/>
                            <a:pt x="85290" y="67562"/>
                          </a:cubicBezTo>
                          <a:cubicBezTo>
                            <a:pt x="86729" y="70565"/>
                            <a:pt x="87229" y="73569"/>
                            <a:pt x="85102" y="76447"/>
                          </a:cubicBezTo>
                          <a:cubicBezTo>
                            <a:pt x="82912" y="79387"/>
                            <a:pt x="79721" y="80326"/>
                            <a:pt x="76405" y="79450"/>
                          </a:cubicBezTo>
                          <a:cubicBezTo>
                            <a:pt x="70524" y="77948"/>
                            <a:pt x="64705" y="76009"/>
                            <a:pt x="58886" y="74257"/>
                          </a:cubicBezTo>
                          <a:cubicBezTo>
                            <a:pt x="58010" y="74006"/>
                            <a:pt x="58010" y="73256"/>
                            <a:pt x="57885" y="72630"/>
                          </a:cubicBezTo>
                          <a:cubicBezTo>
                            <a:pt x="57385" y="69814"/>
                            <a:pt x="56947" y="66999"/>
                            <a:pt x="56446" y="64183"/>
                          </a:cubicBezTo>
                          <a:cubicBezTo>
                            <a:pt x="56196" y="62995"/>
                            <a:pt x="56446" y="62682"/>
                            <a:pt x="57697" y="63057"/>
                          </a:cubicBezTo>
                          <a:cubicBezTo>
                            <a:pt x="62327" y="64371"/>
                            <a:pt x="67020" y="65685"/>
                            <a:pt x="71713" y="66936"/>
                          </a:cubicBezTo>
                          <a:cubicBezTo>
                            <a:pt x="72151" y="67061"/>
                            <a:pt x="72714" y="67562"/>
                            <a:pt x="73089" y="66999"/>
                          </a:cubicBezTo>
                          <a:cubicBezTo>
                            <a:pt x="73402" y="66561"/>
                            <a:pt x="72901" y="66060"/>
                            <a:pt x="72651" y="65622"/>
                          </a:cubicBezTo>
                          <a:cubicBezTo>
                            <a:pt x="69648" y="59929"/>
                            <a:pt x="66645" y="54235"/>
                            <a:pt x="63579" y="48604"/>
                          </a:cubicBezTo>
                          <a:cubicBezTo>
                            <a:pt x="63016" y="47603"/>
                            <a:pt x="63266" y="46977"/>
                            <a:pt x="63954" y="46227"/>
                          </a:cubicBezTo>
                          <a:cubicBezTo>
                            <a:pt x="68584" y="40846"/>
                            <a:pt x="73214" y="35402"/>
                            <a:pt x="77844" y="30022"/>
                          </a:cubicBezTo>
                          <a:cubicBezTo>
                            <a:pt x="78094" y="29458"/>
                            <a:pt x="78720" y="28958"/>
                            <a:pt x="78908" y="27832"/>
                          </a:cubicBezTo>
                          <a:close/>
                        </a:path>
                      </a:pathLst>
                    </a:custGeom>
                    <a:solidFill>
                      <a:srgbClr val="82828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6" name="Freeform: Shape 245">
                      <a:extLst>
                        <a:ext uri="{FF2B5EF4-FFF2-40B4-BE49-F238E27FC236}">
                          <a16:creationId xmlns:a16="http://schemas.microsoft.com/office/drawing/2014/main" id="{5491EB75-D22E-4816-9EED-CE596DFE22CC}"/>
                        </a:ext>
                      </a:extLst>
                    </p:cNvPr>
                    <p:cNvSpPr/>
                    <p:nvPr/>
                  </p:nvSpPr>
                  <p:spPr>
                    <a:xfrm>
                      <a:off x="7170065" y="3189268"/>
                      <a:ext cx="67886" cy="77804"/>
                    </a:xfrm>
                    <a:custGeom>
                      <a:avLst/>
                      <a:gdLst>
                        <a:gd name="connsiteX0" fmla="*/ 25918 w 55685"/>
                        <a:gd name="connsiteY0" fmla="*/ 50033 h 63818"/>
                        <a:gd name="connsiteX1" fmla="*/ 14593 w 55685"/>
                        <a:gd name="connsiteY1" fmla="*/ 46341 h 63818"/>
                        <a:gd name="connsiteX2" fmla="*/ 13091 w 55685"/>
                        <a:gd name="connsiteY2" fmla="*/ 47092 h 63818"/>
                        <a:gd name="connsiteX3" fmla="*/ 11152 w 55685"/>
                        <a:gd name="connsiteY3" fmla="*/ 62421 h 63818"/>
                        <a:gd name="connsiteX4" fmla="*/ 9713 w 55685"/>
                        <a:gd name="connsiteY4" fmla="*/ 63610 h 63818"/>
                        <a:gd name="connsiteX5" fmla="*/ 1829 w 55685"/>
                        <a:gd name="connsiteY5" fmla="*/ 63610 h 63818"/>
                        <a:gd name="connsiteX6" fmla="*/ 515 w 55685"/>
                        <a:gd name="connsiteY6" fmla="*/ 62171 h 63818"/>
                        <a:gd name="connsiteX7" fmla="*/ 4144 w 55685"/>
                        <a:gd name="connsiteY7" fmla="*/ 35204 h 63818"/>
                        <a:gd name="connsiteX8" fmla="*/ 6584 w 55685"/>
                        <a:gd name="connsiteY8" fmla="*/ 20626 h 63818"/>
                        <a:gd name="connsiteX9" fmla="*/ 31549 w 55685"/>
                        <a:gd name="connsiteY9" fmla="*/ 604 h 63818"/>
                        <a:gd name="connsiteX10" fmla="*/ 55012 w 55685"/>
                        <a:gd name="connsiteY10" fmla="*/ 18123 h 63818"/>
                        <a:gd name="connsiteX11" fmla="*/ 50256 w 55685"/>
                        <a:gd name="connsiteY11" fmla="*/ 37457 h 63818"/>
                        <a:gd name="connsiteX12" fmla="*/ 25918 w 55685"/>
                        <a:gd name="connsiteY12" fmla="*/ 50033 h 63818"/>
                        <a:gd name="connsiteX13" fmla="*/ 28483 w 55685"/>
                        <a:gd name="connsiteY13" fmla="*/ 39208 h 63818"/>
                        <a:gd name="connsiteX14" fmla="*/ 44187 w 55685"/>
                        <a:gd name="connsiteY14" fmla="*/ 26445 h 63818"/>
                        <a:gd name="connsiteX15" fmla="*/ 30861 w 55685"/>
                        <a:gd name="connsiteY15" fmla="*/ 11366 h 63818"/>
                        <a:gd name="connsiteX16" fmla="*/ 16595 w 55685"/>
                        <a:gd name="connsiteY16" fmla="*/ 23379 h 63818"/>
                        <a:gd name="connsiteX17" fmla="*/ 28483 w 55685"/>
                        <a:gd name="connsiteY17" fmla="*/ 39208 h 6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85" h="63818">
                          <a:moveTo>
                            <a:pt x="25918" y="50033"/>
                          </a:moveTo>
                          <a:cubicBezTo>
                            <a:pt x="22477" y="49970"/>
                            <a:pt x="18285" y="48906"/>
                            <a:pt x="14593" y="46341"/>
                          </a:cubicBezTo>
                          <a:cubicBezTo>
                            <a:pt x="13467" y="45590"/>
                            <a:pt x="13217" y="45903"/>
                            <a:pt x="13091" y="47092"/>
                          </a:cubicBezTo>
                          <a:cubicBezTo>
                            <a:pt x="12466" y="52222"/>
                            <a:pt x="11777" y="57290"/>
                            <a:pt x="11152" y="62421"/>
                          </a:cubicBezTo>
                          <a:cubicBezTo>
                            <a:pt x="11027" y="63422"/>
                            <a:pt x="10589" y="63610"/>
                            <a:pt x="9713" y="63610"/>
                          </a:cubicBezTo>
                          <a:cubicBezTo>
                            <a:pt x="7085" y="63547"/>
                            <a:pt x="4457" y="63547"/>
                            <a:pt x="1829" y="63610"/>
                          </a:cubicBezTo>
                          <a:cubicBezTo>
                            <a:pt x="703" y="63610"/>
                            <a:pt x="328" y="63359"/>
                            <a:pt x="515" y="62171"/>
                          </a:cubicBezTo>
                          <a:cubicBezTo>
                            <a:pt x="1767" y="53161"/>
                            <a:pt x="2893" y="44214"/>
                            <a:pt x="4144" y="35204"/>
                          </a:cubicBezTo>
                          <a:cubicBezTo>
                            <a:pt x="4833" y="30324"/>
                            <a:pt x="4895" y="25318"/>
                            <a:pt x="6584" y="20626"/>
                          </a:cubicBezTo>
                          <a:cubicBezTo>
                            <a:pt x="10776" y="8926"/>
                            <a:pt x="19035" y="1981"/>
                            <a:pt x="31549" y="604"/>
                          </a:cubicBezTo>
                          <a:cubicBezTo>
                            <a:pt x="43374" y="-647"/>
                            <a:pt x="53135" y="6924"/>
                            <a:pt x="55012" y="18123"/>
                          </a:cubicBezTo>
                          <a:cubicBezTo>
                            <a:pt x="56200" y="25193"/>
                            <a:pt x="54261" y="31638"/>
                            <a:pt x="50256" y="37457"/>
                          </a:cubicBezTo>
                          <a:cubicBezTo>
                            <a:pt x="44938" y="45215"/>
                            <a:pt x="35929" y="50033"/>
                            <a:pt x="25918" y="50033"/>
                          </a:cubicBezTo>
                          <a:close/>
                          <a:moveTo>
                            <a:pt x="28483" y="39208"/>
                          </a:moveTo>
                          <a:cubicBezTo>
                            <a:pt x="35866" y="39208"/>
                            <a:pt x="42686" y="33640"/>
                            <a:pt x="44187" y="26445"/>
                          </a:cubicBezTo>
                          <a:cubicBezTo>
                            <a:pt x="46002" y="17685"/>
                            <a:pt x="39808" y="10615"/>
                            <a:pt x="30861" y="11366"/>
                          </a:cubicBezTo>
                          <a:cubicBezTo>
                            <a:pt x="24354" y="11866"/>
                            <a:pt x="18285" y="16997"/>
                            <a:pt x="16595" y="23379"/>
                          </a:cubicBezTo>
                          <a:cubicBezTo>
                            <a:pt x="14405" y="31825"/>
                            <a:pt x="19911" y="39208"/>
                            <a:pt x="28483" y="39208"/>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7" name="Freeform: Shape 246">
                      <a:extLst>
                        <a:ext uri="{FF2B5EF4-FFF2-40B4-BE49-F238E27FC236}">
                          <a16:creationId xmlns:a16="http://schemas.microsoft.com/office/drawing/2014/main" id="{53D4EB3D-8D0C-4194-B4AE-19CAA096F7E6}"/>
                        </a:ext>
                      </a:extLst>
                    </p:cNvPr>
                    <p:cNvSpPr/>
                    <p:nvPr/>
                  </p:nvSpPr>
                  <p:spPr>
                    <a:xfrm>
                      <a:off x="7120912" y="3168446"/>
                      <a:ext cx="58733" cy="82380"/>
                    </a:xfrm>
                    <a:custGeom>
                      <a:avLst/>
                      <a:gdLst>
                        <a:gd name="connsiteX0" fmla="*/ 11615 w 48176"/>
                        <a:gd name="connsiteY0" fmla="*/ 47654 h 67572"/>
                        <a:gd name="connsiteX1" fmla="*/ 14368 w 48176"/>
                        <a:gd name="connsiteY1" fmla="*/ 52847 h 67572"/>
                        <a:gd name="connsiteX2" fmla="*/ 22877 w 48176"/>
                        <a:gd name="connsiteY2" fmla="*/ 55725 h 67572"/>
                        <a:gd name="connsiteX3" fmla="*/ 29321 w 48176"/>
                        <a:gd name="connsiteY3" fmla="*/ 49281 h 67572"/>
                        <a:gd name="connsiteX4" fmla="*/ 27632 w 48176"/>
                        <a:gd name="connsiteY4" fmla="*/ 44150 h 67572"/>
                        <a:gd name="connsiteX5" fmla="*/ 17997 w 48176"/>
                        <a:gd name="connsiteY5" fmla="*/ 33764 h 67572"/>
                        <a:gd name="connsiteX6" fmla="*/ 11865 w 48176"/>
                        <a:gd name="connsiteY6" fmla="*/ 24817 h 67572"/>
                        <a:gd name="connsiteX7" fmla="*/ 15869 w 48176"/>
                        <a:gd name="connsiteY7" fmla="*/ 7861 h 67572"/>
                        <a:gd name="connsiteX8" fmla="*/ 31636 w 48176"/>
                        <a:gd name="connsiteY8" fmla="*/ 478 h 67572"/>
                        <a:gd name="connsiteX9" fmla="*/ 46590 w 48176"/>
                        <a:gd name="connsiteY9" fmla="*/ 8174 h 67572"/>
                        <a:gd name="connsiteX10" fmla="*/ 46027 w 48176"/>
                        <a:gd name="connsiteY10" fmla="*/ 12491 h 67572"/>
                        <a:gd name="connsiteX11" fmla="*/ 39207 w 48176"/>
                        <a:gd name="connsiteY11" fmla="*/ 17622 h 67572"/>
                        <a:gd name="connsiteX12" fmla="*/ 36892 w 48176"/>
                        <a:gd name="connsiteY12" fmla="*/ 17246 h 67572"/>
                        <a:gd name="connsiteX13" fmla="*/ 30448 w 48176"/>
                        <a:gd name="connsiteY13" fmla="*/ 12116 h 67572"/>
                        <a:gd name="connsiteX14" fmla="*/ 23002 w 48176"/>
                        <a:gd name="connsiteY14" fmla="*/ 17496 h 67572"/>
                        <a:gd name="connsiteX15" fmla="*/ 24754 w 48176"/>
                        <a:gd name="connsiteY15" fmla="*/ 21063 h 67572"/>
                        <a:gd name="connsiteX16" fmla="*/ 33826 w 48176"/>
                        <a:gd name="connsiteY16" fmla="*/ 30823 h 67572"/>
                        <a:gd name="connsiteX17" fmla="*/ 40959 w 48176"/>
                        <a:gd name="connsiteY17" fmla="*/ 41272 h 67572"/>
                        <a:gd name="connsiteX18" fmla="*/ 36767 w 48176"/>
                        <a:gd name="connsiteY18" fmla="*/ 58603 h 67572"/>
                        <a:gd name="connsiteX19" fmla="*/ 11114 w 48176"/>
                        <a:gd name="connsiteY19" fmla="*/ 66487 h 67572"/>
                        <a:gd name="connsiteX20" fmla="*/ 1416 w 48176"/>
                        <a:gd name="connsiteY20" fmla="*/ 57227 h 67572"/>
                        <a:gd name="connsiteX21" fmla="*/ 3231 w 48176"/>
                        <a:gd name="connsiteY21" fmla="*/ 51971 h 67572"/>
                        <a:gd name="connsiteX22" fmla="*/ 11615 w 48176"/>
                        <a:gd name="connsiteY22" fmla="*/ 47654 h 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76" h="67572">
                          <a:moveTo>
                            <a:pt x="11615" y="47654"/>
                          </a:moveTo>
                          <a:cubicBezTo>
                            <a:pt x="12491" y="49531"/>
                            <a:pt x="13179" y="51283"/>
                            <a:pt x="14368" y="52847"/>
                          </a:cubicBezTo>
                          <a:cubicBezTo>
                            <a:pt x="16558" y="55725"/>
                            <a:pt x="19561" y="56539"/>
                            <a:pt x="22877" y="55725"/>
                          </a:cubicBezTo>
                          <a:cubicBezTo>
                            <a:pt x="26193" y="54912"/>
                            <a:pt x="28758" y="53035"/>
                            <a:pt x="29321" y="49281"/>
                          </a:cubicBezTo>
                          <a:cubicBezTo>
                            <a:pt x="29572" y="47341"/>
                            <a:pt x="28821" y="45652"/>
                            <a:pt x="27632" y="44150"/>
                          </a:cubicBezTo>
                          <a:cubicBezTo>
                            <a:pt x="24691" y="40459"/>
                            <a:pt x="21125" y="37330"/>
                            <a:pt x="17997" y="33764"/>
                          </a:cubicBezTo>
                          <a:cubicBezTo>
                            <a:pt x="15619" y="31011"/>
                            <a:pt x="13116" y="28258"/>
                            <a:pt x="11865" y="24817"/>
                          </a:cubicBezTo>
                          <a:cubicBezTo>
                            <a:pt x="9488" y="18310"/>
                            <a:pt x="11490" y="12741"/>
                            <a:pt x="15869" y="7861"/>
                          </a:cubicBezTo>
                          <a:cubicBezTo>
                            <a:pt x="20061" y="3231"/>
                            <a:pt x="25380" y="666"/>
                            <a:pt x="31636" y="478"/>
                          </a:cubicBezTo>
                          <a:cubicBezTo>
                            <a:pt x="37956" y="290"/>
                            <a:pt x="42899" y="3106"/>
                            <a:pt x="46590" y="8174"/>
                          </a:cubicBezTo>
                          <a:cubicBezTo>
                            <a:pt x="48467" y="10677"/>
                            <a:pt x="48467" y="10677"/>
                            <a:pt x="46027" y="12491"/>
                          </a:cubicBezTo>
                          <a:cubicBezTo>
                            <a:pt x="43774" y="14180"/>
                            <a:pt x="41397" y="15870"/>
                            <a:pt x="39207" y="17622"/>
                          </a:cubicBezTo>
                          <a:cubicBezTo>
                            <a:pt x="38143" y="18435"/>
                            <a:pt x="37643" y="18623"/>
                            <a:pt x="36892" y="17246"/>
                          </a:cubicBezTo>
                          <a:cubicBezTo>
                            <a:pt x="35516" y="14681"/>
                            <a:pt x="33513" y="12741"/>
                            <a:pt x="30448" y="12116"/>
                          </a:cubicBezTo>
                          <a:cubicBezTo>
                            <a:pt x="26819" y="11427"/>
                            <a:pt x="22940" y="14243"/>
                            <a:pt x="23002" y="17496"/>
                          </a:cubicBezTo>
                          <a:cubicBezTo>
                            <a:pt x="23065" y="18998"/>
                            <a:pt x="23878" y="20062"/>
                            <a:pt x="24754" y="21063"/>
                          </a:cubicBezTo>
                          <a:cubicBezTo>
                            <a:pt x="27632" y="24441"/>
                            <a:pt x="30698" y="27632"/>
                            <a:pt x="33826" y="30823"/>
                          </a:cubicBezTo>
                          <a:cubicBezTo>
                            <a:pt x="36830" y="33889"/>
                            <a:pt x="39833" y="37017"/>
                            <a:pt x="40959" y="41272"/>
                          </a:cubicBezTo>
                          <a:cubicBezTo>
                            <a:pt x="42773" y="47779"/>
                            <a:pt x="40771" y="53535"/>
                            <a:pt x="36767" y="58603"/>
                          </a:cubicBezTo>
                          <a:cubicBezTo>
                            <a:pt x="30760" y="66236"/>
                            <a:pt x="20374" y="69302"/>
                            <a:pt x="11114" y="66487"/>
                          </a:cubicBezTo>
                          <a:cubicBezTo>
                            <a:pt x="6359" y="65048"/>
                            <a:pt x="3356" y="61669"/>
                            <a:pt x="1416" y="57227"/>
                          </a:cubicBezTo>
                          <a:cubicBezTo>
                            <a:pt x="-85" y="53786"/>
                            <a:pt x="-23" y="53723"/>
                            <a:pt x="3231" y="51971"/>
                          </a:cubicBezTo>
                          <a:cubicBezTo>
                            <a:pt x="6046" y="50595"/>
                            <a:pt x="8799" y="49156"/>
                            <a:pt x="11615" y="47654"/>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8BA1C666-02FD-4E5F-AFEE-191956F82995}"/>
                        </a:ext>
                      </a:extLst>
                    </p:cNvPr>
                    <p:cNvSpPr/>
                    <p:nvPr/>
                  </p:nvSpPr>
                  <p:spPr>
                    <a:xfrm>
                      <a:off x="7241880" y="3189116"/>
                      <a:ext cx="61785" cy="61022"/>
                    </a:xfrm>
                    <a:custGeom>
                      <a:avLst/>
                      <a:gdLst>
                        <a:gd name="connsiteX0" fmla="*/ 35334 w 50679"/>
                        <a:gd name="connsiteY0" fmla="*/ 34453 h 50053"/>
                        <a:gd name="connsiteX1" fmla="*/ 33833 w 50679"/>
                        <a:gd name="connsiteY1" fmla="*/ 46404 h 50053"/>
                        <a:gd name="connsiteX2" fmla="*/ 32581 w 50679"/>
                        <a:gd name="connsiteY2" fmla="*/ 48031 h 50053"/>
                        <a:gd name="connsiteX3" fmla="*/ 6929 w 50679"/>
                        <a:gd name="connsiteY3" fmla="*/ 44276 h 50053"/>
                        <a:gd name="connsiteX4" fmla="*/ 672 w 50679"/>
                        <a:gd name="connsiteY4" fmla="*/ 25944 h 50053"/>
                        <a:gd name="connsiteX5" fmla="*/ 18441 w 50679"/>
                        <a:gd name="connsiteY5" fmla="*/ 2794 h 50053"/>
                        <a:gd name="connsiteX6" fmla="*/ 42467 w 50679"/>
                        <a:gd name="connsiteY6" fmla="*/ 5297 h 50053"/>
                        <a:gd name="connsiteX7" fmla="*/ 50351 w 50679"/>
                        <a:gd name="connsiteY7" fmla="*/ 23942 h 50053"/>
                        <a:gd name="connsiteX8" fmla="*/ 47410 w 50679"/>
                        <a:gd name="connsiteY8" fmla="*/ 47342 h 50053"/>
                        <a:gd name="connsiteX9" fmla="*/ 45345 w 50679"/>
                        <a:gd name="connsiteY9" fmla="*/ 49094 h 50053"/>
                        <a:gd name="connsiteX10" fmla="*/ 37837 w 50679"/>
                        <a:gd name="connsiteY10" fmla="*/ 49094 h 50053"/>
                        <a:gd name="connsiteX11" fmla="*/ 36711 w 50679"/>
                        <a:gd name="connsiteY11" fmla="*/ 47843 h 50053"/>
                        <a:gd name="connsiteX12" fmla="*/ 39401 w 50679"/>
                        <a:gd name="connsiteY12" fmla="*/ 27321 h 50053"/>
                        <a:gd name="connsiteX13" fmla="*/ 37900 w 50679"/>
                        <a:gd name="connsiteY13" fmla="*/ 17498 h 50053"/>
                        <a:gd name="connsiteX14" fmla="*/ 25198 w 50679"/>
                        <a:gd name="connsiteY14" fmla="*/ 11616 h 50053"/>
                        <a:gd name="connsiteX15" fmla="*/ 11308 w 50679"/>
                        <a:gd name="connsiteY15" fmla="*/ 28259 h 50053"/>
                        <a:gd name="connsiteX16" fmla="*/ 22195 w 50679"/>
                        <a:gd name="connsiteY16" fmla="*/ 39459 h 50053"/>
                        <a:gd name="connsiteX17" fmla="*/ 34271 w 50679"/>
                        <a:gd name="connsiteY17" fmla="*/ 35267 h 50053"/>
                        <a:gd name="connsiteX18" fmla="*/ 34771 w 50679"/>
                        <a:gd name="connsiteY18" fmla="*/ 34829 h 50053"/>
                        <a:gd name="connsiteX19" fmla="*/ 35334 w 50679"/>
                        <a:gd name="connsiteY19" fmla="*/ 34453 h 5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679" h="50053">
                          <a:moveTo>
                            <a:pt x="35334" y="34453"/>
                          </a:moveTo>
                          <a:cubicBezTo>
                            <a:pt x="34834" y="38520"/>
                            <a:pt x="34271" y="42462"/>
                            <a:pt x="33833" y="46404"/>
                          </a:cubicBezTo>
                          <a:cubicBezTo>
                            <a:pt x="33708" y="47217"/>
                            <a:pt x="33332" y="47718"/>
                            <a:pt x="32581" y="48031"/>
                          </a:cubicBezTo>
                          <a:cubicBezTo>
                            <a:pt x="24072" y="51534"/>
                            <a:pt x="14124" y="51096"/>
                            <a:pt x="6929" y="44276"/>
                          </a:cubicBezTo>
                          <a:cubicBezTo>
                            <a:pt x="1736" y="39334"/>
                            <a:pt x="-204" y="33077"/>
                            <a:pt x="672" y="25944"/>
                          </a:cubicBezTo>
                          <a:cubicBezTo>
                            <a:pt x="2111" y="14807"/>
                            <a:pt x="8368" y="7111"/>
                            <a:pt x="18441" y="2794"/>
                          </a:cubicBezTo>
                          <a:cubicBezTo>
                            <a:pt x="26763" y="-772"/>
                            <a:pt x="35084" y="-459"/>
                            <a:pt x="42467" y="5297"/>
                          </a:cubicBezTo>
                          <a:cubicBezTo>
                            <a:pt x="48474" y="9927"/>
                            <a:pt x="51039" y="16434"/>
                            <a:pt x="50351" y="23942"/>
                          </a:cubicBezTo>
                          <a:cubicBezTo>
                            <a:pt x="49600" y="31763"/>
                            <a:pt x="48348" y="39521"/>
                            <a:pt x="47410" y="47342"/>
                          </a:cubicBezTo>
                          <a:cubicBezTo>
                            <a:pt x="47222" y="48781"/>
                            <a:pt x="46722" y="49157"/>
                            <a:pt x="45345" y="49094"/>
                          </a:cubicBezTo>
                          <a:cubicBezTo>
                            <a:pt x="42843" y="49032"/>
                            <a:pt x="40340" y="49032"/>
                            <a:pt x="37837" y="49094"/>
                          </a:cubicBezTo>
                          <a:cubicBezTo>
                            <a:pt x="36836" y="49094"/>
                            <a:pt x="36586" y="48844"/>
                            <a:pt x="36711" y="47843"/>
                          </a:cubicBezTo>
                          <a:cubicBezTo>
                            <a:pt x="37649" y="41023"/>
                            <a:pt x="38525" y="34141"/>
                            <a:pt x="39401" y="27321"/>
                          </a:cubicBezTo>
                          <a:cubicBezTo>
                            <a:pt x="39777" y="23942"/>
                            <a:pt x="39339" y="20626"/>
                            <a:pt x="37900" y="17498"/>
                          </a:cubicBezTo>
                          <a:cubicBezTo>
                            <a:pt x="35835" y="13055"/>
                            <a:pt x="30892" y="10803"/>
                            <a:pt x="25198" y="11616"/>
                          </a:cubicBezTo>
                          <a:cubicBezTo>
                            <a:pt x="17127" y="12742"/>
                            <a:pt x="11058" y="20125"/>
                            <a:pt x="11308" y="28259"/>
                          </a:cubicBezTo>
                          <a:cubicBezTo>
                            <a:pt x="11496" y="34015"/>
                            <a:pt x="16439" y="39083"/>
                            <a:pt x="22195" y="39459"/>
                          </a:cubicBezTo>
                          <a:cubicBezTo>
                            <a:pt x="26825" y="39772"/>
                            <a:pt x="30830" y="38395"/>
                            <a:pt x="34271" y="35267"/>
                          </a:cubicBezTo>
                          <a:cubicBezTo>
                            <a:pt x="34458" y="35142"/>
                            <a:pt x="34646" y="34954"/>
                            <a:pt x="34771" y="34829"/>
                          </a:cubicBezTo>
                          <a:cubicBezTo>
                            <a:pt x="34896" y="34641"/>
                            <a:pt x="34959" y="34579"/>
                            <a:pt x="35334" y="34453"/>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74C79B0E-BD3B-4538-82F0-22C0DCB5D048}"/>
                        </a:ext>
                      </a:extLst>
                    </p:cNvPr>
                    <p:cNvSpPr/>
                    <p:nvPr/>
                  </p:nvSpPr>
                  <p:spPr>
                    <a:xfrm>
                      <a:off x="7337366" y="3170668"/>
                      <a:ext cx="57208" cy="78565"/>
                    </a:xfrm>
                    <a:custGeom>
                      <a:avLst/>
                      <a:gdLst>
                        <a:gd name="connsiteX0" fmla="*/ 20454 w 46925"/>
                        <a:gd name="connsiteY0" fmla="*/ 469 h 64444"/>
                        <a:gd name="connsiteX1" fmla="*/ 16763 w 46925"/>
                        <a:gd name="connsiteY1" fmla="*/ 28812 h 64444"/>
                        <a:gd name="connsiteX2" fmla="*/ 36221 w 46925"/>
                        <a:gd name="connsiteY2" fmla="*/ 7352 h 64444"/>
                        <a:gd name="connsiteX3" fmla="*/ 38223 w 46925"/>
                        <a:gd name="connsiteY3" fmla="*/ 18301 h 64444"/>
                        <a:gd name="connsiteX4" fmla="*/ 37347 w 46925"/>
                        <a:gd name="connsiteY4" fmla="*/ 19865 h 64444"/>
                        <a:gd name="connsiteX5" fmla="*/ 25898 w 46925"/>
                        <a:gd name="connsiteY5" fmla="*/ 31816 h 64444"/>
                        <a:gd name="connsiteX6" fmla="*/ 25710 w 46925"/>
                        <a:gd name="connsiteY6" fmla="*/ 34318 h 64444"/>
                        <a:gd name="connsiteX7" fmla="*/ 46169 w 46925"/>
                        <a:gd name="connsiteY7" fmla="*/ 62912 h 64444"/>
                        <a:gd name="connsiteX8" fmla="*/ 46670 w 46925"/>
                        <a:gd name="connsiteY8" fmla="*/ 63725 h 64444"/>
                        <a:gd name="connsiteX9" fmla="*/ 45544 w 46925"/>
                        <a:gd name="connsiteY9" fmla="*/ 64100 h 64444"/>
                        <a:gd name="connsiteX10" fmla="*/ 34595 w 46925"/>
                        <a:gd name="connsiteY10" fmla="*/ 64100 h 64444"/>
                        <a:gd name="connsiteX11" fmla="*/ 31716 w 46925"/>
                        <a:gd name="connsiteY11" fmla="*/ 62536 h 64444"/>
                        <a:gd name="connsiteX12" fmla="*/ 16638 w 46925"/>
                        <a:gd name="connsiteY12" fmla="*/ 39574 h 64444"/>
                        <a:gd name="connsiteX13" fmla="*/ 15574 w 46925"/>
                        <a:gd name="connsiteY13" fmla="*/ 38197 h 64444"/>
                        <a:gd name="connsiteX14" fmla="*/ 14385 w 46925"/>
                        <a:gd name="connsiteY14" fmla="*/ 47270 h 64444"/>
                        <a:gd name="connsiteX15" fmla="*/ 12383 w 46925"/>
                        <a:gd name="connsiteY15" fmla="*/ 62661 h 64444"/>
                        <a:gd name="connsiteX16" fmla="*/ 10819 w 46925"/>
                        <a:gd name="connsiteY16" fmla="*/ 64100 h 64444"/>
                        <a:gd name="connsiteX17" fmla="*/ 1747 w 46925"/>
                        <a:gd name="connsiteY17" fmla="*/ 64100 h 64444"/>
                        <a:gd name="connsiteX18" fmla="*/ 495 w 46925"/>
                        <a:gd name="connsiteY18" fmla="*/ 62724 h 64444"/>
                        <a:gd name="connsiteX19" fmla="*/ 4500 w 46925"/>
                        <a:gd name="connsiteY19" fmla="*/ 33067 h 64444"/>
                        <a:gd name="connsiteX20" fmla="*/ 7440 w 46925"/>
                        <a:gd name="connsiteY20" fmla="*/ 10105 h 64444"/>
                        <a:gd name="connsiteX21" fmla="*/ 8191 w 46925"/>
                        <a:gd name="connsiteY21" fmla="*/ 8290 h 64444"/>
                        <a:gd name="connsiteX22" fmla="*/ 20454 w 46925"/>
                        <a:gd name="connsiteY22" fmla="*/ 469 h 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25" h="64444">
                          <a:moveTo>
                            <a:pt x="20454" y="469"/>
                          </a:moveTo>
                          <a:cubicBezTo>
                            <a:pt x="19203" y="9980"/>
                            <a:pt x="18014" y="19177"/>
                            <a:pt x="16763" y="28812"/>
                          </a:cubicBezTo>
                          <a:cubicBezTo>
                            <a:pt x="23332" y="21554"/>
                            <a:pt x="29652" y="14547"/>
                            <a:pt x="36221" y="7352"/>
                          </a:cubicBezTo>
                          <a:cubicBezTo>
                            <a:pt x="36909" y="11231"/>
                            <a:pt x="37535" y="14735"/>
                            <a:pt x="38223" y="18301"/>
                          </a:cubicBezTo>
                          <a:cubicBezTo>
                            <a:pt x="38349" y="19052"/>
                            <a:pt x="37723" y="19427"/>
                            <a:pt x="37347" y="19865"/>
                          </a:cubicBezTo>
                          <a:cubicBezTo>
                            <a:pt x="33531" y="23869"/>
                            <a:pt x="29777" y="27874"/>
                            <a:pt x="25898" y="31816"/>
                          </a:cubicBezTo>
                          <a:cubicBezTo>
                            <a:pt x="24959" y="32754"/>
                            <a:pt x="24959" y="33317"/>
                            <a:pt x="25710" y="34318"/>
                          </a:cubicBezTo>
                          <a:cubicBezTo>
                            <a:pt x="32530" y="43829"/>
                            <a:pt x="39350" y="53401"/>
                            <a:pt x="46169" y="62912"/>
                          </a:cubicBezTo>
                          <a:cubicBezTo>
                            <a:pt x="46357" y="63162"/>
                            <a:pt x="46545" y="63475"/>
                            <a:pt x="46670" y="63725"/>
                          </a:cubicBezTo>
                          <a:cubicBezTo>
                            <a:pt x="46357" y="64225"/>
                            <a:pt x="45919" y="64038"/>
                            <a:pt x="45544" y="64100"/>
                          </a:cubicBezTo>
                          <a:cubicBezTo>
                            <a:pt x="41915" y="64100"/>
                            <a:pt x="38223" y="64038"/>
                            <a:pt x="34595" y="64100"/>
                          </a:cubicBezTo>
                          <a:cubicBezTo>
                            <a:pt x="33281" y="64100"/>
                            <a:pt x="32467" y="63725"/>
                            <a:pt x="31716" y="62536"/>
                          </a:cubicBezTo>
                          <a:cubicBezTo>
                            <a:pt x="26711" y="54840"/>
                            <a:pt x="21643" y="47207"/>
                            <a:pt x="16638" y="39574"/>
                          </a:cubicBezTo>
                          <a:cubicBezTo>
                            <a:pt x="16387" y="39199"/>
                            <a:pt x="16075" y="38886"/>
                            <a:pt x="15574" y="38197"/>
                          </a:cubicBezTo>
                          <a:cubicBezTo>
                            <a:pt x="15136" y="41451"/>
                            <a:pt x="14761" y="44392"/>
                            <a:pt x="14385" y="47270"/>
                          </a:cubicBezTo>
                          <a:cubicBezTo>
                            <a:pt x="13697" y="52400"/>
                            <a:pt x="13009" y="57531"/>
                            <a:pt x="12383" y="62661"/>
                          </a:cubicBezTo>
                          <a:cubicBezTo>
                            <a:pt x="12258" y="63662"/>
                            <a:pt x="11882" y="64163"/>
                            <a:pt x="10819" y="64100"/>
                          </a:cubicBezTo>
                          <a:cubicBezTo>
                            <a:pt x="7816" y="64038"/>
                            <a:pt x="4750" y="64038"/>
                            <a:pt x="1747" y="64100"/>
                          </a:cubicBezTo>
                          <a:cubicBezTo>
                            <a:pt x="683" y="64100"/>
                            <a:pt x="370" y="63788"/>
                            <a:pt x="495" y="62724"/>
                          </a:cubicBezTo>
                          <a:cubicBezTo>
                            <a:pt x="1872" y="52838"/>
                            <a:pt x="3186" y="42953"/>
                            <a:pt x="4500" y="33067"/>
                          </a:cubicBezTo>
                          <a:cubicBezTo>
                            <a:pt x="5501" y="25434"/>
                            <a:pt x="6502" y="17800"/>
                            <a:pt x="7440" y="10105"/>
                          </a:cubicBezTo>
                          <a:cubicBezTo>
                            <a:pt x="7503" y="9416"/>
                            <a:pt x="7503" y="8728"/>
                            <a:pt x="8191" y="8290"/>
                          </a:cubicBezTo>
                          <a:cubicBezTo>
                            <a:pt x="12195" y="5850"/>
                            <a:pt x="16200" y="3222"/>
                            <a:pt x="20454" y="469"/>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0" name="Freeform: Shape 249">
                      <a:extLst>
                        <a:ext uri="{FF2B5EF4-FFF2-40B4-BE49-F238E27FC236}">
                          <a16:creationId xmlns:a16="http://schemas.microsoft.com/office/drawing/2014/main" id="{D337C39E-83BC-42A5-A7E9-55279EDD3994}"/>
                        </a:ext>
                      </a:extLst>
                    </p:cNvPr>
                    <p:cNvSpPr/>
                    <p:nvPr/>
                  </p:nvSpPr>
                  <p:spPr>
                    <a:xfrm>
                      <a:off x="7305247" y="3190695"/>
                      <a:ext cx="34324" cy="58734"/>
                    </a:xfrm>
                    <a:custGeom>
                      <a:avLst/>
                      <a:gdLst>
                        <a:gd name="connsiteX0" fmla="*/ 5755 w 28155"/>
                        <a:gd name="connsiteY0" fmla="*/ 47736 h 48176"/>
                        <a:gd name="connsiteX1" fmla="*/ 1501 w 28155"/>
                        <a:gd name="connsiteY1" fmla="*/ 47736 h 48176"/>
                        <a:gd name="connsiteX2" fmla="*/ 499 w 28155"/>
                        <a:gd name="connsiteY2" fmla="*/ 46547 h 48176"/>
                        <a:gd name="connsiteX3" fmla="*/ 3002 w 28155"/>
                        <a:gd name="connsiteY3" fmla="*/ 27715 h 48176"/>
                        <a:gd name="connsiteX4" fmla="*/ 4629 w 28155"/>
                        <a:gd name="connsiteY4" fmla="*/ 14888 h 48176"/>
                        <a:gd name="connsiteX5" fmla="*/ 20709 w 28155"/>
                        <a:gd name="connsiteY5" fmla="*/ 498 h 48176"/>
                        <a:gd name="connsiteX6" fmla="*/ 26528 w 28155"/>
                        <a:gd name="connsiteY6" fmla="*/ 498 h 48176"/>
                        <a:gd name="connsiteX7" fmla="*/ 27654 w 28155"/>
                        <a:gd name="connsiteY7" fmla="*/ 1812 h 48176"/>
                        <a:gd name="connsiteX8" fmla="*/ 26528 w 28155"/>
                        <a:gd name="connsiteY8" fmla="*/ 10383 h 48176"/>
                        <a:gd name="connsiteX9" fmla="*/ 25276 w 28155"/>
                        <a:gd name="connsiteY9" fmla="*/ 11510 h 48176"/>
                        <a:gd name="connsiteX10" fmla="*/ 20146 w 28155"/>
                        <a:gd name="connsiteY10" fmla="*/ 11510 h 48176"/>
                        <a:gd name="connsiteX11" fmla="*/ 15641 w 28155"/>
                        <a:gd name="connsiteY11" fmla="*/ 15201 h 48176"/>
                        <a:gd name="connsiteX12" fmla="*/ 13889 w 28155"/>
                        <a:gd name="connsiteY12" fmla="*/ 28528 h 48176"/>
                        <a:gd name="connsiteX13" fmla="*/ 11511 w 28155"/>
                        <a:gd name="connsiteY13" fmla="*/ 46547 h 48176"/>
                        <a:gd name="connsiteX14" fmla="*/ 10135 w 28155"/>
                        <a:gd name="connsiteY14" fmla="*/ 47799 h 48176"/>
                        <a:gd name="connsiteX15" fmla="*/ 5755 w 28155"/>
                        <a:gd name="connsiteY15" fmla="*/ 47736 h 48176"/>
                        <a:gd name="connsiteX16" fmla="*/ 5755 w 28155"/>
                        <a:gd name="connsiteY16" fmla="*/ 47736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55" h="48176">
                          <a:moveTo>
                            <a:pt x="5755" y="47736"/>
                          </a:moveTo>
                          <a:cubicBezTo>
                            <a:pt x="4316" y="47736"/>
                            <a:pt x="2877" y="47736"/>
                            <a:pt x="1501" y="47736"/>
                          </a:cubicBezTo>
                          <a:cubicBezTo>
                            <a:pt x="625" y="47736"/>
                            <a:pt x="374" y="47486"/>
                            <a:pt x="499" y="46547"/>
                          </a:cubicBezTo>
                          <a:cubicBezTo>
                            <a:pt x="1375" y="40291"/>
                            <a:pt x="2189" y="33971"/>
                            <a:pt x="3002" y="27715"/>
                          </a:cubicBezTo>
                          <a:cubicBezTo>
                            <a:pt x="3565" y="23460"/>
                            <a:pt x="4254" y="19205"/>
                            <a:pt x="4629" y="14888"/>
                          </a:cubicBezTo>
                          <a:cubicBezTo>
                            <a:pt x="5442" y="6129"/>
                            <a:pt x="13013" y="-3"/>
                            <a:pt x="20709" y="498"/>
                          </a:cubicBezTo>
                          <a:cubicBezTo>
                            <a:pt x="22648" y="623"/>
                            <a:pt x="24588" y="560"/>
                            <a:pt x="26528" y="498"/>
                          </a:cubicBezTo>
                          <a:cubicBezTo>
                            <a:pt x="27591" y="435"/>
                            <a:pt x="27779" y="873"/>
                            <a:pt x="27654" y="1812"/>
                          </a:cubicBezTo>
                          <a:cubicBezTo>
                            <a:pt x="27216" y="4690"/>
                            <a:pt x="26840" y="7505"/>
                            <a:pt x="26528" y="10383"/>
                          </a:cubicBezTo>
                          <a:cubicBezTo>
                            <a:pt x="26402" y="11259"/>
                            <a:pt x="26090" y="11510"/>
                            <a:pt x="25276" y="11510"/>
                          </a:cubicBezTo>
                          <a:cubicBezTo>
                            <a:pt x="23587" y="11447"/>
                            <a:pt x="21835" y="11510"/>
                            <a:pt x="20146" y="11510"/>
                          </a:cubicBezTo>
                          <a:cubicBezTo>
                            <a:pt x="17518" y="11510"/>
                            <a:pt x="16016" y="12698"/>
                            <a:pt x="15641" y="15201"/>
                          </a:cubicBezTo>
                          <a:cubicBezTo>
                            <a:pt x="15015" y="19643"/>
                            <a:pt x="14452" y="24086"/>
                            <a:pt x="13889" y="28528"/>
                          </a:cubicBezTo>
                          <a:cubicBezTo>
                            <a:pt x="13076" y="34534"/>
                            <a:pt x="12325" y="40541"/>
                            <a:pt x="11511" y="46547"/>
                          </a:cubicBezTo>
                          <a:cubicBezTo>
                            <a:pt x="11386" y="47423"/>
                            <a:pt x="11073" y="47799"/>
                            <a:pt x="10135" y="47799"/>
                          </a:cubicBezTo>
                          <a:cubicBezTo>
                            <a:pt x="8571" y="47611"/>
                            <a:pt x="7132" y="47674"/>
                            <a:pt x="5755" y="47736"/>
                          </a:cubicBezTo>
                          <a:cubicBezTo>
                            <a:pt x="5755" y="47674"/>
                            <a:pt x="5755" y="47736"/>
                            <a:pt x="5755" y="47736"/>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1" name="Freeform: Shape 250">
                      <a:extLst>
                        <a:ext uri="{FF2B5EF4-FFF2-40B4-BE49-F238E27FC236}">
                          <a16:creationId xmlns:a16="http://schemas.microsoft.com/office/drawing/2014/main" id="{E1C3D72B-679F-4E07-90DC-76F07E8DC343}"/>
                        </a:ext>
                      </a:extLst>
                    </p:cNvPr>
                    <p:cNvSpPr/>
                    <p:nvPr/>
                  </p:nvSpPr>
                  <p:spPr>
                    <a:xfrm>
                      <a:off x="7446016" y="3203315"/>
                      <a:ext cx="35088" cy="36613"/>
                    </a:xfrm>
                    <a:custGeom>
                      <a:avLst/>
                      <a:gdLst>
                        <a:gd name="connsiteX0" fmla="*/ 14735 w 28781"/>
                        <a:gd name="connsiteY0" fmla="*/ 25371 h 30032"/>
                        <a:gd name="connsiteX1" fmla="*/ 18989 w 28781"/>
                        <a:gd name="connsiteY1" fmla="*/ 12920 h 30032"/>
                        <a:gd name="connsiteX2" fmla="*/ 22743 w 28781"/>
                        <a:gd name="connsiteY2" fmla="*/ 1783 h 30032"/>
                        <a:gd name="connsiteX3" fmla="*/ 24495 w 28781"/>
                        <a:gd name="connsiteY3" fmla="*/ 469 h 30032"/>
                        <a:gd name="connsiteX4" fmla="*/ 28562 w 28781"/>
                        <a:gd name="connsiteY4" fmla="*/ 4474 h 30032"/>
                        <a:gd name="connsiteX5" fmla="*/ 28625 w 28781"/>
                        <a:gd name="connsiteY5" fmla="*/ 28437 h 30032"/>
                        <a:gd name="connsiteX6" fmla="*/ 26622 w 28781"/>
                        <a:gd name="connsiteY6" fmla="*/ 29939 h 30032"/>
                        <a:gd name="connsiteX7" fmla="*/ 24745 w 28781"/>
                        <a:gd name="connsiteY7" fmla="*/ 28437 h 30032"/>
                        <a:gd name="connsiteX8" fmla="*/ 24808 w 28781"/>
                        <a:gd name="connsiteY8" fmla="*/ 7602 h 30032"/>
                        <a:gd name="connsiteX9" fmla="*/ 24808 w 28781"/>
                        <a:gd name="connsiteY9" fmla="*/ 5975 h 30032"/>
                        <a:gd name="connsiteX10" fmla="*/ 24558 w 28781"/>
                        <a:gd name="connsiteY10" fmla="*/ 5913 h 30032"/>
                        <a:gd name="connsiteX11" fmla="*/ 20428 w 28781"/>
                        <a:gd name="connsiteY11" fmla="*/ 17926 h 30032"/>
                        <a:gd name="connsiteX12" fmla="*/ 16737 w 28781"/>
                        <a:gd name="connsiteY12" fmla="*/ 28750 h 30032"/>
                        <a:gd name="connsiteX13" fmla="*/ 14359 w 28781"/>
                        <a:gd name="connsiteY13" fmla="*/ 30001 h 30032"/>
                        <a:gd name="connsiteX14" fmla="*/ 12232 w 28781"/>
                        <a:gd name="connsiteY14" fmla="*/ 28750 h 30032"/>
                        <a:gd name="connsiteX15" fmla="*/ 4974 w 28781"/>
                        <a:gd name="connsiteY15" fmla="*/ 7289 h 30032"/>
                        <a:gd name="connsiteX16" fmla="*/ 4286 w 28781"/>
                        <a:gd name="connsiteY16" fmla="*/ 6100 h 30032"/>
                        <a:gd name="connsiteX17" fmla="*/ 4286 w 28781"/>
                        <a:gd name="connsiteY17" fmla="*/ 12295 h 30032"/>
                        <a:gd name="connsiteX18" fmla="*/ 4286 w 28781"/>
                        <a:gd name="connsiteY18" fmla="*/ 28562 h 30032"/>
                        <a:gd name="connsiteX19" fmla="*/ 2784 w 28781"/>
                        <a:gd name="connsiteY19" fmla="*/ 30064 h 30032"/>
                        <a:gd name="connsiteX20" fmla="*/ 469 w 28781"/>
                        <a:gd name="connsiteY20" fmla="*/ 27686 h 30032"/>
                        <a:gd name="connsiteX21" fmla="*/ 469 w 28781"/>
                        <a:gd name="connsiteY21" fmla="*/ 2221 h 30032"/>
                        <a:gd name="connsiteX22" fmla="*/ 2033 w 28781"/>
                        <a:gd name="connsiteY22" fmla="*/ 594 h 30032"/>
                        <a:gd name="connsiteX23" fmla="*/ 7727 w 28781"/>
                        <a:gd name="connsiteY23" fmla="*/ 4724 h 30032"/>
                        <a:gd name="connsiteX24" fmla="*/ 14234 w 28781"/>
                        <a:gd name="connsiteY24" fmla="*/ 24307 h 30032"/>
                        <a:gd name="connsiteX25" fmla="*/ 14735 w 28781"/>
                        <a:gd name="connsiteY25" fmla="*/ 25371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781" h="30032">
                          <a:moveTo>
                            <a:pt x="14735" y="25371"/>
                          </a:moveTo>
                          <a:cubicBezTo>
                            <a:pt x="16174" y="21054"/>
                            <a:pt x="17613" y="16987"/>
                            <a:pt x="18989" y="12920"/>
                          </a:cubicBezTo>
                          <a:cubicBezTo>
                            <a:pt x="20241" y="9229"/>
                            <a:pt x="21555" y="5475"/>
                            <a:pt x="22743" y="1783"/>
                          </a:cubicBezTo>
                          <a:cubicBezTo>
                            <a:pt x="23056" y="845"/>
                            <a:pt x="23432" y="469"/>
                            <a:pt x="24495" y="469"/>
                          </a:cubicBezTo>
                          <a:cubicBezTo>
                            <a:pt x="28562" y="469"/>
                            <a:pt x="28562" y="469"/>
                            <a:pt x="28562" y="4474"/>
                          </a:cubicBezTo>
                          <a:cubicBezTo>
                            <a:pt x="28562" y="12482"/>
                            <a:pt x="28499" y="20428"/>
                            <a:pt x="28625" y="28437"/>
                          </a:cubicBezTo>
                          <a:cubicBezTo>
                            <a:pt x="28625" y="30314"/>
                            <a:pt x="27624" y="29876"/>
                            <a:pt x="26622" y="29939"/>
                          </a:cubicBezTo>
                          <a:cubicBezTo>
                            <a:pt x="25559" y="30001"/>
                            <a:pt x="24745" y="30126"/>
                            <a:pt x="24745" y="28437"/>
                          </a:cubicBezTo>
                          <a:cubicBezTo>
                            <a:pt x="24871" y="21492"/>
                            <a:pt x="24808" y="14547"/>
                            <a:pt x="24808" y="7602"/>
                          </a:cubicBezTo>
                          <a:cubicBezTo>
                            <a:pt x="24808" y="7039"/>
                            <a:pt x="24808" y="6538"/>
                            <a:pt x="24808" y="5975"/>
                          </a:cubicBezTo>
                          <a:cubicBezTo>
                            <a:pt x="24745" y="5975"/>
                            <a:pt x="24620" y="5913"/>
                            <a:pt x="24558" y="5913"/>
                          </a:cubicBezTo>
                          <a:cubicBezTo>
                            <a:pt x="23181" y="9917"/>
                            <a:pt x="21805" y="13921"/>
                            <a:pt x="20428" y="17926"/>
                          </a:cubicBezTo>
                          <a:cubicBezTo>
                            <a:pt x="19177" y="21554"/>
                            <a:pt x="17863" y="25121"/>
                            <a:pt x="16737" y="28750"/>
                          </a:cubicBezTo>
                          <a:cubicBezTo>
                            <a:pt x="16299" y="30251"/>
                            <a:pt x="15360" y="29939"/>
                            <a:pt x="14359" y="30001"/>
                          </a:cubicBezTo>
                          <a:cubicBezTo>
                            <a:pt x="13358" y="30064"/>
                            <a:pt x="12607" y="29939"/>
                            <a:pt x="12232" y="28750"/>
                          </a:cubicBezTo>
                          <a:cubicBezTo>
                            <a:pt x="9854" y="21554"/>
                            <a:pt x="7414" y="14422"/>
                            <a:pt x="4974" y="7289"/>
                          </a:cubicBezTo>
                          <a:cubicBezTo>
                            <a:pt x="4849" y="6851"/>
                            <a:pt x="4661" y="6476"/>
                            <a:pt x="4286" y="6100"/>
                          </a:cubicBezTo>
                          <a:cubicBezTo>
                            <a:pt x="4286" y="8165"/>
                            <a:pt x="4286" y="10230"/>
                            <a:pt x="4286" y="12295"/>
                          </a:cubicBezTo>
                          <a:cubicBezTo>
                            <a:pt x="4286" y="17738"/>
                            <a:pt x="4223" y="23119"/>
                            <a:pt x="4286" y="28562"/>
                          </a:cubicBezTo>
                          <a:cubicBezTo>
                            <a:pt x="4286" y="29751"/>
                            <a:pt x="4036" y="30126"/>
                            <a:pt x="2784" y="30064"/>
                          </a:cubicBezTo>
                          <a:cubicBezTo>
                            <a:pt x="469" y="30001"/>
                            <a:pt x="469" y="30064"/>
                            <a:pt x="469" y="27686"/>
                          </a:cubicBezTo>
                          <a:cubicBezTo>
                            <a:pt x="469" y="19177"/>
                            <a:pt x="469" y="10730"/>
                            <a:pt x="469" y="2221"/>
                          </a:cubicBezTo>
                          <a:cubicBezTo>
                            <a:pt x="469" y="1032"/>
                            <a:pt x="657" y="532"/>
                            <a:pt x="2033" y="594"/>
                          </a:cubicBezTo>
                          <a:cubicBezTo>
                            <a:pt x="6351" y="657"/>
                            <a:pt x="6351" y="594"/>
                            <a:pt x="7727" y="4724"/>
                          </a:cubicBezTo>
                          <a:cubicBezTo>
                            <a:pt x="9917" y="11231"/>
                            <a:pt x="12044" y="17800"/>
                            <a:pt x="14234" y="24307"/>
                          </a:cubicBezTo>
                          <a:cubicBezTo>
                            <a:pt x="14359" y="24495"/>
                            <a:pt x="14547" y="24808"/>
                            <a:pt x="14735" y="25371"/>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2" name="Freeform: Shape 251">
                      <a:extLst>
                        <a:ext uri="{FF2B5EF4-FFF2-40B4-BE49-F238E27FC236}">
                          <a16:creationId xmlns:a16="http://schemas.microsoft.com/office/drawing/2014/main" id="{6373EFAD-C56F-458C-9922-2BED1369639D}"/>
                        </a:ext>
                      </a:extLst>
                    </p:cNvPr>
                    <p:cNvSpPr/>
                    <p:nvPr/>
                  </p:nvSpPr>
                  <p:spPr>
                    <a:xfrm>
                      <a:off x="7537299" y="3203273"/>
                      <a:ext cx="23646" cy="37376"/>
                    </a:xfrm>
                    <a:custGeom>
                      <a:avLst/>
                      <a:gdLst>
                        <a:gd name="connsiteX0" fmla="*/ 4178 w 19395"/>
                        <a:gd name="connsiteY0" fmla="*/ 11141 h 30658"/>
                        <a:gd name="connsiteX1" fmla="*/ 18131 w 19395"/>
                        <a:gd name="connsiteY1" fmla="*/ 13894 h 30658"/>
                        <a:gd name="connsiteX2" fmla="*/ 17693 w 19395"/>
                        <a:gd name="connsiteY2" fmla="*/ 25156 h 30658"/>
                        <a:gd name="connsiteX3" fmla="*/ 9684 w 19395"/>
                        <a:gd name="connsiteY3" fmla="*/ 30286 h 30658"/>
                        <a:gd name="connsiteX4" fmla="*/ 4303 w 19395"/>
                        <a:gd name="connsiteY4" fmla="*/ 27346 h 30658"/>
                        <a:gd name="connsiteX5" fmla="*/ 3990 w 19395"/>
                        <a:gd name="connsiteY5" fmla="*/ 27909 h 30658"/>
                        <a:gd name="connsiteX6" fmla="*/ 1050 w 19395"/>
                        <a:gd name="connsiteY6" fmla="*/ 29973 h 30658"/>
                        <a:gd name="connsiteX7" fmla="*/ 549 w 19395"/>
                        <a:gd name="connsiteY7" fmla="*/ 28597 h 30658"/>
                        <a:gd name="connsiteX8" fmla="*/ 549 w 19395"/>
                        <a:gd name="connsiteY8" fmla="*/ 12705 h 30658"/>
                        <a:gd name="connsiteX9" fmla="*/ 487 w 19395"/>
                        <a:gd name="connsiteY9" fmla="*/ 1755 h 30658"/>
                        <a:gd name="connsiteX10" fmla="*/ 2051 w 19395"/>
                        <a:gd name="connsiteY10" fmla="*/ 567 h 30658"/>
                        <a:gd name="connsiteX11" fmla="*/ 4178 w 19395"/>
                        <a:gd name="connsiteY11" fmla="*/ 1693 h 30658"/>
                        <a:gd name="connsiteX12" fmla="*/ 4178 w 19395"/>
                        <a:gd name="connsiteY12" fmla="*/ 11141 h 30658"/>
                        <a:gd name="connsiteX13" fmla="*/ 15315 w 19395"/>
                        <a:gd name="connsiteY13" fmla="*/ 19024 h 30658"/>
                        <a:gd name="connsiteX14" fmla="*/ 14940 w 19395"/>
                        <a:gd name="connsiteY14" fmla="*/ 16021 h 30658"/>
                        <a:gd name="connsiteX15" fmla="*/ 9997 w 19395"/>
                        <a:gd name="connsiteY15" fmla="*/ 11516 h 30658"/>
                        <a:gd name="connsiteX16" fmla="*/ 4428 w 19395"/>
                        <a:gd name="connsiteY16" fmla="*/ 15520 h 30658"/>
                        <a:gd name="connsiteX17" fmla="*/ 4366 w 19395"/>
                        <a:gd name="connsiteY17" fmla="*/ 22903 h 30658"/>
                        <a:gd name="connsiteX18" fmla="*/ 8871 w 19395"/>
                        <a:gd name="connsiteY18" fmla="*/ 26845 h 30658"/>
                        <a:gd name="connsiteX19" fmla="*/ 14252 w 19395"/>
                        <a:gd name="connsiteY19" fmla="*/ 23967 h 30658"/>
                        <a:gd name="connsiteX20" fmla="*/ 15315 w 19395"/>
                        <a:gd name="connsiteY20" fmla="*/ 19024 h 3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5" h="30658">
                          <a:moveTo>
                            <a:pt x="4178" y="11141"/>
                          </a:moveTo>
                          <a:cubicBezTo>
                            <a:pt x="8620" y="5760"/>
                            <a:pt x="16316" y="8137"/>
                            <a:pt x="18131" y="13894"/>
                          </a:cubicBezTo>
                          <a:cubicBezTo>
                            <a:pt x="19382" y="17773"/>
                            <a:pt x="19382" y="21527"/>
                            <a:pt x="17693" y="25156"/>
                          </a:cubicBezTo>
                          <a:cubicBezTo>
                            <a:pt x="16129" y="28472"/>
                            <a:pt x="13438" y="30224"/>
                            <a:pt x="9684" y="30286"/>
                          </a:cubicBezTo>
                          <a:cubicBezTo>
                            <a:pt x="7369" y="30286"/>
                            <a:pt x="5617" y="29160"/>
                            <a:pt x="4303" y="27346"/>
                          </a:cubicBezTo>
                          <a:cubicBezTo>
                            <a:pt x="3865" y="27408"/>
                            <a:pt x="3990" y="27721"/>
                            <a:pt x="3990" y="27909"/>
                          </a:cubicBezTo>
                          <a:cubicBezTo>
                            <a:pt x="3928" y="29911"/>
                            <a:pt x="2989" y="30536"/>
                            <a:pt x="1050" y="29973"/>
                          </a:cubicBezTo>
                          <a:cubicBezTo>
                            <a:pt x="174" y="29723"/>
                            <a:pt x="549" y="29035"/>
                            <a:pt x="549" y="28597"/>
                          </a:cubicBezTo>
                          <a:cubicBezTo>
                            <a:pt x="487" y="23279"/>
                            <a:pt x="549" y="18023"/>
                            <a:pt x="549" y="12705"/>
                          </a:cubicBezTo>
                          <a:cubicBezTo>
                            <a:pt x="549" y="9076"/>
                            <a:pt x="612" y="5384"/>
                            <a:pt x="487" y="1755"/>
                          </a:cubicBezTo>
                          <a:cubicBezTo>
                            <a:pt x="424" y="316"/>
                            <a:pt x="1237" y="442"/>
                            <a:pt x="2051" y="567"/>
                          </a:cubicBezTo>
                          <a:cubicBezTo>
                            <a:pt x="2864" y="692"/>
                            <a:pt x="4241" y="-184"/>
                            <a:pt x="4178" y="1693"/>
                          </a:cubicBezTo>
                          <a:cubicBezTo>
                            <a:pt x="4116" y="4696"/>
                            <a:pt x="4178" y="7699"/>
                            <a:pt x="4178" y="11141"/>
                          </a:cubicBezTo>
                          <a:close/>
                          <a:moveTo>
                            <a:pt x="15315" y="19024"/>
                          </a:moveTo>
                          <a:cubicBezTo>
                            <a:pt x="15378" y="18148"/>
                            <a:pt x="15190" y="17084"/>
                            <a:pt x="14940" y="16021"/>
                          </a:cubicBezTo>
                          <a:cubicBezTo>
                            <a:pt x="14314" y="13456"/>
                            <a:pt x="12312" y="11704"/>
                            <a:pt x="9997" y="11516"/>
                          </a:cubicBezTo>
                          <a:cubicBezTo>
                            <a:pt x="7619" y="11391"/>
                            <a:pt x="5242" y="12955"/>
                            <a:pt x="4428" y="15520"/>
                          </a:cubicBezTo>
                          <a:cubicBezTo>
                            <a:pt x="3615" y="17960"/>
                            <a:pt x="3678" y="20463"/>
                            <a:pt x="4366" y="22903"/>
                          </a:cubicBezTo>
                          <a:cubicBezTo>
                            <a:pt x="4992" y="25093"/>
                            <a:pt x="6556" y="26470"/>
                            <a:pt x="8871" y="26845"/>
                          </a:cubicBezTo>
                          <a:cubicBezTo>
                            <a:pt x="10998" y="27158"/>
                            <a:pt x="13125" y="25969"/>
                            <a:pt x="14252" y="23967"/>
                          </a:cubicBezTo>
                          <a:cubicBezTo>
                            <a:pt x="15065" y="22528"/>
                            <a:pt x="15315" y="20901"/>
                            <a:pt x="15315" y="19024"/>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3" name="Freeform: Shape 252">
                      <a:extLst>
                        <a:ext uri="{FF2B5EF4-FFF2-40B4-BE49-F238E27FC236}">
                          <a16:creationId xmlns:a16="http://schemas.microsoft.com/office/drawing/2014/main" id="{B8894AFE-B8B4-4B3A-9CA0-1FFF3B0A7EB4}"/>
                        </a:ext>
                      </a:extLst>
                    </p:cNvPr>
                    <p:cNvSpPr/>
                    <p:nvPr/>
                  </p:nvSpPr>
                  <p:spPr>
                    <a:xfrm>
                      <a:off x="7487732" y="3203384"/>
                      <a:ext cx="22883" cy="36613"/>
                    </a:xfrm>
                    <a:custGeom>
                      <a:avLst/>
                      <a:gdLst>
                        <a:gd name="connsiteX0" fmla="*/ 476 w 18770"/>
                        <a:gd name="connsiteY0" fmla="*/ 15117 h 30032"/>
                        <a:gd name="connsiteX1" fmla="*/ 476 w 18770"/>
                        <a:gd name="connsiteY1" fmla="*/ 1977 h 30032"/>
                        <a:gd name="connsiteX2" fmla="*/ 1978 w 18770"/>
                        <a:gd name="connsiteY2" fmla="*/ 476 h 30032"/>
                        <a:gd name="connsiteX3" fmla="*/ 4418 w 18770"/>
                        <a:gd name="connsiteY3" fmla="*/ 2916 h 30032"/>
                        <a:gd name="connsiteX4" fmla="*/ 4355 w 18770"/>
                        <a:gd name="connsiteY4" fmla="*/ 24940 h 30032"/>
                        <a:gd name="connsiteX5" fmla="*/ 5919 w 18770"/>
                        <a:gd name="connsiteY5" fmla="*/ 26504 h 30032"/>
                        <a:gd name="connsiteX6" fmla="*/ 17557 w 18770"/>
                        <a:gd name="connsiteY6" fmla="*/ 26441 h 30032"/>
                        <a:gd name="connsiteX7" fmla="*/ 18871 w 18770"/>
                        <a:gd name="connsiteY7" fmla="*/ 28256 h 30032"/>
                        <a:gd name="connsiteX8" fmla="*/ 17494 w 18770"/>
                        <a:gd name="connsiteY8" fmla="*/ 29883 h 30032"/>
                        <a:gd name="connsiteX9" fmla="*/ 1790 w 18770"/>
                        <a:gd name="connsiteY9" fmla="*/ 29883 h 30032"/>
                        <a:gd name="connsiteX10" fmla="*/ 476 w 18770"/>
                        <a:gd name="connsiteY10" fmla="*/ 28569 h 30032"/>
                        <a:gd name="connsiteX11" fmla="*/ 476 w 18770"/>
                        <a:gd name="connsiteY11" fmla="*/ 15117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70" h="30032">
                          <a:moveTo>
                            <a:pt x="476" y="15117"/>
                          </a:moveTo>
                          <a:cubicBezTo>
                            <a:pt x="476" y="10737"/>
                            <a:pt x="538" y="6357"/>
                            <a:pt x="476" y="1977"/>
                          </a:cubicBezTo>
                          <a:cubicBezTo>
                            <a:pt x="476" y="789"/>
                            <a:pt x="726" y="413"/>
                            <a:pt x="1978" y="476"/>
                          </a:cubicBezTo>
                          <a:cubicBezTo>
                            <a:pt x="4355" y="538"/>
                            <a:pt x="4418" y="476"/>
                            <a:pt x="4418" y="2916"/>
                          </a:cubicBezTo>
                          <a:cubicBezTo>
                            <a:pt x="4418" y="10236"/>
                            <a:pt x="4480" y="17619"/>
                            <a:pt x="4355" y="24940"/>
                          </a:cubicBezTo>
                          <a:cubicBezTo>
                            <a:pt x="4355" y="26191"/>
                            <a:pt x="4668" y="26566"/>
                            <a:pt x="5919" y="26504"/>
                          </a:cubicBezTo>
                          <a:cubicBezTo>
                            <a:pt x="9798" y="26441"/>
                            <a:pt x="13678" y="26566"/>
                            <a:pt x="17557" y="26441"/>
                          </a:cubicBezTo>
                          <a:cubicBezTo>
                            <a:pt x="19184" y="26379"/>
                            <a:pt x="18871" y="27380"/>
                            <a:pt x="18871" y="28256"/>
                          </a:cubicBezTo>
                          <a:cubicBezTo>
                            <a:pt x="18933" y="29257"/>
                            <a:pt x="18933" y="29945"/>
                            <a:pt x="17494" y="29883"/>
                          </a:cubicBezTo>
                          <a:cubicBezTo>
                            <a:pt x="12239" y="29820"/>
                            <a:pt x="7045" y="29820"/>
                            <a:pt x="1790" y="29883"/>
                          </a:cubicBezTo>
                          <a:cubicBezTo>
                            <a:pt x="789" y="29883"/>
                            <a:pt x="413" y="29632"/>
                            <a:pt x="476" y="28569"/>
                          </a:cubicBezTo>
                          <a:cubicBezTo>
                            <a:pt x="538" y="24126"/>
                            <a:pt x="476" y="19621"/>
                            <a:pt x="476" y="15117"/>
                          </a:cubicBezTo>
                          <a:close/>
                        </a:path>
                      </a:pathLst>
                    </a:custGeom>
                    <a:solidFill>
                      <a:srgbClr val="3835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4" name="Freeform: Shape 253">
                      <a:extLst>
                        <a:ext uri="{FF2B5EF4-FFF2-40B4-BE49-F238E27FC236}">
                          <a16:creationId xmlns:a16="http://schemas.microsoft.com/office/drawing/2014/main" id="{859BC4B9-6E7A-4C66-B6B9-077CBCD20CC5}"/>
                        </a:ext>
                      </a:extLst>
                    </p:cNvPr>
                    <p:cNvSpPr/>
                    <p:nvPr/>
                  </p:nvSpPr>
                  <p:spPr>
                    <a:xfrm>
                      <a:off x="7515119" y="3203320"/>
                      <a:ext cx="5340" cy="36613"/>
                    </a:xfrm>
                    <a:custGeom>
                      <a:avLst/>
                      <a:gdLst>
                        <a:gd name="connsiteX0" fmla="*/ 535 w 4379"/>
                        <a:gd name="connsiteY0" fmla="*/ 15232 h 30032"/>
                        <a:gd name="connsiteX1" fmla="*/ 472 w 4379"/>
                        <a:gd name="connsiteY1" fmla="*/ 1780 h 30032"/>
                        <a:gd name="connsiteX2" fmla="*/ 2224 w 4379"/>
                        <a:gd name="connsiteY2" fmla="*/ 528 h 30032"/>
                        <a:gd name="connsiteX3" fmla="*/ 4164 w 4379"/>
                        <a:gd name="connsiteY3" fmla="*/ 1717 h 30032"/>
                        <a:gd name="connsiteX4" fmla="*/ 4164 w 4379"/>
                        <a:gd name="connsiteY4" fmla="*/ 28684 h 30032"/>
                        <a:gd name="connsiteX5" fmla="*/ 2474 w 4379"/>
                        <a:gd name="connsiteY5" fmla="*/ 29935 h 30032"/>
                        <a:gd name="connsiteX6" fmla="*/ 535 w 4379"/>
                        <a:gd name="connsiteY6" fmla="*/ 28746 h 30032"/>
                        <a:gd name="connsiteX7" fmla="*/ 535 w 4379"/>
                        <a:gd name="connsiteY7" fmla="*/ 15232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30032">
                          <a:moveTo>
                            <a:pt x="535" y="15232"/>
                          </a:moveTo>
                          <a:cubicBezTo>
                            <a:pt x="535" y="10727"/>
                            <a:pt x="597" y="6222"/>
                            <a:pt x="472" y="1780"/>
                          </a:cubicBezTo>
                          <a:cubicBezTo>
                            <a:pt x="410" y="215"/>
                            <a:pt x="1348" y="466"/>
                            <a:pt x="2224" y="528"/>
                          </a:cubicBezTo>
                          <a:cubicBezTo>
                            <a:pt x="3038" y="591"/>
                            <a:pt x="4164" y="-35"/>
                            <a:pt x="4164" y="1717"/>
                          </a:cubicBezTo>
                          <a:cubicBezTo>
                            <a:pt x="4101" y="10727"/>
                            <a:pt x="4101" y="19674"/>
                            <a:pt x="4164" y="28684"/>
                          </a:cubicBezTo>
                          <a:cubicBezTo>
                            <a:pt x="4164" y="30248"/>
                            <a:pt x="3288" y="29998"/>
                            <a:pt x="2474" y="29935"/>
                          </a:cubicBezTo>
                          <a:cubicBezTo>
                            <a:pt x="1661" y="29872"/>
                            <a:pt x="535" y="30498"/>
                            <a:pt x="535" y="28746"/>
                          </a:cubicBezTo>
                          <a:cubicBezTo>
                            <a:pt x="597" y="24241"/>
                            <a:pt x="535" y="19737"/>
                            <a:pt x="535" y="15232"/>
                          </a:cubicBezTo>
                          <a:close/>
                        </a:path>
                      </a:pathLst>
                    </a:custGeom>
                    <a:solidFill>
                      <a:srgbClr val="38343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5" name="Freeform: Shape 254">
                      <a:extLst>
                        <a:ext uri="{FF2B5EF4-FFF2-40B4-BE49-F238E27FC236}">
                          <a16:creationId xmlns:a16="http://schemas.microsoft.com/office/drawing/2014/main" id="{129A547D-F6BE-4A60-8D33-C497064AC683}"/>
                        </a:ext>
                      </a:extLst>
                    </p:cNvPr>
                    <p:cNvSpPr/>
                    <p:nvPr/>
                  </p:nvSpPr>
                  <p:spPr>
                    <a:xfrm>
                      <a:off x="7526032" y="3212964"/>
                      <a:ext cx="5340" cy="27459"/>
                    </a:xfrm>
                    <a:custGeom>
                      <a:avLst/>
                      <a:gdLst>
                        <a:gd name="connsiteX0" fmla="*/ 4223 w 4379"/>
                        <a:gd name="connsiteY0" fmla="*/ 11263 h 22524"/>
                        <a:gd name="connsiteX1" fmla="*/ 4223 w 4379"/>
                        <a:gd name="connsiteY1" fmla="*/ 20648 h 22524"/>
                        <a:gd name="connsiteX2" fmla="*/ 2972 w 4379"/>
                        <a:gd name="connsiteY2" fmla="*/ 22087 h 22524"/>
                        <a:gd name="connsiteX3" fmla="*/ 532 w 4379"/>
                        <a:gd name="connsiteY3" fmla="*/ 19647 h 22524"/>
                        <a:gd name="connsiteX4" fmla="*/ 469 w 4379"/>
                        <a:gd name="connsiteY4" fmla="*/ 1878 h 22524"/>
                        <a:gd name="connsiteX5" fmla="*/ 2221 w 4379"/>
                        <a:gd name="connsiteY5" fmla="*/ 501 h 22524"/>
                        <a:gd name="connsiteX6" fmla="*/ 4223 w 4379"/>
                        <a:gd name="connsiteY6" fmla="*/ 1878 h 22524"/>
                        <a:gd name="connsiteX7" fmla="*/ 4223 w 4379"/>
                        <a:gd name="connsiteY7" fmla="*/ 11263 h 2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22524">
                          <a:moveTo>
                            <a:pt x="4223" y="11263"/>
                          </a:moveTo>
                          <a:cubicBezTo>
                            <a:pt x="4223" y="14391"/>
                            <a:pt x="4223" y="17519"/>
                            <a:pt x="4223" y="20648"/>
                          </a:cubicBezTo>
                          <a:cubicBezTo>
                            <a:pt x="4223" y="21586"/>
                            <a:pt x="4098" y="22087"/>
                            <a:pt x="2972" y="22087"/>
                          </a:cubicBezTo>
                          <a:cubicBezTo>
                            <a:pt x="532" y="22024"/>
                            <a:pt x="532" y="22149"/>
                            <a:pt x="532" y="19647"/>
                          </a:cubicBezTo>
                          <a:cubicBezTo>
                            <a:pt x="532" y="13703"/>
                            <a:pt x="594" y="7759"/>
                            <a:pt x="469" y="1878"/>
                          </a:cubicBezTo>
                          <a:cubicBezTo>
                            <a:pt x="469" y="313"/>
                            <a:pt x="1283" y="438"/>
                            <a:pt x="2221" y="501"/>
                          </a:cubicBezTo>
                          <a:cubicBezTo>
                            <a:pt x="3160" y="564"/>
                            <a:pt x="4286" y="63"/>
                            <a:pt x="4223" y="1878"/>
                          </a:cubicBezTo>
                          <a:cubicBezTo>
                            <a:pt x="4161" y="4943"/>
                            <a:pt x="4223" y="8134"/>
                            <a:pt x="4223" y="11263"/>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6" name="Freeform: Shape 255">
                      <a:extLst>
                        <a:ext uri="{FF2B5EF4-FFF2-40B4-BE49-F238E27FC236}">
                          <a16:creationId xmlns:a16="http://schemas.microsoft.com/office/drawing/2014/main" id="{EF805836-D73E-48B5-A86E-39B5BFE40280}"/>
                        </a:ext>
                      </a:extLst>
                    </p:cNvPr>
                    <p:cNvSpPr/>
                    <p:nvPr/>
                  </p:nvSpPr>
                  <p:spPr>
                    <a:xfrm>
                      <a:off x="7526107" y="3203281"/>
                      <a:ext cx="5340" cy="5340"/>
                    </a:xfrm>
                    <a:custGeom>
                      <a:avLst/>
                      <a:gdLst>
                        <a:gd name="connsiteX0" fmla="*/ 4098 w 4379"/>
                        <a:gd name="connsiteY0" fmla="*/ 2312 h 4379"/>
                        <a:gd name="connsiteX1" fmla="*/ 2346 w 4379"/>
                        <a:gd name="connsiteY1" fmla="*/ 4377 h 4379"/>
                        <a:gd name="connsiteX2" fmla="*/ 469 w 4379"/>
                        <a:gd name="connsiteY2" fmla="*/ 2375 h 4379"/>
                        <a:gd name="connsiteX3" fmla="*/ 2221 w 4379"/>
                        <a:gd name="connsiteY3" fmla="*/ 498 h 4379"/>
                        <a:gd name="connsiteX4" fmla="*/ 4098 w 4379"/>
                        <a:gd name="connsiteY4" fmla="*/ 2312 h 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 h="4379">
                          <a:moveTo>
                            <a:pt x="4098" y="2312"/>
                          </a:moveTo>
                          <a:cubicBezTo>
                            <a:pt x="4536" y="3939"/>
                            <a:pt x="3910" y="4314"/>
                            <a:pt x="2346" y="4377"/>
                          </a:cubicBezTo>
                          <a:cubicBezTo>
                            <a:pt x="657" y="4440"/>
                            <a:pt x="469" y="3814"/>
                            <a:pt x="469" y="2375"/>
                          </a:cubicBezTo>
                          <a:cubicBezTo>
                            <a:pt x="469" y="1061"/>
                            <a:pt x="594" y="310"/>
                            <a:pt x="2221" y="498"/>
                          </a:cubicBezTo>
                          <a:cubicBezTo>
                            <a:pt x="3598" y="623"/>
                            <a:pt x="4724" y="498"/>
                            <a:pt x="4098" y="2312"/>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19" name="Group 18">
                  <a:extLst>
                    <a:ext uri="{FF2B5EF4-FFF2-40B4-BE49-F238E27FC236}">
                      <a16:creationId xmlns:a16="http://schemas.microsoft.com/office/drawing/2014/main" id="{97D9D6ED-CE41-4EB7-B61E-53D0E79D35B9}"/>
                    </a:ext>
                  </a:extLst>
                </p:cNvPr>
                <p:cNvGrpSpPr/>
                <p:nvPr/>
              </p:nvGrpSpPr>
              <p:grpSpPr>
                <a:xfrm>
                  <a:off x="7934729" y="3169239"/>
                  <a:ext cx="327882" cy="327880"/>
                  <a:chOff x="7811848" y="3008659"/>
                  <a:chExt cx="586168" cy="586166"/>
                </a:xfrm>
              </p:grpSpPr>
              <p:sp>
                <p:nvSpPr>
                  <p:cNvPr id="296" name="Oval 295">
                    <a:extLst>
                      <a:ext uri="{FF2B5EF4-FFF2-40B4-BE49-F238E27FC236}">
                        <a16:creationId xmlns:a16="http://schemas.microsoft.com/office/drawing/2014/main" id="{E7BFB984-7B45-4DE6-82E8-DC7471A279C0}"/>
                      </a:ext>
                    </a:extLst>
                  </p:cNvPr>
                  <p:cNvSpPr/>
                  <p:nvPr/>
                </p:nvSpPr>
                <p:spPr bwMode="auto">
                  <a:xfrm>
                    <a:off x="7811848"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27" name="Group 226">
                    <a:extLst>
                      <a:ext uri="{FF2B5EF4-FFF2-40B4-BE49-F238E27FC236}">
                        <a16:creationId xmlns:a16="http://schemas.microsoft.com/office/drawing/2014/main" id="{A391F441-E0A1-403F-8A07-88C5208FC3D2}"/>
                      </a:ext>
                    </a:extLst>
                  </p:cNvPr>
                  <p:cNvGrpSpPr>
                    <a:grpSpLocks noChangeAspect="1"/>
                  </p:cNvGrpSpPr>
                  <p:nvPr/>
                </p:nvGrpSpPr>
                <p:grpSpPr>
                  <a:xfrm>
                    <a:off x="7921565" y="3102904"/>
                    <a:ext cx="366703" cy="397629"/>
                    <a:chOff x="4259308" y="6644655"/>
                    <a:chExt cx="266505" cy="288965"/>
                  </a:xfrm>
                </p:grpSpPr>
                <p:sp>
                  <p:nvSpPr>
                    <p:cNvPr id="228" name="Freeform: Shape 227">
                      <a:extLst>
                        <a:ext uri="{FF2B5EF4-FFF2-40B4-BE49-F238E27FC236}">
                          <a16:creationId xmlns:a16="http://schemas.microsoft.com/office/drawing/2014/main" id="{EF88F208-BA03-44E7-A65A-442DC83CD283}"/>
                        </a:ext>
                      </a:extLst>
                    </p:cNvPr>
                    <p:cNvSpPr/>
                    <p:nvPr/>
                  </p:nvSpPr>
                  <p:spPr>
                    <a:xfrm>
                      <a:off x="4259968" y="6644655"/>
                      <a:ext cx="265554" cy="111927"/>
                    </a:xfrm>
                    <a:custGeom>
                      <a:avLst/>
                      <a:gdLst>
                        <a:gd name="connsiteX0" fmla="*/ 93505 w 163380"/>
                        <a:gd name="connsiteY0" fmla="*/ 428 h 68862"/>
                        <a:gd name="connsiteX1" fmla="*/ 98141 w 163380"/>
                        <a:gd name="connsiteY1" fmla="*/ 3173 h 68862"/>
                        <a:gd name="connsiteX2" fmla="*/ 109573 w 163380"/>
                        <a:gd name="connsiteY2" fmla="*/ 9879 h 68862"/>
                        <a:gd name="connsiteX3" fmla="*/ 120465 w 163380"/>
                        <a:gd name="connsiteY3" fmla="*/ 16225 h 68862"/>
                        <a:gd name="connsiteX4" fmla="*/ 132122 w 163380"/>
                        <a:gd name="connsiteY4" fmla="*/ 23022 h 68862"/>
                        <a:gd name="connsiteX5" fmla="*/ 142654 w 163380"/>
                        <a:gd name="connsiteY5" fmla="*/ 29188 h 68862"/>
                        <a:gd name="connsiteX6" fmla="*/ 154446 w 163380"/>
                        <a:gd name="connsiteY6" fmla="*/ 36074 h 68862"/>
                        <a:gd name="connsiteX7" fmla="*/ 162682 w 163380"/>
                        <a:gd name="connsiteY7" fmla="*/ 40890 h 68862"/>
                        <a:gd name="connsiteX8" fmla="*/ 163312 w 163380"/>
                        <a:gd name="connsiteY8" fmla="*/ 41385 h 68862"/>
                        <a:gd name="connsiteX9" fmla="*/ 160387 w 163380"/>
                        <a:gd name="connsiteY9" fmla="*/ 43140 h 68862"/>
                        <a:gd name="connsiteX10" fmla="*/ 155166 w 163380"/>
                        <a:gd name="connsiteY10" fmla="*/ 46156 h 68862"/>
                        <a:gd name="connsiteX11" fmla="*/ 146975 w 163380"/>
                        <a:gd name="connsiteY11" fmla="*/ 50927 h 68862"/>
                        <a:gd name="connsiteX12" fmla="*/ 140043 w 163380"/>
                        <a:gd name="connsiteY12" fmla="*/ 54932 h 68862"/>
                        <a:gd name="connsiteX13" fmla="*/ 139863 w 163380"/>
                        <a:gd name="connsiteY13" fmla="*/ 54752 h 68862"/>
                        <a:gd name="connsiteX14" fmla="*/ 129916 w 163380"/>
                        <a:gd name="connsiteY14" fmla="*/ 48946 h 68862"/>
                        <a:gd name="connsiteX15" fmla="*/ 126451 w 163380"/>
                        <a:gd name="connsiteY15" fmla="*/ 46921 h 68862"/>
                        <a:gd name="connsiteX16" fmla="*/ 118439 w 163380"/>
                        <a:gd name="connsiteY16" fmla="*/ 42195 h 68862"/>
                        <a:gd name="connsiteX17" fmla="*/ 112723 w 163380"/>
                        <a:gd name="connsiteY17" fmla="*/ 38865 h 68862"/>
                        <a:gd name="connsiteX18" fmla="*/ 104712 w 163380"/>
                        <a:gd name="connsiteY18" fmla="*/ 34139 h 68862"/>
                        <a:gd name="connsiteX19" fmla="*/ 97510 w 163380"/>
                        <a:gd name="connsiteY19" fmla="*/ 29953 h 68862"/>
                        <a:gd name="connsiteX20" fmla="*/ 93550 w 163380"/>
                        <a:gd name="connsiteY20" fmla="*/ 27657 h 68862"/>
                        <a:gd name="connsiteX21" fmla="*/ 93370 w 163380"/>
                        <a:gd name="connsiteY21" fmla="*/ 27657 h 68862"/>
                        <a:gd name="connsiteX22" fmla="*/ 90399 w 163380"/>
                        <a:gd name="connsiteY22" fmla="*/ 29368 h 68862"/>
                        <a:gd name="connsiteX23" fmla="*/ 84773 w 163380"/>
                        <a:gd name="connsiteY23" fmla="*/ 32698 h 68862"/>
                        <a:gd name="connsiteX24" fmla="*/ 79822 w 163380"/>
                        <a:gd name="connsiteY24" fmla="*/ 35579 h 68862"/>
                        <a:gd name="connsiteX25" fmla="*/ 75321 w 163380"/>
                        <a:gd name="connsiteY25" fmla="*/ 38234 h 68862"/>
                        <a:gd name="connsiteX26" fmla="*/ 69290 w 163380"/>
                        <a:gd name="connsiteY26" fmla="*/ 41700 h 68862"/>
                        <a:gd name="connsiteX27" fmla="*/ 62404 w 163380"/>
                        <a:gd name="connsiteY27" fmla="*/ 45796 h 68862"/>
                        <a:gd name="connsiteX28" fmla="*/ 56148 w 163380"/>
                        <a:gd name="connsiteY28" fmla="*/ 49486 h 68862"/>
                        <a:gd name="connsiteX29" fmla="*/ 50567 w 163380"/>
                        <a:gd name="connsiteY29" fmla="*/ 52727 h 68862"/>
                        <a:gd name="connsiteX30" fmla="*/ 45931 w 163380"/>
                        <a:gd name="connsiteY30" fmla="*/ 55428 h 68862"/>
                        <a:gd name="connsiteX31" fmla="*/ 40305 w 163380"/>
                        <a:gd name="connsiteY31" fmla="*/ 58758 h 68862"/>
                        <a:gd name="connsiteX32" fmla="*/ 33194 w 163380"/>
                        <a:gd name="connsiteY32" fmla="*/ 62944 h 68862"/>
                        <a:gd name="connsiteX33" fmla="*/ 27478 w 163380"/>
                        <a:gd name="connsiteY33" fmla="*/ 66274 h 68862"/>
                        <a:gd name="connsiteX34" fmla="*/ 23607 w 163380"/>
                        <a:gd name="connsiteY34" fmla="*/ 68525 h 68862"/>
                        <a:gd name="connsiteX35" fmla="*/ 23427 w 163380"/>
                        <a:gd name="connsiteY35" fmla="*/ 68525 h 68862"/>
                        <a:gd name="connsiteX36" fmla="*/ 21131 w 163380"/>
                        <a:gd name="connsiteY36" fmla="*/ 67130 h 68862"/>
                        <a:gd name="connsiteX37" fmla="*/ 12580 w 163380"/>
                        <a:gd name="connsiteY37" fmla="*/ 62134 h 68862"/>
                        <a:gd name="connsiteX38" fmla="*/ 7224 w 163380"/>
                        <a:gd name="connsiteY38" fmla="*/ 59028 h 68862"/>
                        <a:gd name="connsiteX39" fmla="*/ 1463 w 163380"/>
                        <a:gd name="connsiteY39" fmla="*/ 55608 h 68862"/>
                        <a:gd name="connsiteX40" fmla="*/ 383 w 163380"/>
                        <a:gd name="connsiteY40" fmla="*/ 55067 h 68862"/>
                        <a:gd name="connsiteX41" fmla="*/ 338 w 163380"/>
                        <a:gd name="connsiteY41" fmla="*/ 54887 h 68862"/>
                        <a:gd name="connsiteX42" fmla="*/ 788 w 163380"/>
                        <a:gd name="connsiteY42" fmla="*/ 54572 h 68862"/>
                        <a:gd name="connsiteX43" fmla="*/ 10329 w 163380"/>
                        <a:gd name="connsiteY43" fmla="*/ 48991 h 68862"/>
                        <a:gd name="connsiteX44" fmla="*/ 21716 w 163380"/>
                        <a:gd name="connsiteY44" fmla="*/ 42330 h 68862"/>
                        <a:gd name="connsiteX45" fmla="*/ 32518 w 163380"/>
                        <a:gd name="connsiteY45" fmla="*/ 36029 h 68862"/>
                        <a:gd name="connsiteX46" fmla="*/ 44401 w 163380"/>
                        <a:gd name="connsiteY46" fmla="*/ 29098 h 68862"/>
                        <a:gd name="connsiteX47" fmla="*/ 54843 w 163380"/>
                        <a:gd name="connsiteY47" fmla="*/ 22977 h 68862"/>
                        <a:gd name="connsiteX48" fmla="*/ 66590 w 163380"/>
                        <a:gd name="connsiteY48" fmla="*/ 16135 h 68862"/>
                        <a:gd name="connsiteX49" fmla="*/ 77257 w 163380"/>
                        <a:gd name="connsiteY49" fmla="*/ 9879 h 68862"/>
                        <a:gd name="connsiteX50" fmla="*/ 88779 w 163380"/>
                        <a:gd name="connsiteY50" fmla="*/ 3128 h 68862"/>
                        <a:gd name="connsiteX51" fmla="*/ 93505 w 163380"/>
                        <a:gd name="connsiteY51" fmla="*/ 338 h 68862"/>
                        <a:gd name="connsiteX52" fmla="*/ 93505 w 163380"/>
                        <a:gd name="connsiteY52" fmla="*/ 428 h 6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3380" h="68862">
                          <a:moveTo>
                            <a:pt x="93505" y="428"/>
                          </a:moveTo>
                          <a:cubicBezTo>
                            <a:pt x="95035" y="1328"/>
                            <a:pt x="96610" y="2228"/>
                            <a:pt x="98141" y="3173"/>
                          </a:cubicBezTo>
                          <a:cubicBezTo>
                            <a:pt x="101921" y="5468"/>
                            <a:pt x="105792" y="7584"/>
                            <a:pt x="109573" y="9879"/>
                          </a:cubicBezTo>
                          <a:cubicBezTo>
                            <a:pt x="113173" y="12040"/>
                            <a:pt x="116864" y="14065"/>
                            <a:pt x="120465" y="16225"/>
                          </a:cubicBezTo>
                          <a:cubicBezTo>
                            <a:pt x="124290" y="18566"/>
                            <a:pt x="128251" y="20681"/>
                            <a:pt x="132122" y="23022"/>
                          </a:cubicBezTo>
                          <a:cubicBezTo>
                            <a:pt x="135587" y="25137"/>
                            <a:pt x="139188" y="27072"/>
                            <a:pt x="142654" y="29188"/>
                          </a:cubicBezTo>
                          <a:cubicBezTo>
                            <a:pt x="146524" y="31573"/>
                            <a:pt x="150530" y="33734"/>
                            <a:pt x="154446" y="36074"/>
                          </a:cubicBezTo>
                          <a:cubicBezTo>
                            <a:pt x="157191" y="37739"/>
                            <a:pt x="159982" y="39270"/>
                            <a:pt x="162682" y="40890"/>
                          </a:cubicBezTo>
                          <a:cubicBezTo>
                            <a:pt x="162907" y="41025"/>
                            <a:pt x="163222" y="41070"/>
                            <a:pt x="163312" y="41385"/>
                          </a:cubicBezTo>
                          <a:cubicBezTo>
                            <a:pt x="162322" y="41970"/>
                            <a:pt x="161332" y="42555"/>
                            <a:pt x="160387" y="43140"/>
                          </a:cubicBezTo>
                          <a:cubicBezTo>
                            <a:pt x="158677" y="44220"/>
                            <a:pt x="156921" y="45211"/>
                            <a:pt x="155166" y="46156"/>
                          </a:cubicBezTo>
                          <a:cubicBezTo>
                            <a:pt x="152375" y="47686"/>
                            <a:pt x="149720" y="49396"/>
                            <a:pt x="146975" y="50927"/>
                          </a:cubicBezTo>
                          <a:cubicBezTo>
                            <a:pt x="144634" y="52232"/>
                            <a:pt x="142339" y="53582"/>
                            <a:pt x="140043" y="54932"/>
                          </a:cubicBezTo>
                          <a:cubicBezTo>
                            <a:pt x="139998" y="54887"/>
                            <a:pt x="139908" y="54797"/>
                            <a:pt x="139863" y="54752"/>
                          </a:cubicBezTo>
                          <a:cubicBezTo>
                            <a:pt x="136533" y="52817"/>
                            <a:pt x="133202" y="50972"/>
                            <a:pt x="129916" y="48946"/>
                          </a:cubicBezTo>
                          <a:cubicBezTo>
                            <a:pt x="128791" y="48226"/>
                            <a:pt x="127621" y="47596"/>
                            <a:pt x="126451" y="46921"/>
                          </a:cubicBezTo>
                          <a:cubicBezTo>
                            <a:pt x="123795" y="45346"/>
                            <a:pt x="121050" y="43815"/>
                            <a:pt x="118439" y="42195"/>
                          </a:cubicBezTo>
                          <a:cubicBezTo>
                            <a:pt x="116549" y="41025"/>
                            <a:pt x="114614" y="39990"/>
                            <a:pt x="112723" y="38865"/>
                          </a:cubicBezTo>
                          <a:cubicBezTo>
                            <a:pt x="110023" y="37289"/>
                            <a:pt x="107367" y="35714"/>
                            <a:pt x="104712" y="34139"/>
                          </a:cubicBezTo>
                          <a:cubicBezTo>
                            <a:pt x="102326" y="32743"/>
                            <a:pt x="99896" y="31393"/>
                            <a:pt x="97510" y="29953"/>
                          </a:cubicBezTo>
                          <a:cubicBezTo>
                            <a:pt x="96205" y="29188"/>
                            <a:pt x="94900" y="28378"/>
                            <a:pt x="93550" y="27657"/>
                          </a:cubicBezTo>
                          <a:cubicBezTo>
                            <a:pt x="93505" y="27657"/>
                            <a:pt x="93415" y="27657"/>
                            <a:pt x="93370" y="27657"/>
                          </a:cubicBezTo>
                          <a:cubicBezTo>
                            <a:pt x="92379" y="28243"/>
                            <a:pt x="91389" y="28783"/>
                            <a:pt x="90399" y="29368"/>
                          </a:cubicBezTo>
                          <a:cubicBezTo>
                            <a:pt x="88554" y="30538"/>
                            <a:pt x="86663" y="31573"/>
                            <a:pt x="84773" y="32698"/>
                          </a:cubicBezTo>
                          <a:cubicBezTo>
                            <a:pt x="83153" y="33689"/>
                            <a:pt x="81487" y="34589"/>
                            <a:pt x="79822" y="35579"/>
                          </a:cubicBezTo>
                          <a:cubicBezTo>
                            <a:pt x="78337" y="36479"/>
                            <a:pt x="76852" y="37379"/>
                            <a:pt x="75321" y="38234"/>
                          </a:cubicBezTo>
                          <a:cubicBezTo>
                            <a:pt x="73341" y="39405"/>
                            <a:pt x="71271" y="40485"/>
                            <a:pt x="69290" y="41700"/>
                          </a:cubicBezTo>
                          <a:cubicBezTo>
                            <a:pt x="66995" y="43095"/>
                            <a:pt x="64699" y="44401"/>
                            <a:pt x="62404" y="45796"/>
                          </a:cubicBezTo>
                          <a:cubicBezTo>
                            <a:pt x="60334" y="47011"/>
                            <a:pt x="58173" y="48181"/>
                            <a:pt x="56148" y="49486"/>
                          </a:cubicBezTo>
                          <a:cubicBezTo>
                            <a:pt x="54347" y="50612"/>
                            <a:pt x="52412" y="51647"/>
                            <a:pt x="50567" y="52727"/>
                          </a:cubicBezTo>
                          <a:cubicBezTo>
                            <a:pt x="48991" y="53627"/>
                            <a:pt x="47416" y="54482"/>
                            <a:pt x="45931" y="55428"/>
                          </a:cubicBezTo>
                          <a:cubicBezTo>
                            <a:pt x="44086" y="56598"/>
                            <a:pt x="42195" y="57633"/>
                            <a:pt x="40305" y="58758"/>
                          </a:cubicBezTo>
                          <a:cubicBezTo>
                            <a:pt x="37919" y="60153"/>
                            <a:pt x="35534" y="61504"/>
                            <a:pt x="33194" y="62944"/>
                          </a:cubicBezTo>
                          <a:cubicBezTo>
                            <a:pt x="31303" y="64069"/>
                            <a:pt x="29368" y="65149"/>
                            <a:pt x="27478" y="66274"/>
                          </a:cubicBezTo>
                          <a:cubicBezTo>
                            <a:pt x="26172" y="67040"/>
                            <a:pt x="24912" y="67805"/>
                            <a:pt x="23607" y="68525"/>
                          </a:cubicBezTo>
                          <a:cubicBezTo>
                            <a:pt x="23562" y="68525"/>
                            <a:pt x="23517" y="68525"/>
                            <a:pt x="23427" y="68525"/>
                          </a:cubicBezTo>
                          <a:cubicBezTo>
                            <a:pt x="22707" y="67985"/>
                            <a:pt x="21897" y="67625"/>
                            <a:pt x="21131" y="67130"/>
                          </a:cubicBezTo>
                          <a:cubicBezTo>
                            <a:pt x="18296" y="65419"/>
                            <a:pt x="15415" y="63889"/>
                            <a:pt x="12580" y="62134"/>
                          </a:cubicBezTo>
                          <a:cubicBezTo>
                            <a:pt x="10824" y="61054"/>
                            <a:pt x="8979" y="60063"/>
                            <a:pt x="7224" y="59028"/>
                          </a:cubicBezTo>
                          <a:cubicBezTo>
                            <a:pt x="5288" y="57903"/>
                            <a:pt x="3308" y="56868"/>
                            <a:pt x="1463" y="55608"/>
                          </a:cubicBezTo>
                          <a:cubicBezTo>
                            <a:pt x="1103" y="55382"/>
                            <a:pt x="788" y="55157"/>
                            <a:pt x="383" y="55067"/>
                          </a:cubicBezTo>
                          <a:cubicBezTo>
                            <a:pt x="383" y="55022"/>
                            <a:pt x="338" y="54932"/>
                            <a:pt x="338" y="54887"/>
                          </a:cubicBezTo>
                          <a:cubicBezTo>
                            <a:pt x="473" y="54707"/>
                            <a:pt x="653" y="54662"/>
                            <a:pt x="788" y="54572"/>
                          </a:cubicBezTo>
                          <a:cubicBezTo>
                            <a:pt x="3938" y="52682"/>
                            <a:pt x="7179" y="50927"/>
                            <a:pt x="10329" y="48991"/>
                          </a:cubicBezTo>
                          <a:cubicBezTo>
                            <a:pt x="14065" y="46696"/>
                            <a:pt x="17936" y="44626"/>
                            <a:pt x="21716" y="42330"/>
                          </a:cubicBezTo>
                          <a:cubicBezTo>
                            <a:pt x="25272" y="40170"/>
                            <a:pt x="28963" y="38189"/>
                            <a:pt x="32518" y="36029"/>
                          </a:cubicBezTo>
                          <a:cubicBezTo>
                            <a:pt x="36434" y="33644"/>
                            <a:pt x="40485" y="31483"/>
                            <a:pt x="44401" y="29098"/>
                          </a:cubicBezTo>
                          <a:cubicBezTo>
                            <a:pt x="47866" y="26982"/>
                            <a:pt x="51422" y="25092"/>
                            <a:pt x="54843" y="22977"/>
                          </a:cubicBezTo>
                          <a:cubicBezTo>
                            <a:pt x="58713" y="20636"/>
                            <a:pt x="62719" y="18476"/>
                            <a:pt x="66590" y="16135"/>
                          </a:cubicBezTo>
                          <a:cubicBezTo>
                            <a:pt x="70100" y="13975"/>
                            <a:pt x="73746" y="12040"/>
                            <a:pt x="77257" y="9879"/>
                          </a:cubicBezTo>
                          <a:cubicBezTo>
                            <a:pt x="81037" y="7584"/>
                            <a:pt x="84998" y="5468"/>
                            <a:pt x="88779" y="3128"/>
                          </a:cubicBezTo>
                          <a:cubicBezTo>
                            <a:pt x="90309" y="2183"/>
                            <a:pt x="91929" y="1283"/>
                            <a:pt x="93505" y="338"/>
                          </a:cubicBezTo>
                          <a:cubicBezTo>
                            <a:pt x="93370" y="428"/>
                            <a:pt x="93415" y="428"/>
                            <a:pt x="93505" y="428"/>
                          </a:cubicBezTo>
                          <a:close/>
                        </a:path>
                      </a:pathLst>
                    </a:custGeom>
                    <a:solidFill>
                      <a:srgbClr val="C2C2C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AA4C46F9-47A9-4B4E-9ACC-03DFC98D10F9}"/>
                        </a:ext>
                      </a:extLst>
                    </p:cNvPr>
                    <p:cNvSpPr/>
                    <p:nvPr/>
                  </p:nvSpPr>
                  <p:spPr>
                    <a:xfrm>
                      <a:off x="4259308" y="6733466"/>
                      <a:ext cx="1463" cy="45356"/>
                    </a:xfrm>
                    <a:custGeom>
                      <a:avLst/>
                      <a:gdLst>
                        <a:gd name="connsiteX0" fmla="*/ 338 w 900"/>
                        <a:gd name="connsiteY0" fmla="*/ 338 h 27905"/>
                        <a:gd name="connsiteX1" fmla="*/ 518 w 900"/>
                        <a:gd name="connsiteY1" fmla="*/ 338 h 27905"/>
                        <a:gd name="connsiteX2" fmla="*/ 563 w 900"/>
                        <a:gd name="connsiteY2" fmla="*/ 518 h 27905"/>
                        <a:gd name="connsiteX3" fmla="*/ 518 w 900"/>
                        <a:gd name="connsiteY3" fmla="*/ 1193 h 27905"/>
                        <a:gd name="connsiteX4" fmla="*/ 518 w 900"/>
                        <a:gd name="connsiteY4" fmla="*/ 26892 h 27905"/>
                        <a:gd name="connsiteX5" fmla="*/ 563 w 900"/>
                        <a:gd name="connsiteY5" fmla="*/ 27612 h 27905"/>
                        <a:gd name="connsiteX6" fmla="*/ 338 w 900"/>
                        <a:gd name="connsiteY6" fmla="*/ 27657 h 27905"/>
                        <a:gd name="connsiteX7" fmla="*/ 338 w 900"/>
                        <a:gd name="connsiteY7" fmla="*/ 338 h 2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 h="27905">
                          <a:moveTo>
                            <a:pt x="338" y="338"/>
                          </a:moveTo>
                          <a:cubicBezTo>
                            <a:pt x="383" y="338"/>
                            <a:pt x="428" y="338"/>
                            <a:pt x="518" y="338"/>
                          </a:cubicBezTo>
                          <a:cubicBezTo>
                            <a:pt x="518" y="383"/>
                            <a:pt x="563" y="473"/>
                            <a:pt x="563" y="518"/>
                          </a:cubicBezTo>
                          <a:cubicBezTo>
                            <a:pt x="563" y="743"/>
                            <a:pt x="518" y="968"/>
                            <a:pt x="518" y="1193"/>
                          </a:cubicBezTo>
                          <a:cubicBezTo>
                            <a:pt x="518" y="9744"/>
                            <a:pt x="518" y="18341"/>
                            <a:pt x="518" y="26892"/>
                          </a:cubicBezTo>
                          <a:cubicBezTo>
                            <a:pt x="518" y="27117"/>
                            <a:pt x="518" y="27387"/>
                            <a:pt x="563" y="27612"/>
                          </a:cubicBezTo>
                          <a:cubicBezTo>
                            <a:pt x="473" y="27612"/>
                            <a:pt x="428" y="27657"/>
                            <a:pt x="338" y="27657"/>
                          </a:cubicBezTo>
                          <a:cubicBezTo>
                            <a:pt x="338" y="18611"/>
                            <a:pt x="338" y="9474"/>
                            <a:pt x="338" y="338"/>
                          </a:cubicBezTo>
                          <a:close/>
                        </a:path>
                      </a:pathLst>
                    </a:custGeom>
                    <a:solidFill>
                      <a:srgbClr val="F6C8B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0" name="Freeform: Shape 229">
                      <a:extLst>
                        <a:ext uri="{FF2B5EF4-FFF2-40B4-BE49-F238E27FC236}">
                          <a16:creationId xmlns:a16="http://schemas.microsoft.com/office/drawing/2014/main" id="{E1FDA1B8-FCA9-46B5-90AE-50218EFB4054}"/>
                        </a:ext>
                      </a:extLst>
                    </p:cNvPr>
                    <p:cNvSpPr/>
                    <p:nvPr/>
                  </p:nvSpPr>
                  <p:spPr>
                    <a:xfrm>
                      <a:off x="4335390" y="6755852"/>
                      <a:ext cx="76814" cy="177768"/>
                    </a:xfrm>
                    <a:custGeom>
                      <a:avLst/>
                      <a:gdLst>
                        <a:gd name="connsiteX0" fmla="*/ 23652 w 47258"/>
                        <a:gd name="connsiteY0" fmla="*/ 109122 h 109369"/>
                        <a:gd name="connsiteX1" fmla="*/ 21086 w 47258"/>
                        <a:gd name="connsiteY1" fmla="*/ 107727 h 109369"/>
                        <a:gd name="connsiteX2" fmla="*/ 17621 w 47258"/>
                        <a:gd name="connsiteY2" fmla="*/ 105702 h 109369"/>
                        <a:gd name="connsiteX3" fmla="*/ 12715 w 47258"/>
                        <a:gd name="connsiteY3" fmla="*/ 102776 h 109369"/>
                        <a:gd name="connsiteX4" fmla="*/ 6009 w 47258"/>
                        <a:gd name="connsiteY4" fmla="*/ 98905 h 109369"/>
                        <a:gd name="connsiteX5" fmla="*/ 923 w 47258"/>
                        <a:gd name="connsiteY5" fmla="*/ 95935 h 109369"/>
                        <a:gd name="connsiteX6" fmla="*/ 338 w 47258"/>
                        <a:gd name="connsiteY6" fmla="*/ 94810 h 109369"/>
                        <a:gd name="connsiteX7" fmla="*/ 338 w 47258"/>
                        <a:gd name="connsiteY7" fmla="*/ 63709 h 109369"/>
                        <a:gd name="connsiteX8" fmla="*/ 338 w 47258"/>
                        <a:gd name="connsiteY8" fmla="*/ 15145 h 109369"/>
                        <a:gd name="connsiteX9" fmla="*/ 338 w 47258"/>
                        <a:gd name="connsiteY9" fmla="*/ 14065 h 109369"/>
                        <a:gd name="connsiteX10" fmla="*/ 383 w 47258"/>
                        <a:gd name="connsiteY10" fmla="*/ 13885 h 109369"/>
                        <a:gd name="connsiteX11" fmla="*/ 2633 w 47258"/>
                        <a:gd name="connsiteY11" fmla="*/ 12445 h 109369"/>
                        <a:gd name="connsiteX12" fmla="*/ 7449 w 47258"/>
                        <a:gd name="connsiteY12" fmla="*/ 9699 h 109369"/>
                        <a:gd name="connsiteX13" fmla="*/ 13075 w 47258"/>
                        <a:gd name="connsiteY13" fmla="*/ 6369 h 109369"/>
                        <a:gd name="connsiteX14" fmla="*/ 21491 w 47258"/>
                        <a:gd name="connsiteY14" fmla="*/ 1508 h 109369"/>
                        <a:gd name="connsiteX15" fmla="*/ 23562 w 47258"/>
                        <a:gd name="connsiteY15" fmla="*/ 338 h 109369"/>
                        <a:gd name="connsiteX16" fmla="*/ 23652 w 47258"/>
                        <a:gd name="connsiteY16" fmla="*/ 1328 h 109369"/>
                        <a:gd name="connsiteX17" fmla="*/ 23652 w 47258"/>
                        <a:gd name="connsiteY17" fmla="*/ 26307 h 109369"/>
                        <a:gd name="connsiteX18" fmla="*/ 23652 w 47258"/>
                        <a:gd name="connsiteY18" fmla="*/ 27387 h 109369"/>
                        <a:gd name="connsiteX19" fmla="*/ 24012 w 47258"/>
                        <a:gd name="connsiteY19" fmla="*/ 27703 h 109369"/>
                        <a:gd name="connsiteX20" fmla="*/ 33914 w 47258"/>
                        <a:gd name="connsiteY20" fmla="*/ 33464 h 109369"/>
                        <a:gd name="connsiteX21" fmla="*/ 41430 w 47258"/>
                        <a:gd name="connsiteY21" fmla="*/ 37784 h 109369"/>
                        <a:gd name="connsiteX22" fmla="*/ 46966 w 47258"/>
                        <a:gd name="connsiteY22" fmla="*/ 41115 h 109369"/>
                        <a:gd name="connsiteX23" fmla="*/ 46966 w 47258"/>
                        <a:gd name="connsiteY23" fmla="*/ 67985 h 109369"/>
                        <a:gd name="connsiteX24" fmla="*/ 46966 w 47258"/>
                        <a:gd name="connsiteY24" fmla="*/ 68165 h 109369"/>
                        <a:gd name="connsiteX25" fmla="*/ 46561 w 47258"/>
                        <a:gd name="connsiteY25" fmla="*/ 68030 h 109369"/>
                        <a:gd name="connsiteX26" fmla="*/ 42825 w 47258"/>
                        <a:gd name="connsiteY26" fmla="*/ 65824 h 109369"/>
                        <a:gd name="connsiteX27" fmla="*/ 39315 w 47258"/>
                        <a:gd name="connsiteY27" fmla="*/ 63754 h 109369"/>
                        <a:gd name="connsiteX28" fmla="*/ 34364 w 47258"/>
                        <a:gd name="connsiteY28" fmla="*/ 60873 h 109369"/>
                        <a:gd name="connsiteX29" fmla="*/ 30943 w 47258"/>
                        <a:gd name="connsiteY29" fmla="*/ 58803 h 109369"/>
                        <a:gd name="connsiteX30" fmla="*/ 25992 w 47258"/>
                        <a:gd name="connsiteY30" fmla="*/ 55923 h 109369"/>
                        <a:gd name="connsiteX31" fmla="*/ 23697 w 47258"/>
                        <a:gd name="connsiteY31" fmla="*/ 54617 h 109369"/>
                        <a:gd name="connsiteX32" fmla="*/ 23652 w 47258"/>
                        <a:gd name="connsiteY32" fmla="*/ 109122 h 10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258" h="109369">
                          <a:moveTo>
                            <a:pt x="23652" y="109122"/>
                          </a:moveTo>
                          <a:cubicBezTo>
                            <a:pt x="22707" y="108807"/>
                            <a:pt x="21897" y="108222"/>
                            <a:pt x="21086" y="107727"/>
                          </a:cubicBezTo>
                          <a:cubicBezTo>
                            <a:pt x="19916" y="107052"/>
                            <a:pt x="18791" y="106377"/>
                            <a:pt x="17621" y="105702"/>
                          </a:cubicBezTo>
                          <a:cubicBezTo>
                            <a:pt x="16000" y="104711"/>
                            <a:pt x="14380" y="103766"/>
                            <a:pt x="12715" y="102776"/>
                          </a:cubicBezTo>
                          <a:cubicBezTo>
                            <a:pt x="10464" y="101471"/>
                            <a:pt x="8214" y="100211"/>
                            <a:pt x="6009" y="98905"/>
                          </a:cubicBezTo>
                          <a:cubicBezTo>
                            <a:pt x="4343" y="97915"/>
                            <a:pt x="2678" y="96835"/>
                            <a:pt x="923" y="95935"/>
                          </a:cubicBezTo>
                          <a:cubicBezTo>
                            <a:pt x="473" y="95710"/>
                            <a:pt x="338" y="95305"/>
                            <a:pt x="338" y="94810"/>
                          </a:cubicBezTo>
                          <a:cubicBezTo>
                            <a:pt x="338" y="84458"/>
                            <a:pt x="338" y="74061"/>
                            <a:pt x="338" y="63709"/>
                          </a:cubicBezTo>
                          <a:cubicBezTo>
                            <a:pt x="338" y="47506"/>
                            <a:pt x="338" y="31348"/>
                            <a:pt x="338" y="15145"/>
                          </a:cubicBezTo>
                          <a:cubicBezTo>
                            <a:pt x="338" y="14785"/>
                            <a:pt x="338" y="14425"/>
                            <a:pt x="338" y="14065"/>
                          </a:cubicBezTo>
                          <a:cubicBezTo>
                            <a:pt x="338" y="14020"/>
                            <a:pt x="383" y="13930"/>
                            <a:pt x="383" y="13885"/>
                          </a:cubicBezTo>
                          <a:cubicBezTo>
                            <a:pt x="1058" y="13255"/>
                            <a:pt x="1868" y="12895"/>
                            <a:pt x="2633" y="12445"/>
                          </a:cubicBezTo>
                          <a:cubicBezTo>
                            <a:pt x="4208" y="11500"/>
                            <a:pt x="5829" y="10599"/>
                            <a:pt x="7449" y="9699"/>
                          </a:cubicBezTo>
                          <a:cubicBezTo>
                            <a:pt x="9339" y="8619"/>
                            <a:pt x="11185" y="7494"/>
                            <a:pt x="13075" y="6369"/>
                          </a:cubicBezTo>
                          <a:cubicBezTo>
                            <a:pt x="15865" y="4703"/>
                            <a:pt x="18656" y="3128"/>
                            <a:pt x="21491" y="1508"/>
                          </a:cubicBezTo>
                          <a:cubicBezTo>
                            <a:pt x="22167" y="1103"/>
                            <a:pt x="22842" y="743"/>
                            <a:pt x="23562" y="338"/>
                          </a:cubicBezTo>
                          <a:cubicBezTo>
                            <a:pt x="23697" y="698"/>
                            <a:pt x="23652" y="1013"/>
                            <a:pt x="23652" y="1328"/>
                          </a:cubicBezTo>
                          <a:cubicBezTo>
                            <a:pt x="23652" y="9654"/>
                            <a:pt x="23652" y="17981"/>
                            <a:pt x="23652" y="26307"/>
                          </a:cubicBezTo>
                          <a:cubicBezTo>
                            <a:pt x="23652" y="26667"/>
                            <a:pt x="23652" y="27027"/>
                            <a:pt x="23652" y="27387"/>
                          </a:cubicBezTo>
                          <a:cubicBezTo>
                            <a:pt x="23697" y="27567"/>
                            <a:pt x="23832" y="27612"/>
                            <a:pt x="24012" y="27703"/>
                          </a:cubicBezTo>
                          <a:cubicBezTo>
                            <a:pt x="27298" y="29593"/>
                            <a:pt x="30628" y="31483"/>
                            <a:pt x="33914" y="33464"/>
                          </a:cubicBezTo>
                          <a:cubicBezTo>
                            <a:pt x="36389" y="34949"/>
                            <a:pt x="38910" y="36389"/>
                            <a:pt x="41430" y="37784"/>
                          </a:cubicBezTo>
                          <a:cubicBezTo>
                            <a:pt x="43275" y="38865"/>
                            <a:pt x="45121" y="39990"/>
                            <a:pt x="46966" y="41115"/>
                          </a:cubicBezTo>
                          <a:cubicBezTo>
                            <a:pt x="46966" y="50072"/>
                            <a:pt x="46966" y="59028"/>
                            <a:pt x="46966" y="67985"/>
                          </a:cubicBezTo>
                          <a:cubicBezTo>
                            <a:pt x="46966" y="68030"/>
                            <a:pt x="46966" y="68075"/>
                            <a:pt x="46966" y="68165"/>
                          </a:cubicBezTo>
                          <a:cubicBezTo>
                            <a:pt x="46831" y="68120"/>
                            <a:pt x="46696" y="68120"/>
                            <a:pt x="46561" y="68030"/>
                          </a:cubicBezTo>
                          <a:cubicBezTo>
                            <a:pt x="45301" y="67310"/>
                            <a:pt x="44041" y="66635"/>
                            <a:pt x="42825" y="65824"/>
                          </a:cubicBezTo>
                          <a:cubicBezTo>
                            <a:pt x="41700" y="65104"/>
                            <a:pt x="40485" y="64429"/>
                            <a:pt x="39315" y="63754"/>
                          </a:cubicBezTo>
                          <a:cubicBezTo>
                            <a:pt x="37694" y="62764"/>
                            <a:pt x="36029" y="61864"/>
                            <a:pt x="34364" y="60873"/>
                          </a:cubicBezTo>
                          <a:cubicBezTo>
                            <a:pt x="33194" y="60198"/>
                            <a:pt x="32068" y="59523"/>
                            <a:pt x="30943" y="58803"/>
                          </a:cubicBezTo>
                          <a:cubicBezTo>
                            <a:pt x="29323" y="57813"/>
                            <a:pt x="27658" y="56868"/>
                            <a:pt x="25992" y="55923"/>
                          </a:cubicBezTo>
                          <a:cubicBezTo>
                            <a:pt x="25272" y="55518"/>
                            <a:pt x="24552" y="55112"/>
                            <a:pt x="23697" y="54617"/>
                          </a:cubicBezTo>
                          <a:cubicBezTo>
                            <a:pt x="23652" y="72936"/>
                            <a:pt x="23652" y="91029"/>
                            <a:pt x="23652" y="109122"/>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1" name="Freeform: Shape 230">
                      <a:extLst>
                        <a:ext uri="{FF2B5EF4-FFF2-40B4-BE49-F238E27FC236}">
                          <a16:creationId xmlns:a16="http://schemas.microsoft.com/office/drawing/2014/main" id="{65D37BC1-6437-4C9E-8B60-5E636C29C340}"/>
                        </a:ext>
                      </a:extLst>
                    </p:cNvPr>
                    <p:cNvSpPr/>
                    <p:nvPr/>
                  </p:nvSpPr>
                  <p:spPr>
                    <a:xfrm>
                      <a:off x="4297716" y="6689134"/>
                      <a:ext cx="114123" cy="111196"/>
                    </a:xfrm>
                    <a:custGeom>
                      <a:avLst/>
                      <a:gdLst>
                        <a:gd name="connsiteX0" fmla="*/ 46876 w 70212"/>
                        <a:gd name="connsiteY0" fmla="*/ 68435 h 68412"/>
                        <a:gd name="connsiteX1" fmla="*/ 46876 w 70212"/>
                        <a:gd name="connsiteY1" fmla="*/ 67355 h 68412"/>
                        <a:gd name="connsiteX2" fmla="*/ 46876 w 70212"/>
                        <a:gd name="connsiteY2" fmla="*/ 42375 h 68412"/>
                        <a:gd name="connsiteX3" fmla="*/ 46786 w 70212"/>
                        <a:gd name="connsiteY3" fmla="*/ 41385 h 68412"/>
                        <a:gd name="connsiteX4" fmla="*/ 44716 w 70212"/>
                        <a:gd name="connsiteY4" fmla="*/ 42555 h 68412"/>
                        <a:gd name="connsiteX5" fmla="*/ 36299 w 70212"/>
                        <a:gd name="connsiteY5" fmla="*/ 47416 h 68412"/>
                        <a:gd name="connsiteX6" fmla="*/ 30673 w 70212"/>
                        <a:gd name="connsiteY6" fmla="*/ 50747 h 68412"/>
                        <a:gd name="connsiteX7" fmla="*/ 25857 w 70212"/>
                        <a:gd name="connsiteY7" fmla="*/ 53492 h 68412"/>
                        <a:gd name="connsiteX8" fmla="*/ 23607 w 70212"/>
                        <a:gd name="connsiteY8" fmla="*/ 54932 h 68412"/>
                        <a:gd name="connsiteX9" fmla="*/ 23247 w 70212"/>
                        <a:gd name="connsiteY9" fmla="*/ 55067 h 68412"/>
                        <a:gd name="connsiteX10" fmla="*/ 16496 w 70212"/>
                        <a:gd name="connsiteY10" fmla="*/ 58938 h 68412"/>
                        <a:gd name="connsiteX11" fmla="*/ 2138 w 70212"/>
                        <a:gd name="connsiteY11" fmla="*/ 67310 h 68412"/>
                        <a:gd name="connsiteX12" fmla="*/ 338 w 70212"/>
                        <a:gd name="connsiteY12" fmla="*/ 68390 h 68412"/>
                        <a:gd name="connsiteX13" fmla="*/ 338 w 70212"/>
                        <a:gd name="connsiteY13" fmla="*/ 41205 h 68412"/>
                        <a:gd name="connsiteX14" fmla="*/ 4208 w 70212"/>
                        <a:gd name="connsiteY14" fmla="*/ 38955 h 68412"/>
                        <a:gd name="connsiteX15" fmla="*/ 9924 w 70212"/>
                        <a:gd name="connsiteY15" fmla="*/ 35624 h 68412"/>
                        <a:gd name="connsiteX16" fmla="*/ 17036 w 70212"/>
                        <a:gd name="connsiteY16" fmla="*/ 31438 h 68412"/>
                        <a:gd name="connsiteX17" fmla="*/ 22662 w 70212"/>
                        <a:gd name="connsiteY17" fmla="*/ 28108 h 68412"/>
                        <a:gd name="connsiteX18" fmla="*/ 27298 w 70212"/>
                        <a:gd name="connsiteY18" fmla="*/ 25407 h 68412"/>
                        <a:gd name="connsiteX19" fmla="*/ 32879 w 70212"/>
                        <a:gd name="connsiteY19" fmla="*/ 22167 h 68412"/>
                        <a:gd name="connsiteX20" fmla="*/ 39135 w 70212"/>
                        <a:gd name="connsiteY20" fmla="*/ 18476 h 68412"/>
                        <a:gd name="connsiteX21" fmla="*/ 46021 w 70212"/>
                        <a:gd name="connsiteY21" fmla="*/ 14380 h 68412"/>
                        <a:gd name="connsiteX22" fmla="*/ 52052 w 70212"/>
                        <a:gd name="connsiteY22" fmla="*/ 10914 h 68412"/>
                        <a:gd name="connsiteX23" fmla="*/ 56553 w 70212"/>
                        <a:gd name="connsiteY23" fmla="*/ 8259 h 68412"/>
                        <a:gd name="connsiteX24" fmla="*/ 61504 w 70212"/>
                        <a:gd name="connsiteY24" fmla="*/ 5378 h 68412"/>
                        <a:gd name="connsiteX25" fmla="*/ 67130 w 70212"/>
                        <a:gd name="connsiteY25" fmla="*/ 2048 h 68412"/>
                        <a:gd name="connsiteX26" fmla="*/ 70100 w 70212"/>
                        <a:gd name="connsiteY26" fmla="*/ 338 h 68412"/>
                        <a:gd name="connsiteX27" fmla="*/ 70100 w 70212"/>
                        <a:gd name="connsiteY27" fmla="*/ 26442 h 68412"/>
                        <a:gd name="connsiteX28" fmla="*/ 70145 w 70212"/>
                        <a:gd name="connsiteY28" fmla="*/ 27567 h 68412"/>
                        <a:gd name="connsiteX29" fmla="*/ 70190 w 70212"/>
                        <a:gd name="connsiteY29" fmla="*/ 28558 h 68412"/>
                        <a:gd name="connsiteX30" fmla="*/ 70190 w 70212"/>
                        <a:gd name="connsiteY30" fmla="*/ 53087 h 68412"/>
                        <a:gd name="connsiteX31" fmla="*/ 70235 w 70212"/>
                        <a:gd name="connsiteY31" fmla="*/ 54887 h 68412"/>
                        <a:gd name="connsiteX32" fmla="*/ 69425 w 70212"/>
                        <a:gd name="connsiteY32" fmla="*/ 55202 h 68412"/>
                        <a:gd name="connsiteX33" fmla="*/ 68165 w 70212"/>
                        <a:gd name="connsiteY33" fmla="*/ 55968 h 68412"/>
                        <a:gd name="connsiteX34" fmla="*/ 62134 w 70212"/>
                        <a:gd name="connsiteY34" fmla="*/ 59433 h 68412"/>
                        <a:gd name="connsiteX35" fmla="*/ 55248 w 70212"/>
                        <a:gd name="connsiteY35" fmla="*/ 63529 h 68412"/>
                        <a:gd name="connsiteX36" fmla="*/ 49172 w 70212"/>
                        <a:gd name="connsiteY36" fmla="*/ 67040 h 68412"/>
                        <a:gd name="connsiteX37" fmla="*/ 46876 w 70212"/>
                        <a:gd name="connsiteY37" fmla="*/ 68435 h 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212" h="68412">
                          <a:moveTo>
                            <a:pt x="46876" y="68435"/>
                          </a:moveTo>
                          <a:cubicBezTo>
                            <a:pt x="46876" y="68075"/>
                            <a:pt x="46876" y="67715"/>
                            <a:pt x="46876" y="67355"/>
                          </a:cubicBezTo>
                          <a:cubicBezTo>
                            <a:pt x="46876" y="59028"/>
                            <a:pt x="46876" y="50702"/>
                            <a:pt x="46876" y="42375"/>
                          </a:cubicBezTo>
                          <a:cubicBezTo>
                            <a:pt x="46876" y="42060"/>
                            <a:pt x="46921" y="41745"/>
                            <a:pt x="46786" y="41385"/>
                          </a:cubicBezTo>
                          <a:cubicBezTo>
                            <a:pt x="46066" y="41790"/>
                            <a:pt x="45391" y="42150"/>
                            <a:pt x="44716" y="42555"/>
                          </a:cubicBezTo>
                          <a:cubicBezTo>
                            <a:pt x="41925" y="44175"/>
                            <a:pt x="39090" y="45751"/>
                            <a:pt x="36299" y="47416"/>
                          </a:cubicBezTo>
                          <a:cubicBezTo>
                            <a:pt x="34454" y="48541"/>
                            <a:pt x="32563" y="49621"/>
                            <a:pt x="30673" y="50747"/>
                          </a:cubicBezTo>
                          <a:cubicBezTo>
                            <a:pt x="29098" y="51692"/>
                            <a:pt x="27478" y="52592"/>
                            <a:pt x="25857" y="53492"/>
                          </a:cubicBezTo>
                          <a:cubicBezTo>
                            <a:pt x="25092" y="53942"/>
                            <a:pt x="24237" y="54302"/>
                            <a:pt x="23607" y="54932"/>
                          </a:cubicBezTo>
                          <a:cubicBezTo>
                            <a:pt x="23472" y="54932"/>
                            <a:pt x="23337" y="54932"/>
                            <a:pt x="23247" y="55067"/>
                          </a:cubicBezTo>
                          <a:cubicBezTo>
                            <a:pt x="20996" y="56373"/>
                            <a:pt x="18746" y="57588"/>
                            <a:pt x="16496" y="58938"/>
                          </a:cubicBezTo>
                          <a:cubicBezTo>
                            <a:pt x="11725" y="61729"/>
                            <a:pt x="6954" y="64564"/>
                            <a:pt x="2138" y="67310"/>
                          </a:cubicBezTo>
                          <a:cubicBezTo>
                            <a:pt x="1508" y="67670"/>
                            <a:pt x="1013" y="68165"/>
                            <a:pt x="338" y="68390"/>
                          </a:cubicBezTo>
                          <a:cubicBezTo>
                            <a:pt x="338" y="59343"/>
                            <a:pt x="338" y="50252"/>
                            <a:pt x="338" y="41205"/>
                          </a:cubicBezTo>
                          <a:cubicBezTo>
                            <a:pt x="1643" y="40440"/>
                            <a:pt x="2903" y="39675"/>
                            <a:pt x="4208" y="38955"/>
                          </a:cubicBezTo>
                          <a:cubicBezTo>
                            <a:pt x="6099" y="37829"/>
                            <a:pt x="8034" y="36794"/>
                            <a:pt x="9924" y="35624"/>
                          </a:cubicBezTo>
                          <a:cubicBezTo>
                            <a:pt x="12265" y="34184"/>
                            <a:pt x="14650" y="32833"/>
                            <a:pt x="17036" y="31438"/>
                          </a:cubicBezTo>
                          <a:cubicBezTo>
                            <a:pt x="18926" y="30358"/>
                            <a:pt x="20816" y="29278"/>
                            <a:pt x="22662" y="28108"/>
                          </a:cubicBezTo>
                          <a:cubicBezTo>
                            <a:pt x="24192" y="27162"/>
                            <a:pt x="25767" y="26307"/>
                            <a:pt x="27298" y="25407"/>
                          </a:cubicBezTo>
                          <a:cubicBezTo>
                            <a:pt x="29143" y="24327"/>
                            <a:pt x="31078" y="23337"/>
                            <a:pt x="32879" y="22167"/>
                          </a:cubicBezTo>
                          <a:cubicBezTo>
                            <a:pt x="34949" y="20861"/>
                            <a:pt x="37064" y="19736"/>
                            <a:pt x="39135" y="18476"/>
                          </a:cubicBezTo>
                          <a:cubicBezTo>
                            <a:pt x="41430" y="17126"/>
                            <a:pt x="43726" y="15775"/>
                            <a:pt x="46021" y="14380"/>
                          </a:cubicBezTo>
                          <a:cubicBezTo>
                            <a:pt x="48001" y="13165"/>
                            <a:pt x="50027" y="12085"/>
                            <a:pt x="52052" y="10914"/>
                          </a:cubicBezTo>
                          <a:cubicBezTo>
                            <a:pt x="53537" y="10059"/>
                            <a:pt x="55023" y="9114"/>
                            <a:pt x="56553" y="8259"/>
                          </a:cubicBezTo>
                          <a:cubicBezTo>
                            <a:pt x="58218" y="7314"/>
                            <a:pt x="59883" y="6369"/>
                            <a:pt x="61504" y="5378"/>
                          </a:cubicBezTo>
                          <a:cubicBezTo>
                            <a:pt x="63394" y="4253"/>
                            <a:pt x="65284" y="3218"/>
                            <a:pt x="67130" y="2048"/>
                          </a:cubicBezTo>
                          <a:cubicBezTo>
                            <a:pt x="68075" y="1418"/>
                            <a:pt x="69110" y="878"/>
                            <a:pt x="70100" y="338"/>
                          </a:cubicBezTo>
                          <a:cubicBezTo>
                            <a:pt x="70100" y="9024"/>
                            <a:pt x="70100" y="17756"/>
                            <a:pt x="70100" y="26442"/>
                          </a:cubicBezTo>
                          <a:cubicBezTo>
                            <a:pt x="70100" y="26802"/>
                            <a:pt x="70100" y="27207"/>
                            <a:pt x="70145" y="27567"/>
                          </a:cubicBezTo>
                          <a:cubicBezTo>
                            <a:pt x="70145" y="27883"/>
                            <a:pt x="70190" y="28198"/>
                            <a:pt x="70190" y="28558"/>
                          </a:cubicBezTo>
                          <a:cubicBezTo>
                            <a:pt x="70190" y="36749"/>
                            <a:pt x="70190" y="44896"/>
                            <a:pt x="70190" y="53087"/>
                          </a:cubicBezTo>
                          <a:cubicBezTo>
                            <a:pt x="70190" y="53672"/>
                            <a:pt x="70235" y="54302"/>
                            <a:pt x="70235" y="54887"/>
                          </a:cubicBezTo>
                          <a:cubicBezTo>
                            <a:pt x="69920" y="54842"/>
                            <a:pt x="69650" y="55022"/>
                            <a:pt x="69425" y="55202"/>
                          </a:cubicBezTo>
                          <a:cubicBezTo>
                            <a:pt x="69020" y="55473"/>
                            <a:pt x="68570" y="55698"/>
                            <a:pt x="68165" y="55968"/>
                          </a:cubicBezTo>
                          <a:cubicBezTo>
                            <a:pt x="66140" y="57138"/>
                            <a:pt x="64114" y="58218"/>
                            <a:pt x="62134" y="59433"/>
                          </a:cubicBezTo>
                          <a:cubicBezTo>
                            <a:pt x="59838" y="60783"/>
                            <a:pt x="57588" y="62179"/>
                            <a:pt x="55248" y="63529"/>
                          </a:cubicBezTo>
                          <a:cubicBezTo>
                            <a:pt x="53222" y="64699"/>
                            <a:pt x="51197" y="65914"/>
                            <a:pt x="49172" y="67040"/>
                          </a:cubicBezTo>
                          <a:cubicBezTo>
                            <a:pt x="48361" y="67490"/>
                            <a:pt x="47731" y="68120"/>
                            <a:pt x="46876" y="68435"/>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D9875F71-6B19-49F5-BFF9-EE6FD726201E}"/>
                        </a:ext>
                      </a:extLst>
                    </p:cNvPr>
                    <p:cNvSpPr/>
                    <p:nvPr/>
                  </p:nvSpPr>
                  <p:spPr>
                    <a:xfrm>
                      <a:off x="4411326" y="6689280"/>
                      <a:ext cx="76082" cy="89250"/>
                    </a:xfrm>
                    <a:custGeom>
                      <a:avLst/>
                      <a:gdLst>
                        <a:gd name="connsiteX0" fmla="*/ 383 w 46808"/>
                        <a:gd name="connsiteY0" fmla="*/ 338 h 54909"/>
                        <a:gd name="connsiteX1" fmla="*/ 4343 w 46808"/>
                        <a:gd name="connsiteY1" fmla="*/ 2633 h 54909"/>
                        <a:gd name="connsiteX2" fmla="*/ 11545 w 46808"/>
                        <a:gd name="connsiteY2" fmla="*/ 6819 h 54909"/>
                        <a:gd name="connsiteX3" fmla="*/ 19556 w 46808"/>
                        <a:gd name="connsiteY3" fmla="*/ 11545 h 54909"/>
                        <a:gd name="connsiteX4" fmla="*/ 25272 w 46808"/>
                        <a:gd name="connsiteY4" fmla="*/ 14875 h 54909"/>
                        <a:gd name="connsiteX5" fmla="*/ 33284 w 46808"/>
                        <a:gd name="connsiteY5" fmla="*/ 19601 h 54909"/>
                        <a:gd name="connsiteX6" fmla="*/ 36749 w 46808"/>
                        <a:gd name="connsiteY6" fmla="*/ 21626 h 54909"/>
                        <a:gd name="connsiteX7" fmla="*/ 46696 w 46808"/>
                        <a:gd name="connsiteY7" fmla="*/ 27432 h 54909"/>
                        <a:gd name="connsiteX8" fmla="*/ 46876 w 46808"/>
                        <a:gd name="connsiteY8" fmla="*/ 27612 h 54909"/>
                        <a:gd name="connsiteX9" fmla="*/ 46876 w 46808"/>
                        <a:gd name="connsiteY9" fmla="*/ 54797 h 54909"/>
                        <a:gd name="connsiteX10" fmla="*/ 46696 w 46808"/>
                        <a:gd name="connsiteY10" fmla="*/ 54797 h 54909"/>
                        <a:gd name="connsiteX11" fmla="*/ 36839 w 46808"/>
                        <a:gd name="connsiteY11" fmla="*/ 48991 h 54909"/>
                        <a:gd name="connsiteX12" fmla="*/ 27433 w 46808"/>
                        <a:gd name="connsiteY12" fmla="*/ 43455 h 54909"/>
                        <a:gd name="connsiteX13" fmla="*/ 17846 w 46808"/>
                        <a:gd name="connsiteY13" fmla="*/ 37829 h 54909"/>
                        <a:gd name="connsiteX14" fmla="*/ 13345 w 46808"/>
                        <a:gd name="connsiteY14" fmla="*/ 35219 h 54909"/>
                        <a:gd name="connsiteX15" fmla="*/ 7224 w 46808"/>
                        <a:gd name="connsiteY15" fmla="*/ 31618 h 54909"/>
                        <a:gd name="connsiteX16" fmla="*/ 2498 w 46808"/>
                        <a:gd name="connsiteY16" fmla="*/ 28873 h 54909"/>
                        <a:gd name="connsiteX17" fmla="*/ 338 w 46808"/>
                        <a:gd name="connsiteY17" fmla="*/ 27567 h 54909"/>
                        <a:gd name="connsiteX18" fmla="*/ 338 w 46808"/>
                        <a:gd name="connsiteY18" fmla="*/ 14965 h 54909"/>
                        <a:gd name="connsiteX19" fmla="*/ 383 w 46808"/>
                        <a:gd name="connsiteY19" fmla="*/ 338 h 5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08" h="54909">
                          <a:moveTo>
                            <a:pt x="383" y="338"/>
                          </a:moveTo>
                          <a:cubicBezTo>
                            <a:pt x="1733" y="1058"/>
                            <a:pt x="3038" y="1868"/>
                            <a:pt x="4343" y="2633"/>
                          </a:cubicBezTo>
                          <a:cubicBezTo>
                            <a:pt x="6729" y="4073"/>
                            <a:pt x="9159" y="5423"/>
                            <a:pt x="11545" y="6819"/>
                          </a:cubicBezTo>
                          <a:cubicBezTo>
                            <a:pt x="14245" y="8394"/>
                            <a:pt x="16901" y="9969"/>
                            <a:pt x="19556" y="11545"/>
                          </a:cubicBezTo>
                          <a:cubicBezTo>
                            <a:pt x="21446" y="12670"/>
                            <a:pt x="23427" y="13705"/>
                            <a:pt x="25272" y="14875"/>
                          </a:cubicBezTo>
                          <a:cubicBezTo>
                            <a:pt x="27928" y="16495"/>
                            <a:pt x="30628" y="18026"/>
                            <a:pt x="33284" y="19601"/>
                          </a:cubicBezTo>
                          <a:cubicBezTo>
                            <a:pt x="34454" y="20276"/>
                            <a:pt x="35624" y="20906"/>
                            <a:pt x="36749" y="21626"/>
                          </a:cubicBezTo>
                          <a:cubicBezTo>
                            <a:pt x="40035" y="23652"/>
                            <a:pt x="43365" y="25497"/>
                            <a:pt x="46696" y="27432"/>
                          </a:cubicBezTo>
                          <a:cubicBezTo>
                            <a:pt x="46786" y="27477"/>
                            <a:pt x="46831" y="27522"/>
                            <a:pt x="46876" y="27612"/>
                          </a:cubicBezTo>
                          <a:cubicBezTo>
                            <a:pt x="46876" y="36659"/>
                            <a:pt x="46876" y="45706"/>
                            <a:pt x="46876" y="54797"/>
                          </a:cubicBezTo>
                          <a:cubicBezTo>
                            <a:pt x="46831" y="54797"/>
                            <a:pt x="46741" y="54842"/>
                            <a:pt x="46696" y="54797"/>
                          </a:cubicBezTo>
                          <a:cubicBezTo>
                            <a:pt x="43500" y="52727"/>
                            <a:pt x="40125" y="50972"/>
                            <a:pt x="36839" y="48991"/>
                          </a:cubicBezTo>
                          <a:cubicBezTo>
                            <a:pt x="33734" y="47101"/>
                            <a:pt x="30538" y="45301"/>
                            <a:pt x="27433" y="43455"/>
                          </a:cubicBezTo>
                          <a:cubicBezTo>
                            <a:pt x="24237" y="41610"/>
                            <a:pt x="21041" y="39720"/>
                            <a:pt x="17846" y="37829"/>
                          </a:cubicBezTo>
                          <a:cubicBezTo>
                            <a:pt x="16361" y="36929"/>
                            <a:pt x="14785" y="36119"/>
                            <a:pt x="13345" y="35219"/>
                          </a:cubicBezTo>
                          <a:cubicBezTo>
                            <a:pt x="11320" y="33959"/>
                            <a:pt x="9249" y="32833"/>
                            <a:pt x="7224" y="31618"/>
                          </a:cubicBezTo>
                          <a:cubicBezTo>
                            <a:pt x="5649" y="30673"/>
                            <a:pt x="4073" y="29818"/>
                            <a:pt x="2498" y="28873"/>
                          </a:cubicBezTo>
                          <a:cubicBezTo>
                            <a:pt x="1778" y="28468"/>
                            <a:pt x="1058" y="28018"/>
                            <a:pt x="338" y="27567"/>
                          </a:cubicBezTo>
                          <a:cubicBezTo>
                            <a:pt x="338" y="23382"/>
                            <a:pt x="338" y="19151"/>
                            <a:pt x="338" y="14965"/>
                          </a:cubicBezTo>
                          <a:cubicBezTo>
                            <a:pt x="383" y="10059"/>
                            <a:pt x="383" y="5198"/>
                            <a:pt x="383" y="338"/>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A2DC5F9D-2C58-4382-BBE8-75F27DE26DCE}"/>
                        </a:ext>
                      </a:extLst>
                    </p:cNvPr>
                    <p:cNvSpPr/>
                    <p:nvPr/>
                  </p:nvSpPr>
                  <p:spPr>
                    <a:xfrm>
                      <a:off x="4373284" y="6844224"/>
                      <a:ext cx="38772" cy="89250"/>
                    </a:xfrm>
                    <a:custGeom>
                      <a:avLst/>
                      <a:gdLst>
                        <a:gd name="connsiteX0" fmla="*/ 338 w 23854"/>
                        <a:gd name="connsiteY0" fmla="*/ 54752 h 54909"/>
                        <a:gd name="connsiteX1" fmla="*/ 338 w 23854"/>
                        <a:gd name="connsiteY1" fmla="*/ 338 h 54909"/>
                        <a:gd name="connsiteX2" fmla="*/ 2633 w 23854"/>
                        <a:gd name="connsiteY2" fmla="*/ 1643 h 54909"/>
                        <a:gd name="connsiteX3" fmla="*/ 7584 w 23854"/>
                        <a:gd name="connsiteY3" fmla="*/ 4523 h 54909"/>
                        <a:gd name="connsiteX4" fmla="*/ 11005 w 23854"/>
                        <a:gd name="connsiteY4" fmla="*/ 6594 h 54909"/>
                        <a:gd name="connsiteX5" fmla="*/ 15955 w 23854"/>
                        <a:gd name="connsiteY5" fmla="*/ 9474 h 54909"/>
                        <a:gd name="connsiteX6" fmla="*/ 19466 w 23854"/>
                        <a:gd name="connsiteY6" fmla="*/ 11545 h 54909"/>
                        <a:gd name="connsiteX7" fmla="*/ 23202 w 23854"/>
                        <a:gd name="connsiteY7" fmla="*/ 13750 h 54909"/>
                        <a:gd name="connsiteX8" fmla="*/ 23607 w 23854"/>
                        <a:gd name="connsiteY8" fmla="*/ 13885 h 54909"/>
                        <a:gd name="connsiteX9" fmla="*/ 23652 w 23854"/>
                        <a:gd name="connsiteY9" fmla="*/ 14110 h 54909"/>
                        <a:gd name="connsiteX10" fmla="*/ 23697 w 23854"/>
                        <a:gd name="connsiteY10" fmla="*/ 14920 h 54909"/>
                        <a:gd name="connsiteX11" fmla="*/ 23697 w 23854"/>
                        <a:gd name="connsiteY11" fmla="*/ 40395 h 54909"/>
                        <a:gd name="connsiteX12" fmla="*/ 22887 w 23854"/>
                        <a:gd name="connsiteY12" fmla="*/ 41790 h 54909"/>
                        <a:gd name="connsiteX13" fmla="*/ 8259 w 23854"/>
                        <a:gd name="connsiteY13" fmla="*/ 50297 h 54909"/>
                        <a:gd name="connsiteX14" fmla="*/ 1193 w 23854"/>
                        <a:gd name="connsiteY14" fmla="*/ 54437 h 54909"/>
                        <a:gd name="connsiteX15" fmla="*/ 338 w 23854"/>
                        <a:gd name="connsiteY15" fmla="*/ 54752 h 5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54" h="54909">
                          <a:moveTo>
                            <a:pt x="338" y="54752"/>
                          </a:moveTo>
                          <a:cubicBezTo>
                            <a:pt x="338" y="36659"/>
                            <a:pt x="338" y="18566"/>
                            <a:pt x="338" y="338"/>
                          </a:cubicBezTo>
                          <a:cubicBezTo>
                            <a:pt x="1193" y="833"/>
                            <a:pt x="1913" y="1238"/>
                            <a:pt x="2633" y="1643"/>
                          </a:cubicBezTo>
                          <a:cubicBezTo>
                            <a:pt x="4298" y="2588"/>
                            <a:pt x="5964" y="3533"/>
                            <a:pt x="7584" y="4523"/>
                          </a:cubicBezTo>
                          <a:cubicBezTo>
                            <a:pt x="8709" y="5198"/>
                            <a:pt x="9879" y="5919"/>
                            <a:pt x="11005" y="6594"/>
                          </a:cubicBezTo>
                          <a:cubicBezTo>
                            <a:pt x="12670" y="7539"/>
                            <a:pt x="14335" y="8484"/>
                            <a:pt x="15955" y="9474"/>
                          </a:cubicBezTo>
                          <a:cubicBezTo>
                            <a:pt x="17126" y="10149"/>
                            <a:pt x="18341" y="10824"/>
                            <a:pt x="19466" y="11545"/>
                          </a:cubicBezTo>
                          <a:cubicBezTo>
                            <a:pt x="20681" y="12310"/>
                            <a:pt x="21942" y="13030"/>
                            <a:pt x="23202" y="13750"/>
                          </a:cubicBezTo>
                          <a:cubicBezTo>
                            <a:pt x="23337" y="13795"/>
                            <a:pt x="23472" y="13840"/>
                            <a:pt x="23607" y="13885"/>
                          </a:cubicBezTo>
                          <a:cubicBezTo>
                            <a:pt x="23607" y="13975"/>
                            <a:pt x="23607" y="14020"/>
                            <a:pt x="23652" y="14110"/>
                          </a:cubicBezTo>
                          <a:cubicBezTo>
                            <a:pt x="23652" y="14380"/>
                            <a:pt x="23697" y="14650"/>
                            <a:pt x="23697" y="14920"/>
                          </a:cubicBezTo>
                          <a:cubicBezTo>
                            <a:pt x="23697" y="23427"/>
                            <a:pt x="23697" y="31888"/>
                            <a:pt x="23697" y="40395"/>
                          </a:cubicBezTo>
                          <a:cubicBezTo>
                            <a:pt x="23697" y="41070"/>
                            <a:pt x="23517" y="41430"/>
                            <a:pt x="22887" y="41790"/>
                          </a:cubicBezTo>
                          <a:cubicBezTo>
                            <a:pt x="17981" y="44581"/>
                            <a:pt x="13120" y="47416"/>
                            <a:pt x="8259" y="50297"/>
                          </a:cubicBezTo>
                          <a:cubicBezTo>
                            <a:pt x="5919" y="51692"/>
                            <a:pt x="3533" y="53042"/>
                            <a:pt x="1193" y="54437"/>
                          </a:cubicBezTo>
                          <a:cubicBezTo>
                            <a:pt x="968" y="54527"/>
                            <a:pt x="698" y="54752"/>
                            <a:pt x="338" y="54752"/>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C897EAE0-7816-432D-AB14-A3F3A6943A3A}"/>
                        </a:ext>
                      </a:extLst>
                    </p:cNvPr>
                    <p:cNvSpPr/>
                    <p:nvPr/>
                  </p:nvSpPr>
                  <p:spPr>
                    <a:xfrm>
                      <a:off x="4373357" y="6777871"/>
                      <a:ext cx="76082" cy="44625"/>
                    </a:xfrm>
                    <a:custGeom>
                      <a:avLst/>
                      <a:gdLst>
                        <a:gd name="connsiteX0" fmla="*/ 338 w 46808"/>
                        <a:gd name="connsiteY0" fmla="*/ 13840 h 27454"/>
                        <a:gd name="connsiteX1" fmla="*/ 2633 w 46808"/>
                        <a:gd name="connsiteY1" fmla="*/ 12490 h 27454"/>
                        <a:gd name="connsiteX2" fmla="*/ 8709 w 46808"/>
                        <a:gd name="connsiteY2" fmla="*/ 8979 h 27454"/>
                        <a:gd name="connsiteX3" fmla="*/ 15595 w 46808"/>
                        <a:gd name="connsiteY3" fmla="*/ 4883 h 27454"/>
                        <a:gd name="connsiteX4" fmla="*/ 21626 w 46808"/>
                        <a:gd name="connsiteY4" fmla="*/ 1418 h 27454"/>
                        <a:gd name="connsiteX5" fmla="*/ 22887 w 46808"/>
                        <a:gd name="connsiteY5" fmla="*/ 653 h 27454"/>
                        <a:gd name="connsiteX6" fmla="*/ 23697 w 46808"/>
                        <a:gd name="connsiteY6" fmla="*/ 338 h 27454"/>
                        <a:gd name="connsiteX7" fmla="*/ 28018 w 46808"/>
                        <a:gd name="connsiteY7" fmla="*/ 2768 h 27454"/>
                        <a:gd name="connsiteX8" fmla="*/ 33734 w 46808"/>
                        <a:gd name="connsiteY8" fmla="*/ 6099 h 27454"/>
                        <a:gd name="connsiteX9" fmla="*/ 44986 w 46808"/>
                        <a:gd name="connsiteY9" fmla="*/ 12670 h 27454"/>
                        <a:gd name="connsiteX10" fmla="*/ 46831 w 46808"/>
                        <a:gd name="connsiteY10" fmla="*/ 13885 h 27454"/>
                        <a:gd name="connsiteX11" fmla="*/ 46786 w 46808"/>
                        <a:gd name="connsiteY11" fmla="*/ 14110 h 27454"/>
                        <a:gd name="connsiteX12" fmla="*/ 45706 w 46808"/>
                        <a:gd name="connsiteY12" fmla="*/ 14650 h 27454"/>
                        <a:gd name="connsiteX13" fmla="*/ 37109 w 46808"/>
                        <a:gd name="connsiteY13" fmla="*/ 19646 h 27454"/>
                        <a:gd name="connsiteX14" fmla="*/ 31888 w 46808"/>
                        <a:gd name="connsiteY14" fmla="*/ 22662 h 27454"/>
                        <a:gd name="connsiteX15" fmla="*/ 24732 w 46808"/>
                        <a:gd name="connsiteY15" fmla="*/ 26892 h 27454"/>
                        <a:gd name="connsiteX16" fmla="*/ 23697 w 46808"/>
                        <a:gd name="connsiteY16" fmla="*/ 27522 h 27454"/>
                        <a:gd name="connsiteX17" fmla="*/ 23517 w 46808"/>
                        <a:gd name="connsiteY17" fmla="*/ 27522 h 27454"/>
                        <a:gd name="connsiteX18" fmla="*/ 17981 w 46808"/>
                        <a:gd name="connsiteY18" fmla="*/ 24192 h 27454"/>
                        <a:gd name="connsiteX19" fmla="*/ 10464 w 46808"/>
                        <a:gd name="connsiteY19" fmla="*/ 19871 h 27454"/>
                        <a:gd name="connsiteX20" fmla="*/ 563 w 46808"/>
                        <a:gd name="connsiteY20" fmla="*/ 14110 h 27454"/>
                        <a:gd name="connsiteX21" fmla="*/ 338 w 46808"/>
                        <a:gd name="connsiteY21" fmla="*/ 13840 h 2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808" h="27454">
                          <a:moveTo>
                            <a:pt x="338" y="13840"/>
                          </a:moveTo>
                          <a:cubicBezTo>
                            <a:pt x="1193" y="13525"/>
                            <a:pt x="1868" y="12895"/>
                            <a:pt x="2633" y="12490"/>
                          </a:cubicBezTo>
                          <a:cubicBezTo>
                            <a:pt x="4703" y="11365"/>
                            <a:pt x="6684" y="10149"/>
                            <a:pt x="8709" y="8979"/>
                          </a:cubicBezTo>
                          <a:cubicBezTo>
                            <a:pt x="11005" y="7674"/>
                            <a:pt x="13300" y="6279"/>
                            <a:pt x="15595" y="4883"/>
                          </a:cubicBezTo>
                          <a:cubicBezTo>
                            <a:pt x="17576" y="3713"/>
                            <a:pt x="19601" y="2588"/>
                            <a:pt x="21626" y="1418"/>
                          </a:cubicBezTo>
                          <a:cubicBezTo>
                            <a:pt x="22032" y="1193"/>
                            <a:pt x="22482" y="923"/>
                            <a:pt x="22887" y="653"/>
                          </a:cubicBezTo>
                          <a:cubicBezTo>
                            <a:pt x="23157" y="473"/>
                            <a:pt x="23382" y="338"/>
                            <a:pt x="23697" y="338"/>
                          </a:cubicBezTo>
                          <a:cubicBezTo>
                            <a:pt x="25182" y="1058"/>
                            <a:pt x="26577" y="1958"/>
                            <a:pt x="28018" y="2768"/>
                          </a:cubicBezTo>
                          <a:cubicBezTo>
                            <a:pt x="29953" y="3848"/>
                            <a:pt x="31843" y="4928"/>
                            <a:pt x="33734" y="6099"/>
                          </a:cubicBezTo>
                          <a:cubicBezTo>
                            <a:pt x="37424" y="8394"/>
                            <a:pt x="41250" y="10464"/>
                            <a:pt x="44986" y="12670"/>
                          </a:cubicBezTo>
                          <a:cubicBezTo>
                            <a:pt x="45616" y="13030"/>
                            <a:pt x="46201" y="13480"/>
                            <a:pt x="46831" y="13885"/>
                          </a:cubicBezTo>
                          <a:cubicBezTo>
                            <a:pt x="46831" y="13975"/>
                            <a:pt x="46786" y="14020"/>
                            <a:pt x="46786" y="14110"/>
                          </a:cubicBezTo>
                          <a:cubicBezTo>
                            <a:pt x="46336" y="14155"/>
                            <a:pt x="46066" y="14470"/>
                            <a:pt x="45706" y="14650"/>
                          </a:cubicBezTo>
                          <a:cubicBezTo>
                            <a:pt x="42825" y="16315"/>
                            <a:pt x="39945" y="17891"/>
                            <a:pt x="37109" y="19646"/>
                          </a:cubicBezTo>
                          <a:cubicBezTo>
                            <a:pt x="35399" y="20726"/>
                            <a:pt x="33644" y="21671"/>
                            <a:pt x="31888" y="22662"/>
                          </a:cubicBezTo>
                          <a:cubicBezTo>
                            <a:pt x="29458" y="24012"/>
                            <a:pt x="27072" y="25407"/>
                            <a:pt x="24732" y="26892"/>
                          </a:cubicBezTo>
                          <a:cubicBezTo>
                            <a:pt x="24372" y="27117"/>
                            <a:pt x="23967" y="27207"/>
                            <a:pt x="23697" y="27522"/>
                          </a:cubicBezTo>
                          <a:cubicBezTo>
                            <a:pt x="23652" y="27522"/>
                            <a:pt x="23607" y="27522"/>
                            <a:pt x="23517" y="27522"/>
                          </a:cubicBezTo>
                          <a:cubicBezTo>
                            <a:pt x="21716" y="26397"/>
                            <a:pt x="19871" y="25272"/>
                            <a:pt x="17981" y="24192"/>
                          </a:cubicBezTo>
                          <a:cubicBezTo>
                            <a:pt x="15460" y="22752"/>
                            <a:pt x="12940" y="21356"/>
                            <a:pt x="10464" y="19871"/>
                          </a:cubicBezTo>
                          <a:cubicBezTo>
                            <a:pt x="7224" y="17891"/>
                            <a:pt x="3893" y="16045"/>
                            <a:pt x="563" y="14110"/>
                          </a:cubicBezTo>
                          <a:cubicBezTo>
                            <a:pt x="518" y="14065"/>
                            <a:pt x="383" y="14020"/>
                            <a:pt x="338" y="13840"/>
                          </a:cubicBezTo>
                          <a:close/>
                        </a:path>
                      </a:pathLst>
                    </a:custGeom>
                    <a:solidFill>
                      <a:srgbClr val="C2C2C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65ECCF14-DDC2-438F-A0C6-C6064D772409}"/>
                        </a:ext>
                      </a:extLst>
                    </p:cNvPr>
                    <p:cNvSpPr/>
                    <p:nvPr/>
                  </p:nvSpPr>
                  <p:spPr>
                    <a:xfrm>
                      <a:off x="4259596" y="6733758"/>
                      <a:ext cx="38772" cy="66571"/>
                    </a:xfrm>
                    <a:custGeom>
                      <a:avLst/>
                      <a:gdLst>
                        <a:gd name="connsiteX0" fmla="*/ 383 w 23854"/>
                        <a:gd name="connsiteY0" fmla="*/ 27477 h 40957"/>
                        <a:gd name="connsiteX1" fmla="*/ 338 w 23854"/>
                        <a:gd name="connsiteY1" fmla="*/ 26757 h 40957"/>
                        <a:gd name="connsiteX2" fmla="*/ 338 w 23854"/>
                        <a:gd name="connsiteY2" fmla="*/ 1058 h 40957"/>
                        <a:gd name="connsiteX3" fmla="*/ 383 w 23854"/>
                        <a:gd name="connsiteY3" fmla="*/ 383 h 40957"/>
                        <a:gd name="connsiteX4" fmla="*/ 518 w 23854"/>
                        <a:gd name="connsiteY4" fmla="*/ 338 h 40957"/>
                        <a:gd name="connsiteX5" fmla="*/ 1598 w 23854"/>
                        <a:gd name="connsiteY5" fmla="*/ 878 h 40957"/>
                        <a:gd name="connsiteX6" fmla="*/ 7359 w 23854"/>
                        <a:gd name="connsiteY6" fmla="*/ 4298 h 40957"/>
                        <a:gd name="connsiteX7" fmla="*/ 12715 w 23854"/>
                        <a:gd name="connsiteY7" fmla="*/ 7404 h 40957"/>
                        <a:gd name="connsiteX8" fmla="*/ 21266 w 23854"/>
                        <a:gd name="connsiteY8" fmla="*/ 12400 h 40957"/>
                        <a:gd name="connsiteX9" fmla="*/ 23562 w 23854"/>
                        <a:gd name="connsiteY9" fmla="*/ 13795 h 40957"/>
                        <a:gd name="connsiteX10" fmla="*/ 23562 w 23854"/>
                        <a:gd name="connsiteY10" fmla="*/ 14920 h 40957"/>
                        <a:gd name="connsiteX11" fmla="*/ 23562 w 23854"/>
                        <a:gd name="connsiteY11" fmla="*/ 40980 h 40957"/>
                        <a:gd name="connsiteX12" fmla="*/ 21897 w 23854"/>
                        <a:gd name="connsiteY12" fmla="*/ 39990 h 40957"/>
                        <a:gd name="connsiteX13" fmla="*/ 16270 w 23854"/>
                        <a:gd name="connsiteY13" fmla="*/ 36704 h 40957"/>
                        <a:gd name="connsiteX14" fmla="*/ 10869 w 23854"/>
                        <a:gd name="connsiteY14" fmla="*/ 33509 h 40957"/>
                        <a:gd name="connsiteX15" fmla="*/ 6639 w 23854"/>
                        <a:gd name="connsiteY15" fmla="*/ 31033 h 40957"/>
                        <a:gd name="connsiteX16" fmla="*/ 383 w 23854"/>
                        <a:gd name="connsiteY16" fmla="*/ 27477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54" h="40957">
                          <a:moveTo>
                            <a:pt x="383" y="27477"/>
                          </a:moveTo>
                          <a:cubicBezTo>
                            <a:pt x="383" y="27252"/>
                            <a:pt x="338" y="26982"/>
                            <a:pt x="338" y="26757"/>
                          </a:cubicBezTo>
                          <a:cubicBezTo>
                            <a:pt x="338" y="18206"/>
                            <a:pt x="338" y="9609"/>
                            <a:pt x="338" y="1058"/>
                          </a:cubicBezTo>
                          <a:cubicBezTo>
                            <a:pt x="338" y="833"/>
                            <a:pt x="338" y="608"/>
                            <a:pt x="383" y="383"/>
                          </a:cubicBezTo>
                          <a:cubicBezTo>
                            <a:pt x="428" y="383"/>
                            <a:pt x="473" y="383"/>
                            <a:pt x="518" y="338"/>
                          </a:cubicBezTo>
                          <a:cubicBezTo>
                            <a:pt x="923" y="428"/>
                            <a:pt x="1283" y="653"/>
                            <a:pt x="1598" y="878"/>
                          </a:cubicBezTo>
                          <a:cubicBezTo>
                            <a:pt x="3443" y="2138"/>
                            <a:pt x="5469" y="3128"/>
                            <a:pt x="7359" y="4298"/>
                          </a:cubicBezTo>
                          <a:cubicBezTo>
                            <a:pt x="9159" y="5333"/>
                            <a:pt x="10960" y="6324"/>
                            <a:pt x="12715" y="7404"/>
                          </a:cubicBezTo>
                          <a:cubicBezTo>
                            <a:pt x="15505" y="9159"/>
                            <a:pt x="18431" y="10689"/>
                            <a:pt x="21266" y="12400"/>
                          </a:cubicBezTo>
                          <a:cubicBezTo>
                            <a:pt x="22032" y="12850"/>
                            <a:pt x="22842" y="13255"/>
                            <a:pt x="23562" y="13795"/>
                          </a:cubicBezTo>
                          <a:cubicBezTo>
                            <a:pt x="23562" y="14155"/>
                            <a:pt x="23562" y="14560"/>
                            <a:pt x="23562" y="14920"/>
                          </a:cubicBezTo>
                          <a:cubicBezTo>
                            <a:pt x="23562" y="23607"/>
                            <a:pt x="23562" y="32293"/>
                            <a:pt x="23562" y="40980"/>
                          </a:cubicBezTo>
                          <a:cubicBezTo>
                            <a:pt x="22932" y="40755"/>
                            <a:pt x="22437" y="40350"/>
                            <a:pt x="21897" y="39990"/>
                          </a:cubicBezTo>
                          <a:cubicBezTo>
                            <a:pt x="20006" y="38910"/>
                            <a:pt x="18116" y="37829"/>
                            <a:pt x="16270" y="36704"/>
                          </a:cubicBezTo>
                          <a:cubicBezTo>
                            <a:pt x="14470" y="35624"/>
                            <a:pt x="12625" y="34634"/>
                            <a:pt x="10869" y="33509"/>
                          </a:cubicBezTo>
                          <a:cubicBezTo>
                            <a:pt x="9519" y="32653"/>
                            <a:pt x="8079" y="31888"/>
                            <a:pt x="6639" y="31033"/>
                          </a:cubicBezTo>
                          <a:cubicBezTo>
                            <a:pt x="4568" y="29863"/>
                            <a:pt x="2498" y="28693"/>
                            <a:pt x="383" y="27477"/>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6" name="Freeform: Shape 235">
                      <a:extLst>
                        <a:ext uri="{FF2B5EF4-FFF2-40B4-BE49-F238E27FC236}">
                          <a16:creationId xmlns:a16="http://schemas.microsoft.com/office/drawing/2014/main" id="{DAEEBFD2-EB74-4C3D-A5C3-099FAD742B71}"/>
                        </a:ext>
                      </a:extLst>
                    </p:cNvPr>
                    <p:cNvSpPr/>
                    <p:nvPr/>
                  </p:nvSpPr>
                  <p:spPr>
                    <a:xfrm>
                      <a:off x="4487041" y="6711447"/>
                      <a:ext cx="38772" cy="67302"/>
                    </a:xfrm>
                    <a:custGeom>
                      <a:avLst/>
                      <a:gdLst>
                        <a:gd name="connsiteX0" fmla="*/ 338 w 23854"/>
                        <a:gd name="connsiteY0" fmla="*/ 41070 h 41407"/>
                        <a:gd name="connsiteX1" fmla="*/ 338 w 23854"/>
                        <a:gd name="connsiteY1" fmla="*/ 13885 h 41407"/>
                        <a:gd name="connsiteX2" fmla="*/ 7269 w 23854"/>
                        <a:gd name="connsiteY2" fmla="*/ 9879 h 41407"/>
                        <a:gd name="connsiteX3" fmla="*/ 15460 w 23854"/>
                        <a:gd name="connsiteY3" fmla="*/ 5108 h 41407"/>
                        <a:gd name="connsiteX4" fmla="*/ 20681 w 23854"/>
                        <a:gd name="connsiteY4" fmla="*/ 2093 h 41407"/>
                        <a:gd name="connsiteX5" fmla="*/ 23607 w 23854"/>
                        <a:gd name="connsiteY5" fmla="*/ 338 h 41407"/>
                        <a:gd name="connsiteX6" fmla="*/ 23652 w 23854"/>
                        <a:gd name="connsiteY6" fmla="*/ 1328 h 41407"/>
                        <a:gd name="connsiteX7" fmla="*/ 23697 w 23854"/>
                        <a:gd name="connsiteY7" fmla="*/ 26442 h 41407"/>
                        <a:gd name="connsiteX8" fmla="*/ 22662 w 23854"/>
                        <a:gd name="connsiteY8" fmla="*/ 28153 h 41407"/>
                        <a:gd name="connsiteX9" fmla="*/ 14020 w 23854"/>
                        <a:gd name="connsiteY9" fmla="*/ 33148 h 41407"/>
                        <a:gd name="connsiteX10" fmla="*/ 1238 w 23854"/>
                        <a:gd name="connsiteY10" fmla="*/ 40575 h 41407"/>
                        <a:gd name="connsiteX11" fmla="*/ 338 w 23854"/>
                        <a:gd name="connsiteY11" fmla="*/ 41070 h 4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54" h="41407">
                          <a:moveTo>
                            <a:pt x="338" y="41070"/>
                          </a:moveTo>
                          <a:cubicBezTo>
                            <a:pt x="338" y="32023"/>
                            <a:pt x="338" y="22977"/>
                            <a:pt x="338" y="13885"/>
                          </a:cubicBezTo>
                          <a:cubicBezTo>
                            <a:pt x="2633" y="12535"/>
                            <a:pt x="4928" y="11185"/>
                            <a:pt x="7269" y="9879"/>
                          </a:cubicBezTo>
                          <a:cubicBezTo>
                            <a:pt x="10014" y="8304"/>
                            <a:pt x="12670" y="6639"/>
                            <a:pt x="15460" y="5108"/>
                          </a:cubicBezTo>
                          <a:cubicBezTo>
                            <a:pt x="17216" y="4118"/>
                            <a:pt x="18971" y="3128"/>
                            <a:pt x="20681" y="2093"/>
                          </a:cubicBezTo>
                          <a:cubicBezTo>
                            <a:pt x="21626" y="1463"/>
                            <a:pt x="22617" y="923"/>
                            <a:pt x="23607" y="338"/>
                          </a:cubicBezTo>
                          <a:cubicBezTo>
                            <a:pt x="23697" y="653"/>
                            <a:pt x="23652" y="968"/>
                            <a:pt x="23652" y="1328"/>
                          </a:cubicBezTo>
                          <a:cubicBezTo>
                            <a:pt x="23652" y="9699"/>
                            <a:pt x="23652" y="18071"/>
                            <a:pt x="23697" y="26442"/>
                          </a:cubicBezTo>
                          <a:cubicBezTo>
                            <a:pt x="23697" y="27342"/>
                            <a:pt x="23382" y="27793"/>
                            <a:pt x="22662" y="28153"/>
                          </a:cubicBezTo>
                          <a:cubicBezTo>
                            <a:pt x="19781" y="29818"/>
                            <a:pt x="16856" y="31438"/>
                            <a:pt x="14020" y="33148"/>
                          </a:cubicBezTo>
                          <a:cubicBezTo>
                            <a:pt x="9789" y="35669"/>
                            <a:pt x="5514" y="38144"/>
                            <a:pt x="1238" y="40575"/>
                          </a:cubicBezTo>
                          <a:cubicBezTo>
                            <a:pt x="923" y="40755"/>
                            <a:pt x="743" y="41115"/>
                            <a:pt x="338" y="41070"/>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31DCB441-9876-42C8-A590-1DC86613DC7E}"/>
                        </a:ext>
                      </a:extLst>
                    </p:cNvPr>
                    <p:cNvSpPr/>
                    <p:nvPr/>
                  </p:nvSpPr>
                  <p:spPr>
                    <a:xfrm>
                      <a:off x="4411034" y="6800331"/>
                      <a:ext cx="38772" cy="66571"/>
                    </a:xfrm>
                    <a:custGeom>
                      <a:avLst/>
                      <a:gdLst>
                        <a:gd name="connsiteX0" fmla="*/ 563 w 23854"/>
                        <a:gd name="connsiteY0" fmla="*/ 13750 h 40957"/>
                        <a:gd name="connsiteX1" fmla="*/ 1598 w 23854"/>
                        <a:gd name="connsiteY1" fmla="*/ 13120 h 40957"/>
                        <a:gd name="connsiteX2" fmla="*/ 8754 w 23854"/>
                        <a:gd name="connsiteY2" fmla="*/ 8889 h 40957"/>
                        <a:gd name="connsiteX3" fmla="*/ 13975 w 23854"/>
                        <a:gd name="connsiteY3" fmla="*/ 5874 h 40957"/>
                        <a:gd name="connsiteX4" fmla="*/ 22572 w 23854"/>
                        <a:gd name="connsiteY4" fmla="*/ 878 h 40957"/>
                        <a:gd name="connsiteX5" fmla="*/ 23652 w 23854"/>
                        <a:gd name="connsiteY5" fmla="*/ 338 h 40957"/>
                        <a:gd name="connsiteX6" fmla="*/ 23787 w 23854"/>
                        <a:gd name="connsiteY6" fmla="*/ 338 h 40957"/>
                        <a:gd name="connsiteX7" fmla="*/ 23787 w 23854"/>
                        <a:gd name="connsiteY7" fmla="*/ 1058 h 40957"/>
                        <a:gd name="connsiteX8" fmla="*/ 23787 w 23854"/>
                        <a:gd name="connsiteY8" fmla="*/ 26487 h 40957"/>
                        <a:gd name="connsiteX9" fmla="*/ 23112 w 23854"/>
                        <a:gd name="connsiteY9" fmla="*/ 27702 h 40957"/>
                        <a:gd name="connsiteX10" fmla="*/ 17036 w 23854"/>
                        <a:gd name="connsiteY10" fmla="*/ 31213 h 40957"/>
                        <a:gd name="connsiteX11" fmla="*/ 5378 w 23854"/>
                        <a:gd name="connsiteY11" fmla="*/ 38009 h 40957"/>
                        <a:gd name="connsiteX12" fmla="*/ 383 w 23854"/>
                        <a:gd name="connsiteY12" fmla="*/ 40980 h 40957"/>
                        <a:gd name="connsiteX13" fmla="*/ 338 w 23854"/>
                        <a:gd name="connsiteY13" fmla="*/ 40755 h 40957"/>
                        <a:gd name="connsiteX14" fmla="*/ 338 w 23854"/>
                        <a:gd name="connsiteY14" fmla="*/ 40575 h 40957"/>
                        <a:gd name="connsiteX15" fmla="*/ 473 w 23854"/>
                        <a:gd name="connsiteY15" fmla="*/ 39630 h 40957"/>
                        <a:gd name="connsiteX16" fmla="*/ 563 w 23854"/>
                        <a:gd name="connsiteY16" fmla="*/ 1375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54" h="40957">
                          <a:moveTo>
                            <a:pt x="563" y="13750"/>
                          </a:moveTo>
                          <a:cubicBezTo>
                            <a:pt x="833" y="13435"/>
                            <a:pt x="1283" y="13345"/>
                            <a:pt x="1598" y="13120"/>
                          </a:cubicBezTo>
                          <a:cubicBezTo>
                            <a:pt x="3938" y="11635"/>
                            <a:pt x="6369" y="10284"/>
                            <a:pt x="8754" y="8889"/>
                          </a:cubicBezTo>
                          <a:cubicBezTo>
                            <a:pt x="10509" y="7899"/>
                            <a:pt x="12265" y="6909"/>
                            <a:pt x="13975" y="5874"/>
                          </a:cubicBezTo>
                          <a:cubicBezTo>
                            <a:pt x="16766" y="4118"/>
                            <a:pt x="19691" y="2543"/>
                            <a:pt x="22572" y="878"/>
                          </a:cubicBezTo>
                          <a:cubicBezTo>
                            <a:pt x="22932" y="698"/>
                            <a:pt x="23202" y="338"/>
                            <a:pt x="23652" y="338"/>
                          </a:cubicBezTo>
                          <a:cubicBezTo>
                            <a:pt x="23697" y="338"/>
                            <a:pt x="23742" y="338"/>
                            <a:pt x="23787" y="338"/>
                          </a:cubicBezTo>
                          <a:cubicBezTo>
                            <a:pt x="23787" y="563"/>
                            <a:pt x="23787" y="833"/>
                            <a:pt x="23787" y="1058"/>
                          </a:cubicBezTo>
                          <a:cubicBezTo>
                            <a:pt x="23787" y="9519"/>
                            <a:pt x="23787" y="18026"/>
                            <a:pt x="23787" y="26487"/>
                          </a:cubicBezTo>
                          <a:cubicBezTo>
                            <a:pt x="23787" y="27072"/>
                            <a:pt x="23652" y="27432"/>
                            <a:pt x="23112" y="27702"/>
                          </a:cubicBezTo>
                          <a:cubicBezTo>
                            <a:pt x="21041" y="28828"/>
                            <a:pt x="19016" y="29998"/>
                            <a:pt x="17036" y="31213"/>
                          </a:cubicBezTo>
                          <a:cubicBezTo>
                            <a:pt x="13210" y="33554"/>
                            <a:pt x="9249" y="35714"/>
                            <a:pt x="5378" y="38009"/>
                          </a:cubicBezTo>
                          <a:cubicBezTo>
                            <a:pt x="3713" y="39000"/>
                            <a:pt x="2048" y="39945"/>
                            <a:pt x="383" y="40980"/>
                          </a:cubicBezTo>
                          <a:cubicBezTo>
                            <a:pt x="383" y="40890"/>
                            <a:pt x="383" y="40845"/>
                            <a:pt x="338" y="40755"/>
                          </a:cubicBezTo>
                          <a:cubicBezTo>
                            <a:pt x="338" y="40710"/>
                            <a:pt x="338" y="40665"/>
                            <a:pt x="338" y="40575"/>
                          </a:cubicBezTo>
                          <a:cubicBezTo>
                            <a:pt x="608" y="40305"/>
                            <a:pt x="473" y="39945"/>
                            <a:pt x="473" y="39630"/>
                          </a:cubicBezTo>
                          <a:cubicBezTo>
                            <a:pt x="563" y="31078"/>
                            <a:pt x="563" y="22437"/>
                            <a:pt x="563" y="13750"/>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AA72D6C1-3646-424B-A620-E8CB8DEBE35B}"/>
                        </a:ext>
                      </a:extLst>
                    </p:cNvPr>
                    <p:cNvSpPr/>
                    <p:nvPr/>
                  </p:nvSpPr>
                  <p:spPr>
                    <a:xfrm>
                      <a:off x="4411107" y="6689280"/>
                      <a:ext cx="731" cy="45356"/>
                    </a:xfrm>
                    <a:custGeom>
                      <a:avLst/>
                      <a:gdLst>
                        <a:gd name="connsiteX0" fmla="*/ 518 w 450"/>
                        <a:gd name="connsiteY0" fmla="*/ 338 h 27905"/>
                        <a:gd name="connsiteX1" fmla="*/ 518 w 450"/>
                        <a:gd name="connsiteY1" fmla="*/ 14920 h 27905"/>
                        <a:gd name="connsiteX2" fmla="*/ 518 w 450"/>
                        <a:gd name="connsiteY2" fmla="*/ 27522 h 27905"/>
                        <a:gd name="connsiteX3" fmla="*/ 383 w 450"/>
                        <a:gd name="connsiteY3" fmla="*/ 27612 h 27905"/>
                        <a:gd name="connsiteX4" fmla="*/ 338 w 450"/>
                        <a:gd name="connsiteY4" fmla="*/ 26487 h 27905"/>
                        <a:gd name="connsiteX5" fmla="*/ 338 w 450"/>
                        <a:gd name="connsiteY5" fmla="*/ 383 h 27905"/>
                        <a:gd name="connsiteX6" fmla="*/ 518 w 450"/>
                        <a:gd name="connsiteY6" fmla="*/ 338 h 2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 h="27905">
                          <a:moveTo>
                            <a:pt x="518" y="338"/>
                          </a:moveTo>
                          <a:cubicBezTo>
                            <a:pt x="518" y="5198"/>
                            <a:pt x="518" y="10059"/>
                            <a:pt x="518" y="14920"/>
                          </a:cubicBezTo>
                          <a:cubicBezTo>
                            <a:pt x="518" y="19106"/>
                            <a:pt x="518" y="23337"/>
                            <a:pt x="518" y="27522"/>
                          </a:cubicBezTo>
                          <a:cubicBezTo>
                            <a:pt x="473" y="27567"/>
                            <a:pt x="428" y="27567"/>
                            <a:pt x="383" y="27612"/>
                          </a:cubicBezTo>
                          <a:cubicBezTo>
                            <a:pt x="383" y="27252"/>
                            <a:pt x="338" y="26847"/>
                            <a:pt x="338" y="26487"/>
                          </a:cubicBezTo>
                          <a:cubicBezTo>
                            <a:pt x="338" y="17801"/>
                            <a:pt x="338" y="9069"/>
                            <a:pt x="338" y="383"/>
                          </a:cubicBezTo>
                          <a:cubicBezTo>
                            <a:pt x="383" y="338"/>
                            <a:pt x="473" y="338"/>
                            <a:pt x="518" y="338"/>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28A05B52-0D96-417B-9AE3-40704B83762C}"/>
                        </a:ext>
                      </a:extLst>
                    </p:cNvPr>
                    <p:cNvSpPr/>
                    <p:nvPr/>
                  </p:nvSpPr>
                  <p:spPr>
                    <a:xfrm>
                      <a:off x="4297423" y="6755560"/>
                      <a:ext cx="731" cy="44625"/>
                    </a:xfrm>
                    <a:custGeom>
                      <a:avLst/>
                      <a:gdLst>
                        <a:gd name="connsiteX0" fmla="*/ 338 w 450"/>
                        <a:gd name="connsiteY0" fmla="*/ 27522 h 27454"/>
                        <a:gd name="connsiteX1" fmla="*/ 338 w 450"/>
                        <a:gd name="connsiteY1" fmla="*/ 1463 h 27454"/>
                        <a:gd name="connsiteX2" fmla="*/ 338 w 450"/>
                        <a:gd name="connsiteY2" fmla="*/ 338 h 27454"/>
                        <a:gd name="connsiteX3" fmla="*/ 518 w 450"/>
                        <a:gd name="connsiteY3" fmla="*/ 338 h 27454"/>
                        <a:gd name="connsiteX4" fmla="*/ 518 w 450"/>
                        <a:gd name="connsiteY4" fmla="*/ 27522 h 27454"/>
                        <a:gd name="connsiteX5" fmla="*/ 338 w 450"/>
                        <a:gd name="connsiteY5" fmla="*/ 27522 h 2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 h="27454">
                          <a:moveTo>
                            <a:pt x="338" y="27522"/>
                          </a:moveTo>
                          <a:cubicBezTo>
                            <a:pt x="338" y="18836"/>
                            <a:pt x="338" y="10149"/>
                            <a:pt x="338" y="1463"/>
                          </a:cubicBezTo>
                          <a:cubicBezTo>
                            <a:pt x="338" y="1103"/>
                            <a:pt x="338" y="698"/>
                            <a:pt x="338" y="338"/>
                          </a:cubicBezTo>
                          <a:cubicBezTo>
                            <a:pt x="383" y="338"/>
                            <a:pt x="428" y="338"/>
                            <a:pt x="518" y="338"/>
                          </a:cubicBezTo>
                          <a:cubicBezTo>
                            <a:pt x="518" y="9384"/>
                            <a:pt x="518" y="18476"/>
                            <a:pt x="518" y="27522"/>
                          </a:cubicBezTo>
                          <a:cubicBezTo>
                            <a:pt x="428" y="27522"/>
                            <a:pt x="383" y="27522"/>
                            <a:pt x="338" y="27522"/>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3BFEABA5-631B-4485-ABEE-CE8003C15423}"/>
                        </a:ext>
                      </a:extLst>
                    </p:cNvPr>
                    <p:cNvSpPr/>
                    <p:nvPr/>
                  </p:nvSpPr>
                  <p:spPr>
                    <a:xfrm>
                      <a:off x="4334878" y="6777917"/>
                      <a:ext cx="1463" cy="731"/>
                    </a:xfrm>
                    <a:custGeom>
                      <a:avLst/>
                      <a:gdLst>
                        <a:gd name="connsiteX0" fmla="*/ 338 w 900"/>
                        <a:gd name="connsiteY0" fmla="*/ 489 h 450"/>
                        <a:gd name="connsiteX1" fmla="*/ 698 w 900"/>
                        <a:gd name="connsiteY1" fmla="*/ 354 h 450"/>
                        <a:gd name="connsiteX2" fmla="*/ 653 w 900"/>
                        <a:gd name="connsiteY2" fmla="*/ 534 h 450"/>
                        <a:gd name="connsiteX3" fmla="*/ 338 w 900"/>
                        <a:gd name="connsiteY3" fmla="*/ 489 h 450"/>
                      </a:gdLst>
                      <a:ahLst/>
                      <a:cxnLst>
                        <a:cxn ang="0">
                          <a:pos x="connsiteX0" y="connsiteY0"/>
                        </a:cxn>
                        <a:cxn ang="0">
                          <a:pos x="connsiteX1" y="connsiteY1"/>
                        </a:cxn>
                        <a:cxn ang="0">
                          <a:pos x="connsiteX2" y="connsiteY2"/>
                        </a:cxn>
                        <a:cxn ang="0">
                          <a:pos x="connsiteX3" y="connsiteY3"/>
                        </a:cxn>
                      </a:cxnLst>
                      <a:rect l="l" t="t" r="r" b="b"/>
                      <a:pathLst>
                        <a:path w="900" h="450">
                          <a:moveTo>
                            <a:pt x="338" y="489"/>
                          </a:moveTo>
                          <a:cubicBezTo>
                            <a:pt x="428" y="354"/>
                            <a:pt x="563" y="309"/>
                            <a:pt x="698" y="354"/>
                          </a:cubicBezTo>
                          <a:cubicBezTo>
                            <a:pt x="698" y="399"/>
                            <a:pt x="653" y="489"/>
                            <a:pt x="653" y="534"/>
                          </a:cubicBezTo>
                          <a:cubicBezTo>
                            <a:pt x="563" y="534"/>
                            <a:pt x="473" y="534"/>
                            <a:pt x="338" y="489"/>
                          </a:cubicBezTo>
                          <a:close/>
                        </a:path>
                      </a:pathLst>
                    </a:custGeom>
                    <a:solidFill>
                      <a:srgbClr val="FADF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E958C70D-E62F-4171-92F4-30259180CF3D}"/>
                        </a:ext>
                      </a:extLst>
                    </p:cNvPr>
                    <p:cNvSpPr/>
                    <p:nvPr/>
                  </p:nvSpPr>
                  <p:spPr>
                    <a:xfrm>
                      <a:off x="4448928" y="6799965"/>
                      <a:ext cx="731" cy="1463"/>
                    </a:xfrm>
                    <a:custGeom>
                      <a:avLst/>
                      <a:gdLst>
                        <a:gd name="connsiteX0" fmla="*/ 473 w 450"/>
                        <a:gd name="connsiteY0" fmla="*/ 563 h 900"/>
                        <a:gd name="connsiteX1" fmla="*/ 338 w 450"/>
                        <a:gd name="connsiteY1" fmla="*/ 563 h 900"/>
                        <a:gd name="connsiteX2" fmla="*/ 383 w 450"/>
                        <a:gd name="connsiteY2" fmla="*/ 338 h 900"/>
                        <a:gd name="connsiteX3" fmla="*/ 473 w 450"/>
                        <a:gd name="connsiteY3" fmla="*/ 563 h 900"/>
                      </a:gdLst>
                      <a:ahLst/>
                      <a:cxnLst>
                        <a:cxn ang="0">
                          <a:pos x="connsiteX0" y="connsiteY0"/>
                        </a:cxn>
                        <a:cxn ang="0">
                          <a:pos x="connsiteX1" y="connsiteY1"/>
                        </a:cxn>
                        <a:cxn ang="0">
                          <a:pos x="connsiteX2" y="connsiteY2"/>
                        </a:cxn>
                        <a:cxn ang="0">
                          <a:pos x="connsiteX3" y="connsiteY3"/>
                        </a:cxn>
                      </a:cxnLst>
                      <a:rect l="l" t="t" r="r" b="b"/>
                      <a:pathLst>
                        <a:path w="450" h="900">
                          <a:moveTo>
                            <a:pt x="473" y="563"/>
                          </a:moveTo>
                          <a:cubicBezTo>
                            <a:pt x="428" y="563"/>
                            <a:pt x="383" y="563"/>
                            <a:pt x="338" y="563"/>
                          </a:cubicBezTo>
                          <a:cubicBezTo>
                            <a:pt x="338" y="473"/>
                            <a:pt x="383" y="428"/>
                            <a:pt x="383" y="338"/>
                          </a:cubicBezTo>
                          <a:cubicBezTo>
                            <a:pt x="473" y="383"/>
                            <a:pt x="473" y="473"/>
                            <a:pt x="473" y="563"/>
                          </a:cubicBezTo>
                          <a:close/>
                        </a:path>
                      </a:pathLst>
                    </a:custGeom>
                    <a:solidFill>
                      <a:srgbClr val="F1A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81082074-DC99-4775-8962-9AC8BC78E213}"/>
                        </a:ext>
                      </a:extLst>
                    </p:cNvPr>
                    <p:cNvSpPr/>
                    <p:nvPr/>
                  </p:nvSpPr>
                  <p:spPr>
                    <a:xfrm>
                      <a:off x="4259601" y="6733466"/>
                      <a:ext cx="731" cy="1463"/>
                    </a:xfrm>
                    <a:custGeom>
                      <a:avLst/>
                      <a:gdLst>
                        <a:gd name="connsiteX0" fmla="*/ 518 w 450"/>
                        <a:gd name="connsiteY0" fmla="*/ 518 h 900"/>
                        <a:gd name="connsiteX1" fmla="*/ 383 w 450"/>
                        <a:gd name="connsiteY1" fmla="*/ 563 h 900"/>
                        <a:gd name="connsiteX2" fmla="*/ 338 w 450"/>
                        <a:gd name="connsiteY2" fmla="*/ 383 h 900"/>
                        <a:gd name="connsiteX3" fmla="*/ 473 w 450"/>
                        <a:gd name="connsiteY3" fmla="*/ 338 h 900"/>
                        <a:gd name="connsiteX4" fmla="*/ 518 w 450"/>
                        <a:gd name="connsiteY4" fmla="*/ 518 h 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 h="900">
                          <a:moveTo>
                            <a:pt x="518" y="518"/>
                          </a:moveTo>
                          <a:cubicBezTo>
                            <a:pt x="473" y="518"/>
                            <a:pt x="428" y="563"/>
                            <a:pt x="383" y="563"/>
                          </a:cubicBezTo>
                          <a:cubicBezTo>
                            <a:pt x="383" y="518"/>
                            <a:pt x="338" y="428"/>
                            <a:pt x="338" y="383"/>
                          </a:cubicBezTo>
                          <a:cubicBezTo>
                            <a:pt x="383" y="383"/>
                            <a:pt x="428" y="338"/>
                            <a:pt x="473" y="338"/>
                          </a:cubicBezTo>
                          <a:cubicBezTo>
                            <a:pt x="473" y="383"/>
                            <a:pt x="473" y="428"/>
                            <a:pt x="518" y="518"/>
                          </a:cubicBezTo>
                          <a:close/>
                        </a:path>
                      </a:pathLst>
                    </a:custGeom>
                    <a:solidFill>
                      <a:srgbClr val="EC846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F25D7148-B5AE-4B3C-9200-B034DC8323F8}"/>
                        </a:ext>
                      </a:extLst>
                    </p:cNvPr>
                    <p:cNvSpPr/>
                    <p:nvPr/>
                  </p:nvSpPr>
                  <p:spPr>
                    <a:xfrm>
                      <a:off x="4411180" y="6822130"/>
                      <a:ext cx="731" cy="44625"/>
                    </a:xfrm>
                    <a:custGeom>
                      <a:avLst/>
                      <a:gdLst>
                        <a:gd name="connsiteX0" fmla="*/ 473 w 450"/>
                        <a:gd name="connsiteY0" fmla="*/ 338 h 27454"/>
                        <a:gd name="connsiteX1" fmla="*/ 473 w 450"/>
                        <a:gd name="connsiteY1" fmla="*/ 26262 h 27454"/>
                        <a:gd name="connsiteX2" fmla="*/ 338 w 450"/>
                        <a:gd name="connsiteY2" fmla="*/ 27207 h 27454"/>
                        <a:gd name="connsiteX3" fmla="*/ 338 w 450"/>
                        <a:gd name="connsiteY3" fmla="*/ 338 h 27454"/>
                        <a:gd name="connsiteX4" fmla="*/ 473 w 450"/>
                        <a:gd name="connsiteY4" fmla="*/ 338 h 2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 h="27454">
                          <a:moveTo>
                            <a:pt x="473" y="338"/>
                          </a:moveTo>
                          <a:cubicBezTo>
                            <a:pt x="473" y="8979"/>
                            <a:pt x="473" y="17621"/>
                            <a:pt x="473" y="26262"/>
                          </a:cubicBezTo>
                          <a:cubicBezTo>
                            <a:pt x="473" y="26577"/>
                            <a:pt x="608" y="26937"/>
                            <a:pt x="338" y="27207"/>
                          </a:cubicBezTo>
                          <a:cubicBezTo>
                            <a:pt x="338" y="18251"/>
                            <a:pt x="338" y="9294"/>
                            <a:pt x="338" y="338"/>
                          </a:cubicBezTo>
                          <a:cubicBezTo>
                            <a:pt x="338" y="338"/>
                            <a:pt x="428" y="338"/>
                            <a:pt x="473" y="338"/>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20" name="Group 19">
                  <a:extLst>
                    <a:ext uri="{FF2B5EF4-FFF2-40B4-BE49-F238E27FC236}">
                      <a16:creationId xmlns:a16="http://schemas.microsoft.com/office/drawing/2014/main" id="{961F1ED6-8168-44B0-8039-F4E04B5EEF8A}"/>
                    </a:ext>
                  </a:extLst>
                </p:cNvPr>
                <p:cNvGrpSpPr/>
                <p:nvPr/>
              </p:nvGrpSpPr>
              <p:grpSpPr>
                <a:xfrm>
                  <a:off x="8407138" y="3168587"/>
                  <a:ext cx="329184" cy="329184"/>
                  <a:chOff x="8581979" y="3008659"/>
                  <a:chExt cx="586168" cy="586166"/>
                </a:xfrm>
              </p:grpSpPr>
              <p:sp>
                <p:nvSpPr>
                  <p:cNvPr id="295" name="Oval 294">
                    <a:extLst>
                      <a:ext uri="{FF2B5EF4-FFF2-40B4-BE49-F238E27FC236}">
                        <a16:creationId xmlns:a16="http://schemas.microsoft.com/office/drawing/2014/main" id="{A48BFAD5-475C-4CC0-BC40-0F57858270FB}"/>
                      </a:ext>
                    </a:extLst>
                  </p:cNvPr>
                  <p:cNvSpPr/>
                  <p:nvPr/>
                </p:nvSpPr>
                <p:spPr bwMode="auto">
                  <a:xfrm>
                    <a:off x="8581979"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41DC5616-9153-4663-8607-69BB2F4E5561}"/>
                      </a:ext>
                    </a:extLst>
                  </p:cNvPr>
                  <p:cNvGrpSpPr/>
                  <p:nvPr/>
                </p:nvGrpSpPr>
                <p:grpSpPr>
                  <a:xfrm>
                    <a:off x="8750839" y="3096980"/>
                    <a:ext cx="248448" cy="409562"/>
                    <a:chOff x="8671958" y="3046698"/>
                    <a:chExt cx="196608" cy="324104"/>
                  </a:xfrm>
                </p:grpSpPr>
                <p:sp>
                  <p:nvSpPr>
                    <p:cNvPr id="182" name="Freeform: Shape 181">
                      <a:extLst>
                        <a:ext uri="{FF2B5EF4-FFF2-40B4-BE49-F238E27FC236}">
                          <a16:creationId xmlns:a16="http://schemas.microsoft.com/office/drawing/2014/main" id="{43681077-FF29-4421-B00A-0990EB68F571}"/>
                        </a:ext>
                      </a:extLst>
                    </p:cNvPr>
                    <p:cNvSpPr/>
                    <p:nvPr/>
                  </p:nvSpPr>
                  <p:spPr bwMode="auto">
                    <a:xfrm>
                      <a:off x="8765191" y="3046698"/>
                      <a:ext cx="10141" cy="74941"/>
                    </a:xfrm>
                    <a:custGeom>
                      <a:avLst/>
                      <a:gdLst>
                        <a:gd name="connsiteX0" fmla="*/ 0 w 214355"/>
                        <a:gd name="connsiteY0" fmla="*/ 0 h 1583985"/>
                        <a:gd name="connsiteX1" fmla="*/ 214355 w 214355"/>
                        <a:gd name="connsiteY1" fmla="*/ 0 h 1583985"/>
                        <a:gd name="connsiteX2" fmla="*/ 214355 w 214355"/>
                        <a:gd name="connsiteY2" fmla="*/ 1583985 h 1583985"/>
                        <a:gd name="connsiteX3" fmla="*/ 77018 w 214355"/>
                        <a:gd name="connsiteY3" fmla="*/ 1577050 h 1583985"/>
                        <a:gd name="connsiteX4" fmla="*/ 0 w 214355"/>
                        <a:gd name="connsiteY4" fmla="*/ 1580939 h 1583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55" h="1583985">
                          <a:moveTo>
                            <a:pt x="0" y="0"/>
                          </a:moveTo>
                          <a:lnTo>
                            <a:pt x="214355" y="0"/>
                          </a:lnTo>
                          <a:lnTo>
                            <a:pt x="214355" y="1583985"/>
                          </a:lnTo>
                          <a:lnTo>
                            <a:pt x="77018" y="1577050"/>
                          </a:lnTo>
                          <a:lnTo>
                            <a:pt x="0" y="1580939"/>
                          </a:lnTo>
                          <a:close/>
                        </a:path>
                      </a:pathLst>
                    </a:custGeom>
                    <a:solidFill>
                      <a:srgbClr val="C2C2C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3" name="Freeform: Shape 182">
                      <a:extLst>
                        <a:ext uri="{FF2B5EF4-FFF2-40B4-BE49-F238E27FC236}">
                          <a16:creationId xmlns:a16="http://schemas.microsoft.com/office/drawing/2014/main" id="{0F11B762-46EE-4771-803F-CCB4DC626F0E}"/>
                        </a:ext>
                      </a:extLst>
                    </p:cNvPr>
                    <p:cNvSpPr/>
                    <p:nvPr/>
                  </p:nvSpPr>
                  <p:spPr bwMode="auto">
                    <a:xfrm>
                      <a:off x="8779137" y="3046698"/>
                      <a:ext cx="18997" cy="76336"/>
                    </a:xfrm>
                    <a:custGeom>
                      <a:avLst/>
                      <a:gdLst>
                        <a:gd name="connsiteX0" fmla="*/ 250525 w 401547"/>
                        <a:gd name="connsiteY0" fmla="*/ 0 h 1613454"/>
                        <a:gd name="connsiteX1" fmla="*/ 401547 w 401547"/>
                        <a:gd name="connsiteY1" fmla="*/ 0 h 1613454"/>
                        <a:gd name="connsiteX2" fmla="*/ 147478 w 401547"/>
                        <a:gd name="connsiteY2" fmla="*/ 1613454 h 1613454"/>
                        <a:gd name="connsiteX3" fmla="*/ 0 w 401547"/>
                        <a:gd name="connsiteY3" fmla="*/ 1590946 h 1613454"/>
                      </a:gdLst>
                      <a:ahLst/>
                      <a:cxnLst>
                        <a:cxn ang="0">
                          <a:pos x="connsiteX0" y="connsiteY0"/>
                        </a:cxn>
                        <a:cxn ang="0">
                          <a:pos x="connsiteX1" y="connsiteY1"/>
                        </a:cxn>
                        <a:cxn ang="0">
                          <a:pos x="connsiteX2" y="connsiteY2"/>
                        </a:cxn>
                        <a:cxn ang="0">
                          <a:pos x="connsiteX3" y="connsiteY3"/>
                        </a:cxn>
                      </a:cxnLst>
                      <a:rect l="l" t="t" r="r" b="b"/>
                      <a:pathLst>
                        <a:path w="401547" h="1613454">
                          <a:moveTo>
                            <a:pt x="250525" y="0"/>
                          </a:moveTo>
                          <a:lnTo>
                            <a:pt x="401547" y="0"/>
                          </a:lnTo>
                          <a:lnTo>
                            <a:pt x="147478" y="1613454"/>
                          </a:lnTo>
                          <a:lnTo>
                            <a:pt x="0" y="1590946"/>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4" name="Freeform: Shape 183">
                      <a:extLst>
                        <a:ext uri="{FF2B5EF4-FFF2-40B4-BE49-F238E27FC236}">
                          <a16:creationId xmlns:a16="http://schemas.microsoft.com/office/drawing/2014/main" id="{64DF8067-7C32-453D-AF11-83407FBB3894}"/>
                        </a:ext>
                      </a:extLst>
                    </p:cNvPr>
                    <p:cNvSpPr/>
                    <p:nvPr/>
                  </p:nvSpPr>
                  <p:spPr bwMode="auto">
                    <a:xfrm>
                      <a:off x="8792727" y="3046698"/>
                      <a:ext cx="29831" cy="80043"/>
                    </a:xfrm>
                    <a:custGeom>
                      <a:avLst/>
                      <a:gdLst>
                        <a:gd name="connsiteX0" fmla="*/ 462495 w 630555"/>
                        <a:gd name="connsiteY0" fmla="*/ 0 h 1691823"/>
                        <a:gd name="connsiteX1" fmla="*/ 630555 w 630555"/>
                        <a:gd name="connsiteY1" fmla="*/ 0 h 1691823"/>
                        <a:gd name="connsiteX2" fmla="*/ 132065 w 630555"/>
                        <a:gd name="connsiteY2" fmla="*/ 1691823 h 1691823"/>
                        <a:gd name="connsiteX3" fmla="*/ 0 w 630555"/>
                        <a:gd name="connsiteY3" fmla="*/ 1637875 h 1691823"/>
                      </a:gdLst>
                      <a:ahLst/>
                      <a:cxnLst>
                        <a:cxn ang="0">
                          <a:pos x="connsiteX0" y="connsiteY0"/>
                        </a:cxn>
                        <a:cxn ang="0">
                          <a:pos x="connsiteX1" y="connsiteY1"/>
                        </a:cxn>
                        <a:cxn ang="0">
                          <a:pos x="connsiteX2" y="connsiteY2"/>
                        </a:cxn>
                        <a:cxn ang="0">
                          <a:pos x="connsiteX3" y="connsiteY3"/>
                        </a:cxn>
                      </a:cxnLst>
                      <a:rect l="l" t="t" r="r" b="b"/>
                      <a:pathLst>
                        <a:path w="630555" h="1691823">
                          <a:moveTo>
                            <a:pt x="462495" y="0"/>
                          </a:moveTo>
                          <a:lnTo>
                            <a:pt x="630555" y="0"/>
                          </a:lnTo>
                          <a:lnTo>
                            <a:pt x="132065" y="1691823"/>
                          </a:lnTo>
                          <a:lnTo>
                            <a:pt x="0" y="1637875"/>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5" name="Freeform: Shape 184">
                      <a:extLst>
                        <a:ext uri="{FF2B5EF4-FFF2-40B4-BE49-F238E27FC236}">
                          <a16:creationId xmlns:a16="http://schemas.microsoft.com/office/drawing/2014/main" id="{5C4D7E33-FDDD-4475-9265-AE1035099839}"/>
                        </a:ext>
                      </a:extLst>
                    </p:cNvPr>
                    <p:cNvSpPr/>
                    <p:nvPr/>
                  </p:nvSpPr>
                  <p:spPr bwMode="auto">
                    <a:xfrm>
                      <a:off x="8803306" y="3046698"/>
                      <a:ext cx="42497" cy="84069"/>
                    </a:xfrm>
                    <a:custGeom>
                      <a:avLst/>
                      <a:gdLst>
                        <a:gd name="connsiteX0" fmla="*/ 772488 w 898251"/>
                        <a:gd name="connsiteY0" fmla="*/ 0 h 1776915"/>
                        <a:gd name="connsiteX1" fmla="*/ 898251 w 898251"/>
                        <a:gd name="connsiteY1" fmla="*/ 0 h 1776915"/>
                        <a:gd name="connsiteX2" fmla="*/ 105047 w 898251"/>
                        <a:gd name="connsiteY2" fmla="*/ 1776915 h 1776915"/>
                        <a:gd name="connsiteX3" fmla="*/ 0 w 898251"/>
                        <a:gd name="connsiteY3" fmla="*/ 1726311 h 1776915"/>
                      </a:gdLst>
                      <a:ahLst/>
                      <a:cxnLst>
                        <a:cxn ang="0">
                          <a:pos x="connsiteX0" y="connsiteY0"/>
                        </a:cxn>
                        <a:cxn ang="0">
                          <a:pos x="connsiteX1" y="connsiteY1"/>
                        </a:cxn>
                        <a:cxn ang="0">
                          <a:pos x="connsiteX2" y="connsiteY2"/>
                        </a:cxn>
                        <a:cxn ang="0">
                          <a:pos x="connsiteX3" y="connsiteY3"/>
                        </a:cxn>
                      </a:cxnLst>
                      <a:rect l="l" t="t" r="r" b="b"/>
                      <a:pathLst>
                        <a:path w="898251" h="1776915">
                          <a:moveTo>
                            <a:pt x="772488" y="0"/>
                          </a:moveTo>
                          <a:lnTo>
                            <a:pt x="898251" y="0"/>
                          </a:lnTo>
                          <a:lnTo>
                            <a:pt x="105047" y="1776915"/>
                          </a:lnTo>
                          <a:lnTo>
                            <a:pt x="0" y="1726311"/>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6" name="Freeform: Shape 185">
                      <a:extLst>
                        <a:ext uri="{FF2B5EF4-FFF2-40B4-BE49-F238E27FC236}">
                          <a16:creationId xmlns:a16="http://schemas.microsoft.com/office/drawing/2014/main" id="{2538D788-F7CC-48C0-8ACD-E9BF14C8609F}"/>
                        </a:ext>
                      </a:extLst>
                    </p:cNvPr>
                    <p:cNvSpPr/>
                    <p:nvPr/>
                  </p:nvSpPr>
                  <p:spPr bwMode="auto">
                    <a:xfrm>
                      <a:off x="8813507" y="3046698"/>
                      <a:ext cx="55059" cy="88825"/>
                    </a:xfrm>
                    <a:custGeom>
                      <a:avLst/>
                      <a:gdLst>
                        <a:gd name="connsiteX0" fmla="*/ 1083439 w 1163789"/>
                        <a:gd name="connsiteY0" fmla="*/ 0 h 1877439"/>
                        <a:gd name="connsiteX1" fmla="*/ 1163789 w 1163789"/>
                        <a:gd name="connsiteY1" fmla="*/ 0 h 1877439"/>
                        <a:gd name="connsiteX2" fmla="*/ 65061 w 1163789"/>
                        <a:gd name="connsiteY2" fmla="*/ 1877439 h 1877439"/>
                        <a:gd name="connsiteX3" fmla="*/ 0 w 1163789"/>
                        <a:gd name="connsiteY3" fmla="*/ 1837913 h 1877439"/>
                      </a:gdLst>
                      <a:ahLst/>
                      <a:cxnLst>
                        <a:cxn ang="0">
                          <a:pos x="connsiteX0" y="connsiteY0"/>
                        </a:cxn>
                        <a:cxn ang="0">
                          <a:pos x="connsiteX1" y="connsiteY1"/>
                        </a:cxn>
                        <a:cxn ang="0">
                          <a:pos x="connsiteX2" y="connsiteY2"/>
                        </a:cxn>
                        <a:cxn ang="0">
                          <a:pos x="connsiteX3" y="connsiteY3"/>
                        </a:cxn>
                      </a:cxnLst>
                      <a:rect l="l" t="t" r="r" b="b"/>
                      <a:pathLst>
                        <a:path w="1163789" h="1877439">
                          <a:moveTo>
                            <a:pt x="1083439" y="0"/>
                          </a:moveTo>
                          <a:lnTo>
                            <a:pt x="1163789" y="0"/>
                          </a:lnTo>
                          <a:lnTo>
                            <a:pt x="65061" y="1877439"/>
                          </a:lnTo>
                          <a:lnTo>
                            <a:pt x="0" y="1837913"/>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7" name="Freeform: Shape 186">
                      <a:extLst>
                        <a:ext uri="{FF2B5EF4-FFF2-40B4-BE49-F238E27FC236}">
                          <a16:creationId xmlns:a16="http://schemas.microsoft.com/office/drawing/2014/main" id="{CD3A2245-F631-4BDE-A6EC-4A7EF2BE2769}"/>
                        </a:ext>
                      </a:extLst>
                    </p:cNvPr>
                    <p:cNvSpPr/>
                    <p:nvPr/>
                  </p:nvSpPr>
                  <p:spPr bwMode="auto">
                    <a:xfrm flipH="1">
                      <a:off x="8742390" y="3046698"/>
                      <a:ext cx="18997" cy="76336"/>
                    </a:xfrm>
                    <a:custGeom>
                      <a:avLst/>
                      <a:gdLst>
                        <a:gd name="connsiteX0" fmla="*/ 250525 w 401547"/>
                        <a:gd name="connsiteY0" fmla="*/ 0 h 1613454"/>
                        <a:gd name="connsiteX1" fmla="*/ 401547 w 401547"/>
                        <a:gd name="connsiteY1" fmla="*/ 0 h 1613454"/>
                        <a:gd name="connsiteX2" fmla="*/ 147478 w 401547"/>
                        <a:gd name="connsiteY2" fmla="*/ 1613454 h 1613454"/>
                        <a:gd name="connsiteX3" fmla="*/ 0 w 401547"/>
                        <a:gd name="connsiteY3" fmla="*/ 1590946 h 1613454"/>
                      </a:gdLst>
                      <a:ahLst/>
                      <a:cxnLst>
                        <a:cxn ang="0">
                          <a:pos x="connsiteX0" y="connsiteY0"/>
                        </a:cxn>
                        <a:cxn ang="0">
                          <a:pos x="connsiteX1" y="connsiteY1"/>
                        </a:cxn>
                        <a:cxn ang="0">
                          <a:pos x="connsiteX2" y="connsiteY2"/>
                        </a:cxn>
                        <a:cxn ang="0">
                          <a:pos x="connsiteX3" y="connsiteY3"/>
                        </a:cxn>
                      </a:cxnLst>
                      <a:rect l="l" t="t" r="r" b="b"/>
                      <a:pathLst>
                        <a:path w="401547" h="1613454">
                          <a:moveTo>
                            <a:pt x="250525" y="0"/>
                          </a:moveTo>
                          <a:lnTo>
                            <a:pt x="401547" y="0"/>
                          </a:lnTo>
                          <a:lnTo>
                            <a:pt x="147478" y="1613454"/>
                          </a:lnTo>
                          <a:lnTo>
                            <a:pt x="0" y="1590946"/>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8" name="Freeform: Shape 187">
                      <a:extLst>
                        <a:ext uri="{FF2B5EF4-FFF2-40B4-BE49-F238E27FC236}">
                          <a16:creationId xmlns:a16="http://schemas.microsoft.com/office/drawing/2014/main" id="{D1CF71D4-DC89-4407-83E2-3ACFE5D72673}"/>
                        </a:ext>
                      </a:extLst>
                    </p:cNvPr>
                    <p:cNvSpPr/>
                    <p:nvPr/>
                  </p:nvSpPr>
                  <p:spPr bwMode="auto">
                    <a:xfrm flipH="1">
                      <a:off x="8717965" y="3046698"/>
                      <a:ext cx="29831" cy="80043"/>
                    </a:xfrm>
                    <a:custGeom>
                      <a:avLst/>
                      <a:gdLst>
                        <a:gd name="connsiteX0" fmla="*/ 462495 w 630555"/>
                        <a:gd name="connsiteY0" fmla="*/ 0 h 1691823"/>
                        <a:gd name="connsiteX1" fmla="*/ 630555 w 630555"/>
                        <a:gd name="connsiteY1" fmla="*/ 0 h 1691823"/>
                        <a:gd name="connsiteX2" fmla="*/ 132065 w 630555"/>
                        <a:gd name="connsiteY2" fmla="*/ 1691823 h 1691823"/>
                        <a:gd name="connsiteX3" fmla="*/ 0 w 630555"/>
                        <a:gd name="connsiteY3" fmla="*/ 1637875 h 1691823"/>
                      </a:gdLst>
                      <a:ahLst/>
                      <a:cxnLst>
                        <a:cxn ang="0">
                          <a:pos x="connsiteX0" y="connsiteY0"/>
                        </a:cxn>
                        <a:cxn ang="0">
                          <a:pos x="connsiteX1" y="connsiteY1"/>
                        </a:cxn>
                        <a:cxn ang="0">
                          <a:pos x="connsiteX2" y="connsiteY2"/>
                        </a:cxn>
                        <a:cxn ang="0">
                          <a:pos x="connsiteX3" y="connsiteY3"/>
                        </a:cxn>
                      </a:cxnLst>
                      <a:rect l="l" t="t" r="r" b="b"/>
                      <a:pathLst>
                        <a:path w="630555" h="1691823">
                          <a:moveTo>
                            <a:pt x="462495" y="0"/>
                          </a:moveTo>
                          <a:lnTo>
                            <a:pt x="630555" y="0"/>
                          </a:lnTo>
                          <a:lnTo>
                            <a:pt x="132065" y="1691823"/>
                          </a:lnTo>
                          <a:lnTo>
                            <a:pt x="0" y="1637875"/>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9" name="Freeform: Shape 188">
                      <a:extLst>
                        <a:ext uri="{FF2B5EF4-FFF2-40B4-BE49-F238E27FC236}">
                          <a16:creationId xmlns:a16="http://schemas.microsoft.com/office/drawing/2014/main" id="{8B9ED725-D17E-469F-B63D-0B2AF25EC388}"/>
                        </a:ext>
                      </a:extLst>
                    </p:cNvPr>
                    <p:cNvSpPr/>
                    <p:nvPr/>
                  </p:nvSpPr>
                  <p:spPr bwMode="auto">
                    <a:xfrm flipH="1">
                      <a:off x="8694721" y="3046698"/>
                      <a:ext cx="42497" cy="84069"/>
                    </a:xfrm>
                    <a:custGeom>
                      <a:avLst/>
                      <a:gdLst>
                        <a:gd name="connsiteX0" fmla="*/ 772488 w 898251"/>
                        <a:gd name="connsiteY0" fmla="*/ 0 h 1776915"/>
                        <a:gd name="connsiteX1" fmla="*/ 898251 w 898251"/>
                        <a:gd name="connsiteY1" fmla="*/ 0 h 1776915"/>
                        <a:gd name="connsiteX2" fmla="*/ 105047 w 898251"/>
                        <a:gd name="connsiteY2" fmla="*/ 1776915 h 1776915"/>
                        <a:gd name="connsiteX3" fmla="*/ 0 w 898251"/>
                        <a:gd name="connsiteY3" fmla="*/ 1726311 h 1776915"/>
                      </a:gdLst>
                      <a:ahLst/>
                      <a:cxnLst>
                        <a:cxn ang="0">
                          <a:pos x="connsiteX0" y="connsiteY0"/>
                        </a:cxn>
                        <a:cxn ang="0">
                          <a:pos x="connsiteX1" y="connsiteY1"/>
                        </a:cxn>
                        <a:cxn ang="0">
                          <a:pos x="connsiteX2" y="connsiteY2"/>
                        </a:cxn>
                        <a:cxn ang="0">
                          <a:pos x="connsiteX3" y="connsiteY3"/>
                        </a:cxn>
                      </a:cxnLst>
                      <a:rect l="l" t="t" r="r" b="b"/>
                      <a:pathLst>
                        <a:path w="898251" h="1776915">
                          <a:moveTo>
                            <a:pt x="772488" y="0"/>
                          </a:moveTo>
                          <a:lnTo>
                            <a:pt x="898251" y="0"/>
                          </a:lnTo>
                          <a:lnTo>
                            <a:pt x="105047" y="1776915"/>
                          </a:lnTo>
                          <a:lnTo>
                            <a:pt x="0" y="1726311"/>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0" name="Freeform: Shape 189">
                      <a:extLst>
                        <a:ext uri="{FF2B5EF4-FFF2-40B4-BE49-F238E27FC236}">
                          <a16:creationId xmlns:a16="http://schemas.microsoft.com/office/drawing/2014/main" id="{25631B6F-5415-4169-8B0D-15080652B16F}"/>
                        </a:ext>
                      </a:extLst>
                    </p:cNvPr>
                    <p:cNvSpPr/>
                    <p:nvPr/>
                  </p:nvSpPr>
                  <p:spPr bwMode="auto">
                    <a:xfrm flipH="1">
                      <a:off x="8671958" y="3046698"/>
                      <a:ext cx="55059" cy="88825"/>
                    </a:xfrm>
                    <a:custGeom>
                      <a:avLst/>
                      <a:gdLst>
                        <a:gd name="connsiteX0" fmla="*/ 1083439 w 1163789"/>
                        <a:gd name="connsiteY0" fmla="*/ 0 h 1877439"/>
                        <a:gd name="connsiteX1" fmla="*/ 1163789 w 1163789"/>
                        <a:gd name="connsiteY1" fmla="*/ 0 h 1877439"/>
                        <a:gd name="connsiteX2" fmla="*/ 65061 w 1163789"/>
                        <a:gd name="connsiteY2" fmla="*/ 1877439 h 1877439"/>
                        <a:gd name="connsiteX3" fmla="*/ 0 w 1163789"/>
                        <a:gd name="connsiteY3" fmla="*/ 1837913 h 1877439"/>
                      </a:gdLst>
                      <a:ahLst/>
                      <a:cxnLst>
                        <a:cxn ang="0">
                          <a:pos x="connsiteX0" y="connsiteY0"/>
                        </a:cxn>
                        <a:cxn ang="0">
                          <a:pos x="connsiteX1" y="connsiteY1"/>
                        </a:cxn>
                        <a:cxn ang="0">
                          <a:pos x="connsiteX2" y="connsiteY2"/>
                        </a:cxn>
                        <a:cxn ang="0">
                          <a:pos x="connsiteX3" y="connsiteY3"/>
                        </a:cxn>
                      </a:cxnLst>
                      <a:rect l="l" t="t" r="r" b="b"/>
                      <a:pathLst>
                        <a:path w="1163789" h="1877439">
                          <a:moveTo>
                            <a:pt x="1083439" y="0"/>
                          </a:moveTo>
                          <a:lnTo>
                            <a:pt x="1163789" y="0"/>
                          </a:lnTo>
                          <a:lnTo>
                            <a:pt x="65061" y="1877439"/>
                          </a:lnTo>
                          <a:lnTo>
                            <a:pt x="0" y="1837913"/>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1" name="Oval 190">
                      <a:extLst>
                        <a:ext uri="{FF2B5EF4-FFF2-40B4-BE49-F238E27FC236}">
                          <a16:creationId xmlns:a16="http://schemas.microsoft.com/office/drawing/2014/main" id="{3CC396A0-BF18-4204-A3A3-2F6EDB3BDE11}"/>
                        </a:ext>
                      </a:extLst>
                    </p:cNvPr>
                    <p:cNvSpPr/>
                    <p:nvPr/>
                  </p:nvSpPr>
                  <p:spPr bwMode="auto">
                    <a:xfrm>
                      <a:off x="8681218" y="3120951"/>
                      <a:ext cx="175233" cy="175238"/>
                    </a:xfrm>
                    <a:prstGeom prst="ellipse">
                      <a:avLst/>
                    </a:pr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5DDA4493-1AD6-429D-9A42-C748BB8BAD74}"/>
                        </a:ext>
                      </a:extLst>
                    </p:cNvPr>
                    <p:cNvSpPr/>
                    <p:nvPr/>
                  </p:nvSpPr>
                  <p:spPr bwMode="auto">
                    <a:xfrm>
                      <a:off x="8681218" y="3154648"/>
                      <a:ext cx="166674" cy="141542"/>
                    </a:xfrm>
                    <a:custGeom>
                      <a:avLst/>
                      <a:gdLst>
                        <a:gd name="connsiteX0" fmla="*/ 394265 w 3522995"/>
                        <a:gd name="connsiteY0" fmla="*/ 0 h 2991676"/>
                        <a:gd name="connsiteX1" fmla="*/ 358896 w 3522995"/>
                        <a:gd name="connsiteY1" fmla="*/ 73424 h 2991676"/>
                        <a:gd name="connsiteX2" fmla="*/ 213360 w 3522995"/>
                        <a:gd name="connsiteY2" fmla="*/ 794286 h 2991676"/>
                        <a:gd name="connsiteX3" fmla="*/ 2065310 w 3522995"/>
                        <a:gd name="connsiteY3" fmla="*/ 2646236 h 2991676"/>
                        <a:gd name="connsiteX4" fmla="*/ 3494365 w 3522995"/>
                        <a:gd name="connsiteY4" fmla="*/ 1972299 h 2991676"/>
                        <a:gd name="connsiteX5" fmla="*/ 3522995 w 3522995"/>
                        <a:gd name="connsiteY5" fmla="*/ 1934012 h 2991676"/>
                        <a:gd name="connsiteX6" fmla="*/ 3480380 w 3522995"/>
                        <a:gd name="connsiteY6" fmla="*/ 2022476 h 2991676"/>
                        <a:gd name="connsiteX7" fmla="*/ 1851950 w 3522995"/>
                        <a:gd name="connsiteY7" fmla="*/ 2991676 h 2991676"/>
                        <a:gd name="connsiteX8" fmla="*/ 0 w 3522995"/>
                        <a:gd name="connsiteY8" fmla="*/ 1139726 h 2991676"/>
                        <a:gd name="connsiteX9" fmla="*/ 316284 w 3522995"/>
                        <a:gd name="connsiteY9" fmla="*/ 104283 h 299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2995" h="2991676">
                          <a:moveTo>
                            <a:pt x="394265" y="0"/>
                          </a:moveTo>
                          <a:lnTo>
                            <a:pt x="358896" y="73424"/>
                          </a:lnTo>
                          <a:cubicBezTo>
                            <a:pt x="265182" y="294988"/>
                            <a:pt x="213360" y="538585"/>
                            <a:pt x="213360" y="794286"/>
                          </a:cubicBezTo>
                          <a:cubicBezTo>
                            <a:pt x="213360" y="1817090"/>
                            <a:pt x="1042506" y="2646236"/>
                            <a:pt x="2065310" y="2646236"/>
                          </a:cubicBezTo>
                          <a:cubicBezTo>
                            <a:pt x="2640637" y="2646236"/>
                            <a:pt x="3154690" y="2383889"/>
                            <a:pt x="3494365" y="1972299"/>
                          </a:cubicBezTo>
                          <a:lnTo>
                            <a:pt x="3522995" y="1934012"/>
                          </a:lnTo>
                          <a:lnTo>
                            <a:pt x="3480380" y="2022476"/>
                          </a:lnTo>
                          <a:cubicBezTo>
                            <a:pt x="3166772" y="2599775"/>
                            <a:pt x="2555128" y="2991676"/>
                            <a:pt x="1851950" y="2991676"/>
                          </a:cubicBezTo>
                          <a:cubicBezTo>
                            <a:pt x="829146" y="2991676"/>
                            <a:pt x="0" y="2162530"/>
                            <a:pt x="0" y="1139726"/>
                          </a:cubicBezTo>
                          <a:cubicBezTo>
                            <a:pt x="0" y="756175"/>
                            <a:pt x="116599" y="399856"/>
                            <a:pt x="316284" y="104283"/>
                          </a:cubicBezTo>
                          <a:close/>
                        </a:path>
                      </a:pathLst>
                    </a:custGeom>
                    <a:solidFill>
                      <a:srgbClr val="75757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8259B7C3-3D38-4547-8C51-E3B777133B59}"/>
                        </a:ext>
                      </a:extLst>
                    </p:cNvPr>
                    <p:cNvSpPr/>
                    <p:nvPr/>
                  </p:nvSpPr>
                  <p:spPr bwMode="auto">
                    <a:xfrm>
                      <a:off x="8763359" y="3295768"/>
                      <a:ext cx="13806" cy="75034"/>
                    </a:xfrm>
                    <a:custGeom>
                      <a:avLst/>
                      <a:gdLst>
                        <a:gd name="connsiteX0" fmla="*/ 291810 w 291810"/>
                        <a:gd name="connsiteY0" fmla="*/ 0 h 1585940"/>
                        <a:gd name="connsiteX1" fmla="*/ 291810 w 291810"/>
                        <a:gd name="connsiteY1" fmla="*/ 1585940 h 1585940"/>
                        <a:gd name="connsiteX2" fmla="*/ 0 w 291810"/>
                        <a:gd name="connsiteY2" fmla="*/ 1585940 h 1585940"/>
                        <a:gd name="connsiteX3" fmla="*/ 0 w 291810"/>
                        <a:gd name="connsiteY3" fmla="*/ 3046 h 1585940"/>
                        <a:gd name="connsiteX4" fmla="*/ 115746 w 291810"/>
                        <a:gd name="connsiteY4" fmla="*/ 8890 h 158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810" h="1585940">
                          <a:moveTo>
                            <a:pt x="291810" y="0"/>
                          </a:moveTo>
                          <a:lnTo>
                            <a:pt x="291810" y="1585940"/>
                          </a:lnTo>
                          <a:lnTo>
                            <a:pt x="0" y="1585940"/>
                          </a:lnTo>
                          <a:lnTo>
                            <a:pt x="0" y="3046"/>
                          </a:lnTo>
                          <a:lnTo>
                            <a:pt x="115746" y="8890"/>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E3C37A8D-CA45-4660-87F4-A3FE30CDFE5E}"/>
                        </a:ext>
                      </a:extLst>
                    </p:cNvPr>
                    <p:cNvGrpSpPr>
                      <a:grpSpLocks noChangeAspect="1"/>
                    </p:cNvGrpSpPr>
                    <p:nvPr/>
                  </p:nvGrpSpPr>
                  <p:grpSpPr>
                    <a:xfrm>
                      <a:off x="8701385" y="3185713"/>
                      <a:ext cx="144101" cy="40691"/>
                      <a:chOff x="2502224" y="4456566"/>
                      <a:chExt cx="2580154" cy="728607"/>
                    </a:xfrm>
                  </p:grpSpPr>
                  <p:sp>
                    <p:nvSpPr>
                      <p:cNvPr id="195" name="TextBox 194">
                        <a:extLst>
                          <a:ext uri="{FF2B5EF4-FFF2-40B4-BE49-F238E27FC236}">
                            <a16:creationId xmlns:a16="http://schemas.microsoft.com/office/drawing/2014/main" id="{56434CCB-17E6-408F-B891-FC330D500BEC}"/>
                          </a:ext>
                        </a:extLst>
                      </p:cNvPr>
                      <p:cNvSpPr txBox="1"/>
                      <p:nvPr/>
                    </p:nvSpPr>
                    <p:spPr>
                      <a:xfrm>
                        <a:off x="4638294" y="4456566"/>
                        <a:ext cx="106519" cy="264663"/>
                      </a:xfrm>
                      <a:custGeom>
                        <a:avLst/>
                        <a:gdLst/>
                        <a:ahLst/>
                        <a:cxnLst/>
                        <a:rect l="l" t="t" r="r" b="b"/>
                        <a:pathLst>
                          <a:path w="106519" h="264663">
                            <a:moveTo>
                              <a:pt x="86041" y="0"/>
                            </a:moveTo>
                            <a:cubicBezTo>
                              <a:pt x="94646" y="0"/>
                              <a:pt x="101471" y="1033"/>
                              <a:pt x="106519" y="3098"/>
                            </a:cubicBezTo>
                            <a:lnTo>
                              <a:pt x="106519" y="28566"/>
                            </a:lnTo>
                            <a:cubicBezTo>
                              <a:pt x="101013" y="25469"/>
                              <a:pt x="94760" y="23920"/>
                              <a:pt x="87762" y="23920"/>
                            </a:cubicBezTo>
                            <a:cubicBezTo>
                              <a:pt x="68030" y="23920"/>
                              <a:pt x="58164" y="36367"/>
                              <a:pt x="58164" y="61262"/>
                            </a:cubicBezTo>
                            <a:lnTo>
                              <a:pt x="58164" y="88451"/>
                            </a:lnTo>
                            <a:lnTo>
                              <a:pt x="99464" y="88451"/>
                            </a:lnTo>
                            <a:lnTo>
                              <a:pt x="99464" y="112542"/>
                            </a:lnTo>
                            <a:lnTo>
                              <a:pt x="58164" y="112542"/>
                            </a:lnTo>
                            <a:lnTo>
                              <a:pt x="58164" y="264663"/>
                            </a:lnTo>
                            <a:lnTo>
                              <a:pt x="30115" y="264663"/>
                            </a:lnTo>
                            <a:lnTo>
                              <a:pt x="30115" y="112542"/>
                            </a:lnTo>
                            <a:lnTo>
                              <a:pt x="0" y="112542"/>
                            </a:lnTo>
                            <a:lnTo>
                              <a:pt x="0" y="88451"/>
                            </a:lnTo>
                            <a:lnTo>
                              <a:pt x="30115" y="88451"/>
                            </a:lnTo>
                            <a:lnTo>
                              <a:pt x="30115" y="59885"/>
                            </a:lnTo>
                            <a:cubicBezTo>
                              <a:pt x="30115" y="41415"/>
                              <a:pt x="35449" y="26817"/>
                              <a:pt x="46118" y="16090"/>
                            </a:cubicBezTo>
                            <a:cubicBezTo>
                              <a:pt x="56787" y="5364"/>
                              <a:pt x="70095" y="0"/>
                              <a:pt x="8604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6" name="TextBox 195">
                        <a:extLst>
                          <a:ext uri="{FF2B5EF4-FFF2-40B4-BE49-F238E27FC236}">
                            <a16:creationId xmlns:a16="http://schemas.microsoft.com/office/drawing/2014/main" id="{40B2FAA1-8571-4E5C-81AA-3545CBA6C4D7}"/>
                          </a:ext>
                        </a:extLst>
                      </p:cNvPr>
                      <p:cNvSpPr txBox="1"/>
                      <p:nvPr/>
                    </p:nvSpPr>
                    <p:spPr>
                      <a:xfrm>
                        <a:off x="2924189" y="4460352"/>
                        <a:ext cx="146271" cy="260877"/>
                      </a:xfrm>
                      <a:custGeom>
                        <a:avLst/>
                        <a:gdLst/>
                        <a:ahLst/>
                        <a:cxnLst/>
                        <a:rect l="l" t="t" r="r" b="b"/>
                        <a:pathLst>
                          <a:path w="146271" h="260877">
                            <a:moveTo>
                              <a:pt x="0" y="0"/>
                            </a:moveTo>
                            <a:lnTo>
                              <a:pt x="28222" y="0"/>
                            </a:lnTo>
                            <a:lnTo>
                              <a:pt x="28222" y="113919"/>
                            </a:lnTo>
                            <a:lnTo>
                              <a:pt x="28910" y="113919"/>
                            </a:lnTo>
                            <a:cubicBezTo>
                              <a:pt x="42447" y="91663"/>
                              <a:pt x="61721" y="80535"/>
                              <a:pt x="86730" y="80535"/>
                            </a:cubicBezTo>
                            <a:cubicBezTo>
                              <a:pt x="126424" y="80535"/>
                              <a:pt x="146271" y="104454"/>
                              <a:pt x="146271" y="152293"/>
                            </a:cubicBezTo>
                            <a:lnTo>
                              <a:pt x="146271" y="260877"/>
                            </a:lnTo>
                            <a:lnTo>
                              <a:pt x="118049" y="260877"/>
                            </a:lnTo>
                            <a:lnTo>
                              <a:pt x="118049" y="159349"/>
                            </a:lnTo>
                            <a:cubicBezTo>
                              <a:pt x="118049" y="122638"/>
                              <a:pt x="104397" y="104282"/>
                              <a:pt x="77093" y="104282"/>
                            </a:cubicBezTo>
                            <a:cubicBezTo>
                              <a:pt x="63327" y="104282"/>
                              <a:pt x="51740" y="109588"/>
                              <a:pt x="42333" y="120200"/>
                            </a:cubicBezTo>
                            <a:cubicBezTo>
                              <a:pt x="32926" y="130812"/>
                              <a:pt x="28222" y="144435"/>
                              <a:pt x="28222" y="161069"/>
                            </a:cubicBez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7" name="TextBox 196">
                        <a:extLst>
                          <a:ext uri="{FF2B5EF4-FFF2-40B4-BE49-F238E27FC236}">
                            <a16:creationId xmlns:a16="http://schemas.microsoft.com/office/drawing/2014/main" id="{1407688A-BCB6-4AD7-AF54-45DABA3EE429}"/>
                          </a:ext>
                        </a:extLst>
                      </p:cNvPr>
                      <p:cNvSpPr txBox="1"/>
                      <p:nvPr/>
                    </p:nvSpPr>
                    <p:spPr>
                      <a:xfrm>
                        <a:off x="3720502" y="4463622"/>
                        <a:ext cx="36826" cy="36653"/>
                      </a:xfrm>
                      <a:custGeom>
                        <a:avLst/>
                        <a:gdLst/>
                        <a:ahLst/>
                        <a:cxnLst/>
                        <a:rect l="l" t="t" r="r" b="b"/>
                        <a:pathLst>
                          <a:path w="36826" h="36653">
                            <a:moveTo>
                              <a:pt x="18241" y="0"/>
                            </a:moveTo>
                            <a:cubicBezTo>
                              <a:pt x="23404" y="0"/>
                              <a:pt x="27792" y="1749"/>
                              <a:pt x="31406" y="5248"/>
                            </a:cubicBezTo>
                            <a:cubicBezTo>
                              <a:pt x="35019" y="8747"/>
                              <a:pt x="36826" y="13135"/>
                              <a:pt x="36826" y="18413"/>
                            </a:cubicBezTo>
                            <a:cubicBezTo>
                              <a:pt x="36826" y="23460"/>
                              <a:pt x="35019" y="27762"/>
                              <a:pt x="31406" y="31319"/>
                            </a:cubicBezTo>
                            <a:cubicBezTo>
                              <a:pt x="27792" y="34875"/>
                              <a:pt x="23404" y="36653"/>
                              <a:pt x="18241" y="36653"/>
                            </a:cubicBezTo>
                            <a:cubicBezTo>
                              <a:pt x="13194" y="36653"/>
                              <a:pt x="8892" y="34932"/>
                              <a:pt x="5335" y="31491"/>
                            </a:cubicBezTo>
                            <a:cubicBezTo>
                              <a:pt x="1779" y="28049"/>
                              <a:pt x="0" y="23690"/>
                              <a:pt x="0" y="18413"/>
                            </a:cubicBezTo>
                            <a:cubicBezTo>
                              <a:pt x="0" y="13135"/>
                              <a:pt x="1779" y="8747"/>
                              <a:pt x="5335" y="5248"/>
                            </a:cubicBezTo>
                            <a:cubicBezTo>
                              <a:pt x="8892" y="1749"/>
                              <a:pt x="13194" y="0"/>
                              <a:pt x="1824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8" name="TextBox 197">
                        <a:extLst>
                          <a:ext uri="{FF2B5EF4-FFF2-40B4-BE49-F238E27FC236}">
                            <a16:creationId xmlns:a16="http://schemas.microsoft.com/office/drawing/2014/main" id="{2D2F746F-F901-4C30-A211-A54945E959C6}"/>
                          </a:ext>
                        </a:extLst>
                      </p:cNvPr>
                      <p:cNvSpPr txBox="1"/>
                      <p:nvPr/>
                    </p:nvSpPr>
                    <p:spPr>
                      <a:xfrm>
                        <a:off x="2721703" y="4474463"/>
                        <a:ext cx="171222" cy="246766"/>
                      </a:xfrm>
                      <a:custGeom>
                        <a:avLst/>
                        <a:gdLst/>
                        <a:ahLst/>
                        <a:cxnLst/>
                        <a:rect l="l" t="t" r="r" b="b"/>
                        <a:pathLst>
                          <a:path w="171222" h="246766">
                            <a:moveTo>
                              <a:pt x="0" y="0"/>
                            </a:moveTo>
                            <a:lnTo>
                              <a:pt x="171222" y="0"/>
                            </a:lnTo>
                            <a:lnTo>
                              <a:pt x="171222" y="26156"/>
                            </a:lnTo>
                            <a:lnTo>
                              <a:pt x="99980" y="26156"/>
                            </a:lnTo>
                            <a:lnTo>
                              <a:pt x="99980" y="246766"/>
                            </a:lnTo>
                            <a:lnTo>
                              <a:pt x="71070" y="246766"/>
                            </a:lnTo>
                            <a:lnTo>
                              <a:pt x="71070" y="26156"/>
                            </a:lnTo>
                            <a:lnTo>
                              <a:pt x="0" y="2615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9" name="TextBox 198">
                        <a:extLst>
                          <a:ext uri="{FF2B5EF4-FFF2-40B4-BE49-F238E27FC236}">
                            <a16:creationId xmlns:a16="http://schemas.microsoft.com/office/drawing/2014/main" id="{4DCA50E3-0F09-4320-BB71-2AD3F9A4C640}"/>
                          </a:ext>
                        </a:extLst>
                      </p:cNvPr>
                      <p:cNvSpPr txBox="1"/>
                      <p:nvPr/>
                    </p:nvSpPr>
                    <p:spPr>
                      <a:xfrm>
                        <a:off x="3413750" y="4474463"/>
                        <a:ext cx="251585" cy="246766"/>
                      </a:xfrm>
                      <a:custGeom>
                        <a:avLst/>
                        <a:gdLst/>
                        <a:ahLst/>
                        <a:cxnLst/>
                        <a:rect l="l" t="t" r="r" b="b"/>
                        <a:pathLst>
                          <a:path w="251585" h="246766">
                            <a:moveTo>
                              <a:pt x="0" y="0"/>
                            </a:moveTo>
                            <a:lnTo>
                              <a:pt x="38203" y="0"/>
                            </a:lnTo>
                            <a:lnTo>
                              <a:pt x="113919" y="172082"/>
                            </a:lnTo>
                            <a:cubicBezTo>
                              <a:pt x="119770" y="185275"/>
                              <a:pt x="123556" y="195141"/>
                              <a:pt x="125276" y="201681"/>
                            </a:cubicBezTo>
                            <a:lnTo>
                              <a:pt x="126309" y="201681"/>
                            </a:lnTo>
                            <a:cubicBezTo>
                              <a:pt x="131242" y="188143"/>
                              <a:pt x="135200" y="178048"/>
                              <a:pt x="138183" y="171394"/>
                            </a:cubicBezTo>
                            <a:lnTo>
                              <a:pt x="215448" y="0"/>
                            </a:lnTo>
                            <a:lnTo>
                              <a:pt x="251585" y="0"/>
                            </a:lnTo>
                            <a:lnTo>
                              <a:pt x="251585" y="246766"/>
                            </a:lnTo>
                            <a:lnTo>
                              <a:pt x="222847" y="246766"/>
                            </a:lnTo>
                            <a:lnTo>
                              <a:pt x="222847" y="81223"/>
                            </a:lnTo>
                            <a:cubicBezTo>
                              <a:pt x="222847" y="68145"/>
                              <a:pt x="223650" y="52141"/>
                              <a:pt x="225256" y="33212"/>
                            </a:cubicBezTo>
                            <a:lnTo>
                              <a:pt x="224568" y="33212"/>
                            </a:lnTo>
                            <a:cubicBezTo>
                              <a:pt x="221815" y="44340"/>
                              <a:pt x="219348" y="52313"/>
                              <a:pt x="217168" y="57131"/>
                            </a:cubicBezTo>
                            <a:lnTo>
                              <a:pt x="132848" y="246766"/>
                            </a:lnTo>
                            <a:lnTo>
                              <a:pt x="118737" y="246766"/>
                            </a:lnTo>
                            <a:lnTo>
                              <a:pt x="34589" y="58508"/>
                            </a:lnTo>
                            <a:cubicBezTo>
                              <a:pt x="32180" y="53001"/>
                              <a:pt x="29713" y="44569"/>
                              <a:pt x="27189" y="33212"/>
                            </a:cubicBezTo>
                            <a:lnTo>
                              <a:pt x="26501" y="33212"/>
                            </a:lnTo>
                            <a:cubicBezTo>
                              <a:pt x="27419" y="43078"/>
                              <a:pt x="27878" y="59196"/>
                              <a:pt x="27878" y="81567"/>
                            </a:cubicBezTo>
                            <a:lnTo>
                              <a:pt x="27878" y="246766"/>
                            </a:lnTo>
                            <a:lnTo>
                              <a:pt x="0" y="24676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0" name="TextBox 199">
                        <a:extLst>
                          <a:ext uri="{FF2B5EF4-FFF2-40B4-BE49-F238E27FC236}">
                            <a16:creationId xmlns:a16="http://schemas.microsoft.com/office/drawing/2014/main" id="{C2931B43-93C2-4579-9CAB-59A936E5AD91}"/>
                          </a:ext>
                        </a:extLst>
                      </p:cNvPr>
                      <p:cNvSpPr txBox="1"/>
                      <p:nvPr/>
                    </p:nvSpPr>
                    <p:spPr>
                      <a:xfrm>
                        <a:off x="4760398" y="4492876"/>
                        <a:ext cx="102905" cy="232139"/>
                      </a:xfrm>
                      <a:custGeom>
                        <a:avLst/>
                        <a:gdLst/>
                        <a:ahLst/>
                        <a:cxnLst/>
                        <a:rect l="l" t="t" r="r" b="b"/>
                        <a:pathLst>
                          <a:path w="102905" h="232139">
                            <a:moveTo>
                              <a:pt x="58508" y="0"/>
                            </a:moveTo>
                            <a:lnTo>
                              <a:pt x="58508" y="52141"/>
                            </a:lnTo>
                            <a:lnTo>
                              <a:pt x="102905" y="52141"/>
                            </a:lnTo>
                            <a:lnTo>
                              <a:pt x="102905" y="76232"/>
                            </a:lnTo>
                            <a:lnTo>
                              <a:pt x="58508" y="76232"/>
                            </a:lnTo>
                            <a:lnTo>
                              <a:pt x="58508" y="175524"/>
                            </a:lnTo>
                            <a:cubicBezTo>
                              <a:pt x="58508" y="187340"/>
                              <a:pt x="60516" y="195772"/>
                              <a:pt x="64531" y="200820"/>
                            </a:cubicBezTo>
                            <a:cubicBezTo>
                              <a:pt x="68546" y="205868"/>
                              <a:pt x="75200" y="208392"/>
                              <a:pt x="84493" y="208392"/>
                            </a:cubicBezTo>
                            <a:cubicBezTo>
                              <a:pt x="91606" y="208392"/>
                              <a:pt x="97743" y="206441"/>
                              <a:pt x="102905" y="202541"/>
                            </a:cubicBezTo>
                            <a:lnTo>
                              <a:pt x="102905" y="226632"/>
                            </a:lnTo>
                            <a:cubicBezTo>
                              <a:pt x="96252" y="230304"/>
                              <a:pt x="87476"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1" name="TextBox 200">
                        <a:extLst>
                          <a:ext uri="{FF2B5EF4-FFF2-40B4-BE49-F238E27FC236}">
                            <a16:creationId xmlns:a16="http://schemas.microsoft.com/office/drawing/2014/main" id="{1BC86E0F-7ADE-4107-8351-C8B548C143DC}"/>
                          </a:ext>
                        </a:extLst>
                      </p:cNvPr>
                      <p:cNvSpPr txBox="1"/>
                      <p:nvPr/>
                    </p:nvSpPr>
                    <p:spPr>
                      <a:xfrm>
                        <a:off x="3112169" y="4540887"/>
                        <a:ext cx="153669" cy="184472"/>
                      </a:xfrm>
                      <a:custGeom>
                        <a:avLst/>
                        <a:gdLst/>
                        <a:ahLst/>
                        <a:cxnLst/>
                        <a:rect l="l" t="t" r="r" b="b"/>
                        <a:pathLst>
                          <a:path w="153669" h="184472">
                            <a:moveTo>
                              <a:pt x="81223" y="0"/>
                            </a:moveTo>
                            <a:cubicBezTo>
                              <a:pt x="104282" y="0"/>
                              <a:pt x="122121" y="7457"/>
                              <a:pt x="134740" y="22370"/>
                            </a:cubicBezTo>
                            <a:cubicBezTo>
                              <a:pt x="147360" y="37284"/>
                              <a:pt x="153669" y="57992"/>
                              <a:pt x="153669" y="84492"/>
                            </a:cubicBezTo>
                            <a:lnTo>
                              <a:pt x="153669" y="99291"/>
                            </a:lnTo>
                            <a:lnTo>
                              <a:pt x="29254" y="99291"/>
                            </a:lnTo>
                            <a:cubicBezTo>
                              <a:pt x="29712" y="118909"/>
                              <a:pt x="34990" y="134052"/>
                              <a:pt x="45085" y="144721"/>
                            </a:cubicBezTo>
                            <a:cubicBezTo>
                              <a:pt x="55181" y="155390"/>
                              <a:pt x="69062" y="160725"/>
                              <a:pt x="86729" y="160725"/>
                            </a:cubicBezTo>
                            <a:cubicBezTo>
                              <a:pt x="106576" y="160725"/>
                              <a:pt x="124817" y="154186"/>
                              <a:pt x="141451" y="141107"/>
                            </a:cubicBezTo>
                            <a:lnTo>
                              <a:pt x="141451" y="167608"/>
                            </a:lnTo>
                            <a:cubicBezTo>
                              <a:pt x="125964" y="178851"/>
                              <a:pt x="105486" y="184472"/>
                              <a:pt x="80018" y="184472"/>
                            </a:cubicBezTo>
                            <a:cubicBezTo>
                              <a:pt x="55123" y="184472"/>
                              <a:pt x="35563" y="176470"/>
                              <a:pt x="21338" y="160467"/>
                            </a:cubicBezTo>
                            <a:cubicBezTo>
                              <a:pt x="7112" y="144463"/>
                              <a:pt x="0" y="121949"/>
                              <a:pt x="0" y="92924"/>
                            </a:cubicBezTo>
                            <a:cubicBezTo>
                              <a:pt x="0" y="65506"/>
                              <a:pt x="7772" y="43164"/>
                              <a:pt x="23317" y="25898"/>
                            </a:cubicBezTo>
                            <a:cubicBezTo>
                              <a:pt x="38862" y="8633"/>
                              <a:pt x="58164" y="0"/>
                              <a:pt x="81223" y="0"/>
                            </a:cubicBezTo>
                            <a:close/>
                            <a:moveTo>
                              <a:pt x="80706" y="23747"/>
                            </a:moveTo>
                            <a:cubicBezTo>
                              <a:pt x="67399" y="23747"/>
                              <a:pt x="56099" y="28508"/>
                              <a:pt x="46806" y="38030"/>
                            </a:cubicBezTo>
                            <a:cubicBezTo>
                              <a:pt x="37514" y="47552"/>
                              <a:pt x="31777" y="59999"/>
                              <a:pt x="29598" y="75372"/>
                            </a:cubicBezTo>
                            <a:lnTo>
                              <a:pt x="124759" y="75372"/>
                            </a:lnTo>
                            <a:cubicBezTo>
                              <a:pt x="124645" y="59081"/>
                              <a:pt x="120716" y="46405"/>
                              <a:pt x="112972" y="37342"/>
                            </a:cubicBezTo>
                            <a:cubicBezTo>
                              <a:pt x="105228" y="28279"/>
                              <a:pt x="94473" y="23747"/>
                              <a:pt x="80706"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2" name="TextBox 201">
                        <a:extLst>
                          <a:ext uri="{FF2B5EF4-FFF2-40B4-BE49-F238E27FC236}">
                            <a16:creationId xmlns:a16="http://schemas.microsoft.com/office/drawing/2014/main" id="{C5601D34-707B-4BCA-B2A0-04D2FEC69089}"/>
                          </a:ext>
                        </a:extLst>
                      </p:cNvPr>
                      <p:cNvSpPr txBox="1"/>
                      <p:nvPr/>
                    </p:nvSpPr>
                    <p:spPr>
                      <a:xfrm>
                        <a:off x="3797969" y="4540887"/>
                        <a:ext cx="132503" cy="184472"/>
                      </a:xfrm>
                      <a:custGeom>
                        <a:avLst/>
                        <a:gdLst/>
                        <a:ahLst/>
                        <a:cxnLst/>
                        <a:rect l="l" t="t" r="r" b="b"/>
                        <a:pathLst>
                          <a:path w="132503" h="184472">
                            <a:moveTo>
                              <a:pt x="91548" y="0"/>
                            </a:moveTo>
                            <a:cubicBezTo>
                              <a:pt x="107035" y="0"/>
                              <a:pt x="120687" y="2868"/>
                              <a:pt x="132503" y="8604"/>
                            </a:cubicBezTo>
                            <a:lnTo>
                              <a:pt x="132503" y="37514"/>
                            </a:lnTo>
                            <a:cubicBezTo>
                              <a:pt x="119425" y="28336"/>
                              <a:pt x="105429" y="23747"/>
                              <a:pt x="90515" y="23747"/>
                            </a:cubicBezTo>
                            <a:cubicBezTo>
                              <a:pt x="72504" y="23747"/>
                              <a:pt x="57733" y="30200"/>
                              <a:pt x="46204" y="43106"/>
                            </a:cubicBezTo>
                            <a:cubicBezTo>
                              <a:pt x="34674" y="56013"/>
                              <a:pt x="28910" y="72963"/>
                              <a:pt x="28910" y="93957"/>
                            </a:cubicBezTo>
                            <a:cubicBezTo>
                              <a:pt x="28910" y="114607"/>
                              <a:pt x="34330" y="130897"/>
                              <a:pt x="45171" y="142828"/>
                            </a:cubicBezTo>
                            <a:cubicBezTo>
                              <a:pt x="56013" y="154759"/>
                              <a:pt x="70553" y="160725"/>
                              <a:pt x="88794" y="160725"/>
                            </a:cubicBezTo>
                            <a:cubicBezTo>
                              <a:pt x="104167" y="160725"/>
                              <a:pt x="118622" y="155620"/>
                              <a:pt x="132159" y="145409"/>
                            </a:cubicBezTo>
                            <a:lnTo>
                              <a:pt x="132159" y="172254"/>
                            </a:lnTo>
                            <a:cubicBezTo>
                              <a:pt x="118622" y="180400"/>
                              <a:pt x="102561" y="184472"/>
                              <a:pt x="83976" y="184472"/>
                            </a:cubicBezTo>
                            <a:cubicBezTo>
                              <a:pt x="58852" y="184472"/>
                              <a:pt x="38575" y="176298"/>
                              <a:pt x="23145" y="159950"/>
                            </a:cubicBezTo>
                            <a:cubicBezTo>
                              <a:pt x="7715" y="143603"/>
                              <a:pt x="0" y="122408"/>
                              <a:pt x="0" y="96366"/>
                            </a:cubicBezTo>
                            <a:cubicBezTo>
                              <a:pt x="0" y="67341"/>
                              <a:pt x="8317" y="44024"/>
                              <a:pt x="24952" y="26414"/>
                            </a:cubicBezTo>
                            <a:cubicBezTo>
                              <a:pt x="41586" y="8805"/>
                              <a:pt x="63785" y="0"/>
                              <a:pt x="9154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3" name="TextBox 202">
                        <a:extLst>
                          <a:ext uri="{FF2B5EF4-FFF2-40B4-BE49-F238E27FC236}">
                            <a16:creationId xmlns:a16="http://schemas.microsoft.com/office/drawing/2014/main" id="{3686021B-E326-42D0-94E6-8641019AC46E}"/>
                          </a:ext>
                        </a:extLst>
                      </p:cNvPr>
                      <p:cNvSpPr txBox="1"/>
                      <p:nvPr/>
                    </p:nvSpPr>
                    <p:spPr>
                      <a:xfrm>
                        <a:off x="4083719" y="4540887"/>
                        <a:ext cx="173459" cy="184472"/>
                      </a:xfrm>
                      <a:custGeom>
                        <a:avLst/>
                        <a:gdLst/>
                        <a:ahLst/>
                        <a:cxnLst/>
                        <a:rect l="l" t="t" r="r" b="b"/>
                        <a:pathLst>
                          <a:path w="173459" h="184472">
                            <a:moveTo>
                              <a:pt x="89827" y="0"/>
                            </a:moveTo>
                            <a:cubicBezTo>
                              <a:pt x="116098" y="0"/>
                              <a:pt x="136605"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4" y="0"/>
                              <a:pt x="89827" y="0"/>
                            </a:cubicBezTo>
                            <a:close/>
                            <a:moveTo>
                              <a:pt x="87762" y="23747"/>
                            </a:moveTo>
                            <a:cubicBezTo>
                              <a:pt x="69636" y="23747"/>
                              <a:pt x="55296"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4" name="TextBox 203">
                        <a:extLst>
                          <a:ext uri="{FF2B5EF4-FFF2-40B4-BE49-F238E27FC236}">
                            <a16:creationId xmlns:a16="http://schemas.microsoft.com/office/drawing/2014/main" id="{E4CCC6E8-EB16-45E3-8522-93B99656D177}"/>
                          </a:ext>
                        </a:extLst>
                      </p:cNvPr>
                      <p:cNvSpPr txBox="1"/>
                      <p:nvPr/>
                    </p:nvSpPr>
                    <p:spPr>
                      <a:xfrm>
                        <a:off x="4294644" y="4540887"/>
                        <a:ext cx="116844" cy="184472"/>
                      </a:xfrm>
                      <a:custGeom>
                        <a:avLst/>
                        <a:gdLst/>
                        <a:ahLst/>
                        <a:cxnLst/>
                        <a:rect l="l" t="t" r="r" b="b"/>
                        <a:pathLst>
                          <a:path w="116844" h="184472">
                            <a:moveTo>
                              <a:pt x="67801" y="0"/>
                            </a:moveTo>
                            <a:cubicBezTo>
                              <a:pt x="83059" y="0"/>
                              <a:pt x="96711" y="2638"/>
                              <a:pt x="108757" y="7916"/>
                            </a:cubicBezTo>
                            <a:lnTo>
                              <a:pt x="108757" y="36481"/>
                            </a:lnTo>
                            <a:cubicBezTo>
                              <a:pt x="95793" y="27992"/>
                              <a:pt x="80879" y="23747"/>
                              <a:pt x="64015" y="23747"/>
                            </a:cubicBezTo>
                            <a:cubicBezTo>
                              <a:pt x="58738" y="23747"/>
                              <a:pt x="53977" y="24349"/>
                              <a:pt x="49732" y="25554"/>
                            </a:cubicBezTo>
                            <a:cubicBezTo>
                              <a:pt x="45488" y="26759"/>
                              <a:pt x="41845" y="28451"/>
                              <a:pt x="38805" y="30630"/>
                            </a:cubicBezTo>
                            <a:cubicBezTo>
                              <a:pt x="35765" y="32810"/>
                              <a:pt x="33413" y="35420"/>
                              <a:pt x="31750" y="38460"/>
                            </a:cubicBezTo>
                            <a:cubicBezTo>
                              <a:pt x="30086" y="41500"/>
                              <a:pt x="29254" y="44856"/>
                              <a:pt x="29254" y="48527"/>
                            </a:cubicBezTo>
                            <a:cubicBezTo>
                              <a:pt x="29254" y="53116"/>
                              <a:pt x="30086" y="56959"/>
                              <a:pt x="31750" y="60057"/>
                            </a:cubicBezTo>
                            <a:cubicBezTo>
                              <a:pt x="33413" y="63154"/>
                              <a:pt x="35851" y="65907"/>
                              <a:pt x="39063" y="68317"/>
                            </a:cubicBezTo>
                            <a:cubicBezTo>
                              <a:pt x="42275" y="70726"/>
                              <a:pt x="46176" y="72905"/>
                              <a:pt x="50765" y="74856"/>
                            </a:cubicBezTo>
                            <a:cubicBezTo>
                              <a:pt x="55353" y="76806"/>
                              <a:pt x="60574" y="78928"/>
                              <a:pt x="66424" y="81223"/>
                            </a:cubicBezTo>
                            <a:cubicBezTo>
                              <a:pt x="74225" y="84205"/>
                              <a:pt x="81223" y="87274"/>
                              <a:pt x="87418" y="90429"/>
                            </a:cubicBezTo>
                            <a:cubicBezTo>
                              <a:pt x="93613" y="93584"/>
                              <a:pt x="98890" y="97140"/>
                              <a:pt x="103250" y="101098"/>
                            </a:cubicBezTo>
                            <a:cubicBezTo>
                              <a:pt x="107609" y="105056"/>
                              <a:pt x="110965" y="109616"/>
                              <a:pt x="113317" y="114779"/>
                            </a:cubicBezTo>
                            <a:cubicBezTo>
                              <a:pt x="115668" y="119941"/>
                              <a:pt x="116844" y="126079"/>
                              <a:pt x="116844" y="133192"/>
                            </a:cubicBezTo>
                            <a:cubicBezTo>
                              <a:pt x="116844" y="141910"/>
                              <a:pt x="114923" y="149482"/>
                              <a:pt x="111080" y="155907"/>
                            </a:cubicBezTo>
                            <a:cubicBezTo>
                              <a:pt x="107236" y="162331"/>
                              <a:pt x="102103" y="167665"/>
                              <a:pt x="95678" y="171910"/>
                            </a:cubicBezTo>
                            <a:cubicBezTo>
                              <a:pt x="89254" y="176155"/>
                              <a:pt x="81854" y="179310"/>
                              <a:pt x="73480" y="181375"/>
                            </a:cubicBezTo>
                            <a:cubicBezTo>
                              <a:pt x="65105" y="183440"/>
                              <a:pt x="56329" y="184472"/>
                              <a:pt x="47151" y="184472"/>
                            </a:cubicBezTo>
                            <a:cubicBezTo>
                              <a:pt x="29025" y="184472"/>
                              <a:pt x="13308" y="180973"/>
                              <a:pt x="0" y="173975"/>
                            </a:cubicBezTo>
                            <a:lnTo>
                              <a:pt x="0" y="143689"/>
                            </a:lnTo>
                            <a:cubicBezTo>
                              <a:pt x="15373" y="155046"/>
                              <a:pt x="32294" y="160725"/>
                              <a:pt x="50765" y="160725"/>
                            </a:cubicBezTo>
                            <a:cubicBezTo>
                              <a:pt x="75545" y="160725"/>
                              <a:pt x="87935" y="152465"/>
                              <a:pt x="87935" y="135945"/>
                            </a:cubicBezTo>
                            <a:cubicBezTo>
                              <a:pt x="87935" y="131241"/>
                              <a:pt x="86873" y="127255"/>
                              <a:pt x="84751" y="123985"/>
                            </a:cubicBezTo>
                            <a:cubicBezTo>
                              <a:pt x="82629" y="120716"/>
                              <a:pt x="79761" y="117819"/>
                              <a:pt x="76147" y="115295"/>
                            </a:cubicBezTo>
                            <a:cubicBezTo>
                              <a:pt x="72533" y="112771"/>
                              <a:pt x="68288" y="110505"/>
                              <a:pt x="63413" y="108498"/>
                            </a:cubicBezTo>
                            <a:cubicBezTo>
                              <a:pt x="58537" y="106490"/>
                              <a:pt x="53288" y="104396"/>
                              <a:pt x="47667" y="102217"/>
                            </a:cubicBezTo>
                            <a:cubicBezTo>
                              <a:pt x="39866" y="99119"/>
                              <a:pt x="33012" y="95993"/>
                              <a:pt x="27103" y="92838"/>
                            </a:cubicBezTo>
                            <a:cubicBezTo>
                              <a:pt x="21195" y="89683"/>
                              <a:pt x="16262" y="86127"/>
                              <a:pt x="12304" y="82169"/>
                            </a:cubicBezTo>
                            <a:cubicBezTo>
                              <a:pt x="8346" y="78211"/>
                              <a:pt x="5364" y="73708"/>
                              <a:pt x="3356" y="68661"/>
                            </a:cubicBezTo>
                            <a:cubicBezTo>
                              <a:pt x="1348" y="63613"/>
                              <a:pt x="345" y="57705"/>
                              <a:pt x="345" y="50936"/>
                            </a:cubicBezTo>
                            <a:cubicBezTo>
                              <a:pt x="345" y="42676"/>
                              <a:pt x="2238" y="35363"/>
                              <a:pt x="6023" y="28996"/>
                            </a:cubicBezTo>
                            <a:cubicBezTo>
                              <a:pt x="9809" y="22629"/>
                              <a:pt x="14857" y="17294"/>
                              <a:pt x="21167" y="12992"/>
                            </a:cubicBezTo>
                            <a:cubicBezTo>
                              <a:pt x="27476" y="8690"/>
                              <a:pt x="34675" y="5449"/>
                              <a:pt x="42763" y="3269"/>
                            </a:cubicBezTo>
                            <a:cubicBezTo>
                              <a:pt x="50851" y="1090"/>
                              <a:pt x="59197" y="0"/>
                              <a:pt x="6780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5" name="TextBox 204">
                        <a:extLst>
                          <a:ext uri="{FF2B5EF4-FFF2-40B4-BE49-F238E27FC236}">
                            <a16:creationId xmlns:a16="http://schemas.microsoft.com/office/drawing/2014/main" id="{03813516-CFC3-42BC-A27E-B326A281B52C}"/>
                          </a:ext>
                        </a:extLst>
                      </p:cNvPr>
                      <p:cNvSpPr txBox="1"/>
                      <p:nvPr/>
                    </p:nvSpPr>
                    <p:spPr>
                      <a:xfrm>
                        <a:off x="4445669" y="4540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1" y="176241"/>
                              <a:pt x="23317" y="159778"/>
                            </a:cubicBezTo>
                            <a:cubicBezTo>
                              <a:pt x="7772" y="143316"/>
                              <a:pt x="0" y="121490"/>
                              <a:pt x="0" y="94301"/>
                            </a:cubicBezTo>
                            <a:cubicBezTo>
                              <a:pt x="0" y="64703"/>
                              <a:pt x="8088" y="41586"/>
                              <a:pt x="24263" y="24952"/>
                            </a:cubicBezTo>
                            <a:cubicBezTo>
                              <a:pt x="40439" y="8317"/>
                              <a:pt x="62293"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6" name="TextBox 205">
                        <a:extLst>
                          <a:ext uri="{FF2B5EF4-FFF2-40B4-BE49-F238E27FC236}">
                            <a16:creationId xmlns:a16="http://schemas.microsoft.com/office/drawing/2014/main" id="{7B222FE3-7C2C-4488-A878-0453847007AE}"/>
                          </a:ext>
                        </a:extLst>
                      </p:cNvPr>
                      <p:cNvSpPr txBox="1"/>
                      <p:nvPr/>
                    </p:nvSpPr>
                    <p:spPr>
                      <a:xfrm>
                        <a:off x="3971939" y="4541919"/>
                        <a:ext cx="91893" cy="179310"/>
                      </a:xfrm>
                      <a:custGeom>
                        <a:avLst/>
                        <a:gdLst/>
                        <a:ahLst/>
                        <a:cxnLst/>
                        <a:rect l="l" t="t" r="r" b="b"/>
                        <a:pathLst>
                          <a:path w="91893" h="179310">
                            <a:moveTo>
                              <a:pt x="75028" y="0"/>
                            </a:moveTo>
                            <a:cubicBezTo>
                              <a:pt x="82371" y="0"/>
                              <a:pt x="87992" y="803"/>
                              <a:pt x="91893" y="2409"/>
                            </a:cubicBezTo>
                            <a:lnTo>
                              <a:pt x="91893" y="31663"/>
                            </a:lnTo>
                            <a:cubicBezTo>
                              <a:pt x="86960" y="27878"/>
                              <a:pt x="79847" y="25985"/>
                              <a:pt x="70554" y="25985"/>
                            </a:cubicBezTo>
                            <a:cubicBezTo>
                              <a:pt x="58508" y="25985"/>
                              <a:pt x="48442" y="31663"/>
                              <a:pt x="40354" y="43021"/>
                            </a:cubicBezTo>
                            <a:cubicBezTo>
                              <a:pt x="32266" y="54378"/>
                              <a:pt x="28222" y="69866"/>
                              <a:pt x="28222" y="89483"/>
                            </a:cubicBezTo>
                            <a:lnTo>
                              <a:pt x="28222" y="179310"/>
                            </a:lnTo>
                            <a:lnTo>
                              <a:pt x="0" y="179310"/>
                            </a:lnTo>
                            <a:lnTo>
                              <a:pt x="0" y="3098"/>
                            </a:lnTo>
                            <a:lnTo>
                              <a:pt x="28222" y="3098"/>
                            </a:lnTo>
                            <a:lnTo>
                              <a:pt x="28222" y="39407"/>
                            </a:lnTo>
                            <a:lnTo>
                              <a:pt x="28910" y="39407"/>
                            </a:lnTo>
                            <a:cubicBezTo>
                              <a:pt x="32926" y="27017"/>
                              <a:pt x="39063" y="17352"/>
                              <a:pt x="47323" y="10411"/>
                            </a:cubicBezTo>
                            <a:cubicBezTo>
                              <a:pt x="55583" y="3471"/>
                              <a:pt x="64818" y="0"/>
                              <a:pt x="7502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7" name="TextBox 206">
                        <a:extLst>
                          <a:ext uri="{FF2B5EF4-FFF2-40B4-BE49-F238E27FC236}">
                            <a16:creationId xmlns:a16="http://schemas.microsoft.com/office/drawing/2014/main" id="{618E6D7D-CF2F-43E4-AA74-9E192AD977B9}"/>
                          </a:ext>
                        </a:extLst>
                      </p:cNvPr>
                      <p:cNvSpPr txBox="1"/>
                      <p:nvPr/>
                    </p:nvSpPr>
                    <p:spPr>
                      <a:xfrm>
                        <a:off x="3724288" y="4545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8" name="TextBox 207">
                        <a:extLst>
                          <a:ext uri="{FF2B5EF4-FFF2-40B4-BE49-F238E27FC236}">
                            <a16:creationId xmlns:a16="http://schemas.microsoft.com/office/drawing/2014/main" id="{69094B63-3732-4CB8-9549-70C50637EA18}"/>
                          </a:ext>
                        </a:extLst>
                      </p:cNvPr>
                      <p:cNvSpPr txBox="1"/>
                      <p:nvPr/>
                    </p:nvSpPr>
                    <p:spPr>
                      <a:xfrm>
                        <a:off x="4657738" y="4841352"/>
                        <a:ext cx="28222" cy="260877"/>
                      </a:xfrm>
                      <a:custGeom>
                        <a:avLst/>
                        <a:gdLst/>
                        <a:ahLst/>
                        <a:cxnLst/>
                        <a:rect l="l" t="t" r="r" b="b"/>
                        <a:pathLst>
                          <a:path w="28222" h="260877">
                            <a:moveTo>
                              <a:pt x="0" y="0"/>
                            </a:moveTo>
                            <a:lnTo>
                              <a:pt x="28222" y="0"/>
                            </a:ln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9" name="TextBox 208">
                        <a:extLst>
                          <a:ext uri="{FF2B5EF4-FFF2-40B4-BE49-F238E27FC236}">
                            <a16:creationId xmlns:a16="http://schemas.microsoft.com/office/drawing/2014/main" id="{4429370F-2876-442F-9F0B-0F80FCC48835}"/>
                          </a:ext>
                        </a:extLst>
                      </p:cNvPr>
                      <p:cNvSpPr txBox="1"/>
                      <p:nvPr/>
                    </p:nvSpPr>
                    <p:spPr>
                      <a:xfrm>
                        <a:off x="4743463" y="4841352"/>
                        <a:ext cx="146270" cy="260877"/>
                      </a:xfrm>
                      <a:custGeom>
                        <a:avLst/>
                        <a:gdLst/>
                        <a:ahLst/>
                        <a:cxnLst/>
                        <a:rect l="l" t="t" r="r" b="b"/>
                        <a:pathLst>
                          <a:path w="146270" h="260877">
                            <a:moveTo>
                              <a:pt x="0" y="0"/>
                            </a:moveTo>
                            <a:lnTo>
                              <a:pt x="28222" y="0"/>
                            </a:lnTo>
                            <a:lnTo>
                              <a:pt x="28222" y="165371"/>
                            </a:lnTo>
                            <a:lnTo>
                              <a:pt x="28910" y="165371"/>
                            </a:lnTo>
                            <a:lnTo>
                              <a:pt x="102906" y="84665"/>
                            </a:lnTo>
                            <a:lnTo>
                              <a:pt x="139903" y="84665"/>
                            </a:lnTo>
                            <a:lnTo>
                              <a:pt x="58164" y="169673"/>
                            </a:lnTo>
                            <a:lnTo>
                              <a:pt x="146270" y="260877"/>
                            </a:lnTo>
                            <a:lnTo>
                              <a:pt x="106691" y="260877"/>
                            </a:lnTo>
                            <a:lnTo>
                              <a:pt x="28910" y="176213"/>
                            </a:lnTo>
                            <a:lnTo>
                              <a:pt x="28222" y="176213"/>
                            </a:ln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0" name="TextBox 209">
                        <a:extLst>
                          <a:ext uri="{FF2B5EF4-FFF2-40B4-BE49-F238E27FC236}">
                            <a16:creationId xmlns:a16="http://schemas.microsoft.com/office/drawing/2014/main" id="{27DCEBCD-52FD-4C0C-BE7E-B2BA6F6A5F03}"/>
                          </a:ext>
                        </a:extLst>
                      </p:cNvPr>
                      <p:cNvSpPr txBox="1"/>
                      <p:nvPr/>
                    </p:nvSpPr>
                    <p:spPr>
                      <a:xfrm>
                        <a:off x="3349029" y="4844622"/>
                        <a:ext cx="36825" cy="36653"/>
                      </a:xfrm>
                      <a:custGeom>
                        <a:avLst/>
                        <a:gdLst/>
                        <a:ahLst/>
                        <a:cxnLst/>
                        <a:rect l="l" t="t" r="r" b="b"/>
                        <a:pathLst>
                          <a:path w="36825" h="36653">
                            <a:moveTo>
                              <a:pt x="18240" y="0"/>
                            </a:moveTo>
                            <a:cubicBezTo>
                              <a:pt x="23403" y="0"/>
                              <a:pt x="27791" y="1749"/>
                              <a:pt x="31405" y="5248"/>
                            </a:cubicBezTo>
                            <a:cubicBezTo>
                              <a:pt x="35018" y="8747"/>
                              <a:pt x="36825" y="13135"/>
                              <a:pt x="36825" y="18413"/>
                            </a:cubicBezTo>
                            <a:cubicBezTo>
                              <a:pt x="36825" y="23460"/>
                              <a:pt x="35018" y="27762"/>
                              <a:pt x="31405" y="31319"/>
                            </a:cubicBezTo>
                            <a:cubicBezTo>
                              <a:pt x="27791" y="34875"/>
                              <a:pt x="23403" y="36653"/>
                              <a:pt x="18240" y="36653"/>
                            </a:cubicBezTo>
                            <a:cubicBezTo>
                              <a:pt x="13192" y="36653"/>
                              <a:pt x="8890" y="34932"/>
                              <a:pt x="5334" y="31491"/>
                            </a:cubicBezTo>
                            <a:cubicBezTo>
                              <a:pt x="1778" y="28049"/>
                              <a:pt x="0" y="23690"/>
                              <a:pt x="0" y="18413"/>
                            </a:cubicBezTo>
                            <a:cubicBezTo>
                              <a:pt x="0" y="13135"/>
                              <a:pt x="1778" y="8747"/>
                              <a:pt x="5334" y="5248"/>
                            </a:cubicBezTo>
                            <a:cubicBezTo>
                              <a:pt x="8890" y="1749"/>
                              <a:pt x="13192"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1" name="TextBox 210">
                        <a:extLst>
                          <a:ext uri="{FF2B5EF4-FFF2-40B4-BE49-F238E27FC236}">
                            <a16:creationId xmlns:a16="http://schemas.microsoft.com/office/drawing/2014/main" id="{87AF1657-905E-4229-90F1-19BF32A8498C}"/>
                          </a:ext>
                        </a:extLst>
                      </p:cNvPr>
                      <p:cNvSpPr txBox="1"/>
                      <p:nvPr/>
                    </p:nvSpPr>
                    <p:spPr>
                      <a:xfrm>
                        <a:off x="3558579" y="4844622"/>
                        <a:ext cx="36825" cy="36653"/>
                      </a:xfrm>
                      <a:custGeom>
                        <a:avLst/>
                        <a:gdLst/>
                        <a:ahLst/>
                        <a:cxnLst/>
                        <a:rect l="l" t="t" r="r" b="b"/>
                        <a:pathLst>
                          <a:path w="36825" h="36653">
                            <a:moveTo>
                              <a:pt x="18240" y="0"/>
                            </a:moveTo>
                            <a:cubicBezTo>
                              <a:pt x="23403" y="0"/>
                              <a:pt x="27791" y="1749"/>
                              <a:pt x="31405" y="5248"/>
                            </a:cubicBezTo>
                            <a:cubicBezTo>
                              <a:pt x="35018" y="8747"/>
                              <a:pt x="36825" y="13135"/>
                              <a:pt x="36825" y="18413"/>
                            </a:cubicBezTo>
                            <a:cubicBezTo>
                              <a:pt x="36825" y="23460"/>
                              <a:pt x="35018" y="27762"/>
                              <a:pt x="31405" y="31319"/>
                            </a:cubicBezTo>
                            <a:cubicBezTo>
                              <a:pt x="27791" y="34875"/>
                              <a:pt x="23403" y="36653"/>
                              <a:pt x="18240" y="36653"/>
                            </a:cubicBezTo>
                            <a:cubicBezTo>
                              <a:pt x="13193" y="36653"/>
                              <a:pt x="8891" y="34932"/>
                              <a:pt x="5334" y="31491"/>
                            </a:cubicBezTo>
                            <a:cubicBezTo>
                              <a:pt x="1778" y="28049"/>
                              <a:pt x="0" y="23690"/>
                              <a:pt x="0" y="18413"/>
                            </a:cubicBezTo>
                            <a:cubicBezTo>
                              <a:pt x="0" y="13135"/>
                              <a:pt x="1778" y="8747"/>
                              <a:pt x="5334" y="5248"/>
                            </a:cubicBezTo>
                            <a:cubicBezTo>
                              <a:pt x="8891" y="1749"/>
                              <a:pt x="13193"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2" name="TextBox 211">
                        <a:extLst>
                          <a:ext uri="{FF2B5EF4-FFF2-40B4-BE49-F238E27FC236}">
                            <a16:creationId xmlns:a16="http://schemas.microsoft.com/office/drawing/2014/main" id="{347B545E-614D-4480-A443-A7C1D0CED796}"/>
                          </a:ext>
                        </a:extLst>
                      </p:cNvPr>
                      <p:cNvSpPr txBox="1"/>
                      <p:nvPr/>
                    </p:nvSpPr>
                    <p:spPr>
                      <a:xfrm>
                        <a:off x="4911129" y="4844622"/>
                        <a:ext cx="36825" cy="36653"/>
                      </a:xfrm>
                      <a:custGeom>
                        <a:avLst/>
                        <a:gdLst/>
                        <a:ahLst/>
                        <a:cxnLst/>
                        <a:rect l="l" t="t" r="r" b="b"/>
                        <a:pathLst>
                          <a:path w="36825" h="36653">
                            <a:moveTo>
                              <a:pt x="18240" y="0"/>
                            </a:moveTo>
                            <a:cubicBezTo>
                              <a:pt x="23403" y="0"/>
                              <a:pt x="27791" y="1749"/>
                              <a:pt x="31404" y="5248"/>
                            </a:cubicBezTo>
                            <a:cubicBezTo>
                              <a:pt x="35018" y="8747"/>
                              <a:pt x="36825" y="13135"/>
                              <a:pt x="36825" y="18413"/>
                            </a:cubicBezTo>
                            <a:cubicBezTo>
                              <a:pt x="36825" y="23460"/>
                              <a:pt x="35018" y="27762"/>
                              <a:pt x="31404" y="31319"/>
                            </a:cubicBezTo>
                            <a:cubicBezTo>
                              <a:pt x="27791" y="34875"/>
                              <a:pt x="23403" y="36653"/>
                              <a:pt x="18240" y="36653"/>
                            </a:cubicBezTo>
                            <a:cubicBezTo>
                              <a:pt x="13193" y="36653"/>
                              <a:pt x="8890" y="34932"/>
                              <a:pt x="5334" y="31491"/>
                            </a:cubicBezTo>
                            <a:cubicBezTo>
                              <a:pt x="1778" y="28049"/>
                              <a:pt x="0" y="23690"/>
                              <a:pt x="0" y="18413"/>
                            </a:cubicBezTo>
                            <a:cubicBezTo>
                              <a:pt x="0" y="13135"/>
                              <a:pt x="1778" y="8747"/>
                              <a:pt x="5334" y="5248"/>
                            </a:cubicBezTo>
                            <a:cubicBezTo>
                              <a:pt x="8890" y="1749"/>
                              <a:pt x="13193"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1125FAA0-A8AD-4A5F-9B8E-2822CE5E601D}"/>
                          </a:ext>
                        </a:extLst>
                      </p:cNvPr>
                      <p:cNvSpPr txBox="1"/>
                      <p:nvPr/>
                    </p:nvSpPr>
                    <p:spPr>
                      <a:xfrm>
                        <a:off x="2502224" y="4851333"/>
                        <a:ext cx="184129" cy="255026"/>
                      </a:xfrm>
                      <a:custGeom>
                        <a:avLst/>
                        <a:gdLst/>
                        <a:ahLst/>
                        <a:cxnLst/>
                        <a:rect l="l" t="t" r="r" b="b"/>
                        <a:pathLst>
                          <a:path w="184129" h="255026">
                            <a:moveTo>
                              <a:pt x="125965" y="0"/>
                            </a:moveTo>
                            <a:cubicBezTo>
                              <a:pt x="149368" y="0"/>
                              <a:pt x="168756" y="3384"/>
                              <a:pt x="184129" y="10153"/>
                            </a:cubicBezTo>
                            <a:lnTo>
                              <a:pt x="184129" y="40956"/>
                            </a:lnTo>
                            <a:cubicBezTo>
                              <a:pt x="166462" y="31089"/>
                              <a:pt x="146959" y="26156"/>
                              <a:pt x="125621" y="26156"/>
                            </a:cubicBezTo>
                            <a:cubicBezTo>
                              <a:pt x="97284" y="26156"/>
                              <a:pt x="74311" y="35621"/>
                              <a:pt x="56702" y="54550"/>
                            </a:cubicBezTo>
                            <a:cubicBezTo>
                              <a:pt x="39092" y="73479"/>
                              <a:pt x="30287" y="98775"/>
                              <a:pt x="30287" y="130438"/>
                            </a:cubicBezTo>
                            <a:cubicBezTo>
                              <a:pt x="30287" y="160496"/>
                              <a:pt x="38518" y="184444"/>
                              <a:pt x="54981" y="202283"/>
                            </a:cubicBezTo>
                            <a:cubicBezTo>
                              <a:pt x="71443" y="220122"/>
                              <a:pt x="93040" y="229042"/>
                              <a:pt x="119770" y="229042"/>
                            </a:cubicBezTo>
                            <a:cubicBezTo>
                              <a:pt x="144550" y="229042"/>
                              <a:pt x="166003" y="223535"/>
                              <a:pt x="184129" y="212522"/>
                            </a:cubicBezTo>
                            <a:lnTo>
                              <a:pt x="184129" y="240571"/>
                            </a:lnTo>
                            <a:cubicBezTo>
                              <a:pt x="165888" y="250208"/>
                              <a:pt x="143173" y="255026"/>
                              <a:pt x="115984" y="255026"/>
                            </a:cubicBezTo>
                            <a:cubicBezTo>
                              <a:pt x="80879" y="255026"/>
                              <a:pt x="52772" y="243726"/>
                              <a:pt x="31664" y="221126"/>
                            </a:cubicBezTo>
                            <a:cubicBezTo>
                              <a:pt x="10555" y="198526"/>
                              <a:pt x="0" y="168870"/>
                              <a:pt x="0" y="132159"/>
                            </a:cubicBezTo>
                            <a:cubicBezTo>
                              <a:pt x="0" y="92695"/>
                              <a:pt x="11874" y="60802"/>
                              <a:pt x="35622" y="36481"/>
                            </a:cubicBezTo>
                            <a:cubicBezTo>
                              <a:pt x="59369" y="12160"/>
                              <a:pt x="89483" y="0"/>
                              <a:pt x="125965"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4" name="TextBox 213">
                        <a:extLst>
                          <a:ext uri="{FF2B5EF4-FFF2-40B4-BE49-F238E27FC236}">
                            <a16:creationId xmlns:a16="http://schemas.microsoft.com/office/drawing/2014/main" id="{B46FCA27-0DBB-4E58-9956-650AEB0CB8C0}"/>
                          </a:ext>
                        </a:extLst>
                      </p:cNvPr>
                      <p:cNvSpPr txBox="1"/>
                      <p:nvPr/>
                    </p:nvSpPr>
                    <p:spPr>
                      <a:xfrm>
                        <a:off x="4074253" y="4855463"/>
                        <a:ext cx="171222" cy="246766"/>
                      </a:xfrm>
                      <a:custGeom>
                        <a:avLst/>
                        <a:gdLst/>
                        <a:ahLst/>
                        <a:cxnLst/>
                        <a:rect l="l" t="t" r="r" b="b"/>
                        <a:pathLst>
                          <a:path w="171222" h="246766">
                            <a:moveTo>
                              <a:pt x="0" y="0"/>
                            </a:moveTo>
                            <a:lnTo>
                              <a:pt x="171222" y="0"/>
                            </a:lnTo>
                            <a:lnTo>
                              <a:pt x="171222" y="26156"/>
                            </a:lnTo>
                            <a:lnTo>
                              <a:pt x="99980" y="26156"/>
                            </a:lnTo>
                            <a:lnTo>
                              <a:pt x="99980" y="246766"/>
                            </a:lnTo>
                            <a:lnTo>
                              <a:pt x="71070" y="246766"/>
                            </a:lnTo>
                            <a:lnTo>
                              <a:pt x="71070" y="26156"/>
                            </a:lnTo>
                            <a:lnTo>
                              <a:pt x="0" y="2615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5" name="TextBox 214">
                        <a:extLst>
                          <a:ext uri="{FF2B5EF4-FFF2-40B4-BE49-F238E27FC236}">
                            <a16:creationId xmlns:a16="http://schemas.microsoft.com/office/drawing/2014/main" id="{951B6267-0EC4-4908-BF6F-1B1CE26FFB4E}"/>
                          </a:ext>
                        </a:extLst>
                      </p:cNvPr>
                      <p:cNvSpPr txBox="1"/>
                      <p:nvPr/>
                    </p:nvSpPr>
                    <p:spPr>
                      <a:xfrm>
                        <a:off x="3417372" y="4873876"/>
                        <a:ext cx="102906" cy="232139"/>
                      </a:xfrm>
                      <a:custGeom>
                        <a:avLst/>
                        <a:gdLst/>
                        <a:ahLst/>
                        <a:cxnLst/>
                        <a:rect l="l" t="t" r="r" b="b"/>
                        <a:pathLst>
                          <a:path w="102906" h="232139">
                            <a:moveTo>
                              <a:pt x="58508" y="0"/>
                            </a:moveTo>
                            <a:lnTo>
                              <a:pt x="58508" y="52141"/>
                            </a:lnTo>
                            <a:lnTo>
                              <a:pt x="102906" y="52141"/>
                            </a:lnTo>
                            <a:lnTo>
                              <a:pt x="102906" y="76232"/>
                            </a:lnTo>
                            <a:lnTo>
                              <a:pt x="58508" y="76232"/>
                            </a:lnTo>
                            <a:lnTo>
                              <a:pt x="58508" y="175524"/>
                            </a:lnTo>
                            <a:cubicBezTo>
                              <a:pt x="58508" y="187340"/>
                              <a:pt x="60516" y="195772"/>
                              <a:pt x="64531" y="200820"/>
                            </a:cubicBezTo>
                            <a:cubicBezTo>
                              <a:pt x="68546" y="205868"/>
                              <a:pt x="75200" y="208392"/>
                              <a:pt x="84493" y="208392"/>
                            </a:cubicBezTo>
                            <a:cubicBezTo>
                              <a:pt x="91606" y="208392"/>
                              <a:pt x="97743" y="206441"/>
                              <a:pt x="102906" y="202541"/>
                            </a:cubicBezTo>
                            <a:lnTo>
                              <a:pt x="102906" y="226632"/>
                            </a:lnTo>
                            <a:cubicBezTo>
                              <a:pt x="96252" y="230303"/>
                              <a:pt x="87476"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6" name="TextBox 215">
                        <a:extLst>
                          <a:ext uri="{FF2B5EF4-FFF2-40B4-BE49-F238E27FC236}">
                            <a16:creationId xmlns:a16="http://schemas.microsoft.com/office/drawing/2014/main" id="{5FEDF1A2-328D-4ACA-9458-243E20213E1F}"/>
                          </a:ext>
                        </a:extLst>
                      </p:cNvPr>
                      <p:cNvSpPr txBox="1"/>
                      <p:nvPr/>
                    </p:nvSpPr>
                    <p:spPr>
                      <a:xfrm>
                        <a:off x="4979473" y="4873876"/>
                        <a:ext cx="102905" cy="232139"/>
                      </a:xfrm>
                      <a:custGeom>
                        <a:avLst/>
                        <a:gdLst/>
                        <a:ahLst/>
                        <a:cxnLst/>
                        <a:rect l="l" t="t" r="r" b="b"/>
                        <a:pathLst>
                          <a:path w="102905" h="232139">
                            <a:moveTo>
                              <a:pt x="58508" y="0"/>
                            </a:moveTo>
                            <a:lnTo>
                              <a:pt x="58508" y="52141"/>
                            </a:lnTo>
                            <a:lnTo>
                              <a:pt x="102905" y="52141"/>
                            </a:lnTo>
                            <a:lnTo>
                              <a:pt x="102905" y="76232"/>
                            </a:lnTo>
                            <a:lnTo>
                              <a:pt x="58508" y="76232"/>
                            </a:lnTo>
                            <a:lnTo>
                              <a:pt x="58508" y="175524"/>
                            </a:lnTo>
                            <a:cubicBezTo>
                              <a:pt x="58508" y="187340"/>
                              <a:pt x="60516" y="195772"/>
                              <a:pt x="64531" y="200820"/>
                            </a:cubicBezTo>
                            <a:cubicBezTo>
                              <a:pt x="68546" y="205868"/>
                              <a:pt x="75200" y="208392"/>
                              <a:pt x="84493" y="208392"/>
                            </a:cubicBezTo>
                            <a:cubicBezTo>
                              <a:pt x="91605" y="208392"/>
                              <a:pt x="97743" y="206441"/>
                              <a:pt x="102905" y="202541"/>
                            </a:cubicBezTo>
                            <a:lnTo>
                              <a:pt x="102905" y="226632"/>
                            </a:lnTo>
                            <a:cubicBezTo>
                              <a:pt x="96251" y="230303"/>
                              <a:pt x="87475"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7" name="TextBox 216">
                        <a:extLst>
                          <a:ext uri="{FF2B5EF4-FFF2-40B4-BE49-F238E27FC236}">
                            <a16:creationId xmlns:a16="http://schemas.microsoft.com/office/drawing/2014/main" id="{423A59FF-DBEE-493E-89EE-95EC4BEB5073}"/>
                          </a:ext>
                        </a:extLst>
                      </p:cNvPr>
                      <p:cNvSpPr txBox="1"/>
                      <p:nvPr/>
                    </p:nvSpPr>
                    <p:spPr>
                      <a:xfrm>
                        <a:off x="272164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7" y="41586"/>
                              <a:pt x="24263" y="24952"/>
                            </a:cubicBezTo>
                            <a:cubicBezTo>
                              <a:pt x="40439" y="8317"/>
                              <a:pt x="62293" y="0"/>
                              <a:pt x="89827" y="0"/>
                            </a:cubicBezTo>
                            <a:close/>
                            <a:moveTo>
                              <a:pt x="87762" y="23747"/>
                            </a:moveTo>
                            <a:cubicBezTo>
                              <a:pt x="69636" y="23747"/>
                              <a:pt x="55295" y="29913"/>
                              <a:pt x="44741" y="42246"/>
                            </a:cubicBezTo>
                            <a:cubicBezTo>
                              <a:pt x="34187" y="54579"/>
                              <a:pt x="28909" y="71586"/>
                              <a:pt x="28909" y="93268"/>
                            </a:cubicBezTo>
                            <a:cubicBezTo>
                              <a:pt x="28909"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8" name="TextBox 217">
                        <a:extLst>
                          <a:ext uri="{FF2B5EF4-FFF2-40B4-BE49-F238E27FC236}">
                            <a16:creationId xmlns:a16="http://schemas.microsoft.com/office/drawing/2014/main" id="{18C71EF3-6686-4A7B-B197-24FA47F99C94}"/>
                          </a:ext>
                        </a:extLst>
                      </p:cNvPr>
                      <p:cNvSpPr txBox="1"/>
                      <p:nvPr/>
                    </p:nvSpPr>
                    <p:spPr>
                      <a:xfrm>
                        <a:off x="2931193" y="4921887"/>
                        <a:ext cx="162446" cy="263286"/>
                      </a:xfrm>
                      <a:custGeom>
                        <a:avLst/>
                        <a:gdLst/>
                        <a:ahLst/>
                        <a:cxnLst/>
                        <a:rect l="l" t="t" r="r" b="b"/>
                        <a:pathLst>
                          <a:path w="162446" h="263286">
                            <a:moveTo>
                              <a:pt x="80706" y="0"/>
                            </a:moveTo>
                            <a:cubicBezTo>
                              <a:pt x="104454" y="0"/>
                              <a:pt x="122063" y="9522"/>
                              <a:pt x="133536" y="28565"/>
                            </a:cubicBezTo>
                            <a:lnTo>
                              <a:pt x="134224" y="28565"/>
                            </a:lnTo>
                            <a:lnTo>
                              <a:pt x="134224" y="4130"/>
                            </a:lnTo>
                            <a:lnTo>
                              <a:pt x="162446" y="4130"/>
                            </a:lnTo>
                            <a:lnTo>
                              <a:pt x="162446" y="166231"/>
                            </a:lnTo>
                            <a:cubicBezTo>
                              <a:pt x="162446" y="230934"/>
                              <a:pt x="131471" y="263286"/>
                              <a:pt x="69521" y="263286"/>
                            </a:cubicBezTo>
                            <a:cubicBezTo>
                              <a:pt x="47724" y="263286"/>
                              <a:pt x="28680" y="259156"/>
                              <a:pt x="12390" y="250896"/>
                            </a:cubicBezTo>
                            <a:lnTo>
                              <a:pt x="12390" y="222675"/>
                            </a:lnTo>
                            <a:cubicBezTo>
                              <a:pt x="32236" y="233688"/>
                              <a:pt x="51165" y="239194"/>
                              <a:pt x="69177" y="239194"/>
                            </a:cubicBezTo>
                            <a:cubicBezTo>
                              <a:pt x="112542" y="239194"/>
                              <a:pt x="134224" y="216135"/>
                              <a:pt x="134224" y="170017"/>
                            </a:cubicBezTo>
                            <a:lnTo>
                              <a:pt x="134224" y="150744"/>
                            </a:lnTo>
                            <a:lnTo>
                              <a:pt x="133536" y="150744"/>
                            </a:lnTo>
                            <a:cubicBezTo>
                              <a:pt x="120113" y="173229"/>
                              <a:pt x="99922" y="184472"/>
                              <a:pt x="72963" y="184472"/>
                            </a:cubicBezTo>
                            <a:cubicBezTo>
                              <a:pt x="51051" y="184472"/>
                              <a:pt x="33412" y="176642"/>
                              <a:pt x="20047" y="160983"/>
                            </a:cubicBezTo>
                            <a:cubicBezTo>
                              <a:pt x="6682" y="145323"/>
                              <a:pt x="0" y="124301"/>
                              <a:pt x="0" y="97915"/>
                            </a:cubicBezTo>
                            <a:cubicBezTo>
                              <a:pt x="0" y="67972"/>
                              <a:pt x="7198" y="44168"/>
                              <a:pt x="21596" y="26500"/>
                            </a:cubicBezTo>
                            <a:cubicBezTo>
                              <a:pt x="35994" y="8833"/>
                              <a:pt x="55697" y="0"/>
                              <a:pt x="80706" y="0"/>
                            </a:cubicBezTo>
                            <a:close/>
                            <a:moveTo>
                              <a:pt x="84664" y="23747"/>
                            </a:moveTo>
                            <a:cubicBezTo>
                              <a:pt x="67227" y="23747"/>
                              <a:pt x="53575" y="30085"/>
                              <a:pt x="43709" y="42762"/>
                            </a:cubicBezTo>
                            <a:cubicBezTo>
                              <a:pt x="33843" y="55439"/>
                              <a:pt x="28909" y="73192"/>
                              <a:pt x="28909" y="96022"/>
                            </a:cubicBezTo>
                            <a:cubicBezTo>
                              <a:pt x="28909" y="115639"/>
                              <a:pt x="33642" y="131327"/>
                              <a:pt x="43106" y="143086"/>
                            </a:cubicBezTo>
                            <a:cubicBezTo>
                              <a:pt x="52571" y="154845"/>
                              <a:pt x="65104" y="160725"/>
                              <a:pt x="80706" y="160725"/>
                            </a:cubicBezTo>
                            <a:cubicBezTo>
                              <a:pt x="96538" y="160725"/>
                              <a:pt x="109415" y="155103"/>
                              <a:pt x="119339" y="143861"/>
                            </a:cubicBezTo>
                            <a:cubicBezTo>
                              <a:pt x="129262" y="132618"/>
                              <a:pt x="134224" y="118220"/>
                              <a:pt x="134224" y="100668"/>
                            </a:cubicBezTo>
                            <a:lnTo>
                              <a:pt x="134224" y="74684"/>
                            </a:lnTo>
                            <a:cubicBezTo>
                              <a:pt x="134224" y="60688"/>
                              <a:pt x="129492" y="48699"/>
                              <a:pt x="120027" y="38718"/>
                            </a:cubicBezTo>
                            <a:cubicBezTo>
                              <a:pt x="110563" y="28738"/>
                              <a:pt x="98775" y="23747"/>
                              <a:pt x="84664"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9" name="TextBox 218">
                        <a:extLst>
                          <a:ext uri="{FF2B5EF4-FFF2-40B4-BE49-F238E27FC236}">
                            <a16:creationId xmlns:a16="http://schemas.microsoft.com/office/drawing/2014/main" id="{2C4F2AD8-DFD5-4B41-B51B-84E6F68CC893}"/>
                          </a:ext>
                        </a:extLst>
                      </p:cNvPr>
                      <p:cNvSpPr txBox="1"/>
                      <p:nvPr/>
                    </p:nvSpPr>
                    <p:spPr>
                      <a:xfrm>
                        <a:off x="3152788" y="4921887"/>
                        <a:ext cx="146270" cy="180342"/>
                      </a:xfrm>
                      <a:custGeom>
                        <a:avLst/>
                        <a:gdLst/>
                        <a:ahLst/>
                        <a:cxnLst/>
                        <a:rect l="l" t="t" r="r" b="b"/>
                        <a:pathLst>
                          <a:path w="146270" h="180342">
                            <a:moveTo>
                              <a:pt x="86730" y="0"/>
                            </a:moveTo>
                            <a:cubicBezTo>
                              <a:pt x="106003" y="0"/>
                              <a:pt x="120745" y="6223"/>
                              <a:pt x="130955" y="18671"/>
                            </a:cubicBezTo>
                            <a:cubicBezTo>
                              <a:pt x="141165" y="31118"/>
                              <a:pt x="146270" y="49101"/>
                              <a:pt x="146270" y="72619"/>
                            </a:cubicBezTo>
                            <a:lnTo>
                              <a:pt x="146270" y="180342"/>
                            </a:lnTo>
                            <a:lnTo>
                              <a:pt x="118049" y="180342"/>
                            </a:lnTo>
                            <a:lnTo>
                              <a:pt x="118049" y="79846"/>
                            </a:lnTo>
                            <a:cubicBezTo>
                              <a:pt x="118049" y="42447"/>
                              <a:pt x="104397" y="23747"/>
                              <a:pt x="77093" y="23747"/>
                            </a:cubicBezTo>
                            <a:cubicBezTo>
                              <a:pt x="62983" y="23747"/>
                              <a:pt x="51310" y="29053"/>
                              <a:pt x="42075" y="39665"/>
                            </a:cubicBezTo>
                            <a:cubicBezTo>
                              <a:pt x="32839" y="50277"/>
                              <a:pt x="28222" y="63670"/>
                              <a:pt x="28222" y="79846"/>
                            </a:cubicBezTo>
                            <a:lnTo>
                              <a:pt x="28222" y="180342"/>
                            </a:lnTo>
                            <a:lnTo>
                              <a:pt x="0" y="180342"/>
                            </a:lnTo>
                            <a:lnTo>
                              <a:pt x="0" y="4130"/>
                            </a:lnTo>
                            <a:lnTo>
                              <a:pt x="28222" y="4130"/>
                            </a:lnTo>
                            <a:lnTo>
                              <a:pt x="28222" y="33384"/>
                            </a:lnTo>
                            <a:lnTo>
                              <a:pt x="28910" y="33384"/>
                            </a:lnTo>
                            <a:cubicBezTo>
                              <a:pt x="42218" y="11128"/>
                              <a:pt x="61491" y="0"/>
                              <a:pt x="8673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0" name="TextBox 219">
                        <a:extLst>
                          <a:ext uri="{FF2B5EF4-FFF2-40B4-BE49-F238E27FC236}">
                            <a16:creationId xmlns:a16="http://schemas.microsoft.com/office/drawing/2014/main" id="{1F2534A2-E870-43EA-B20E-313A6ACB2DB7}"/>
                          </a:ext>
                        </a:extLst>
                      </p:cNvPr>
                      <p:cNvSpPr txBox="1"/>
                      <p:nvPr/>
                    </p:nvSpPr>
                    <p:spPr>
                      <a:xfrm>
                        <a:off x="3807494" y="4921887"/>
                        <a:ext cx="153669" cy="184472"/>
                      </a:xfrm>
                      <a:custGeom>
                        <a:avLst/>
                        <a:gdLst/>
                        <a:ahLst/>
                        <a:cxnLst/>
                        <a:rect l="l" t="t" r="r" b="b"/>
                        <a:pathLst>
                          <a:path w="153669" h="184472">
                            <a:moveTo>
                              <a:pt x="81223" y="0"/>
                            </a:moveTo>
                            <a:cubicBezTo>
                              <a:pt x="104282" y="0"/>
                              <a:pt x="122121" y="7457"/>
                              <a:pt x="134740" y="22370"/>
                            </a:cubicBezTo>
                            <a:cubicBezTo>
                              <a:pt x="147360" y="37284"/>
                              <a:pt x="153669" y="57992"/>
                              <a:pt x="153669" y="84492"/>
                            </a:cubicBezTo>
                            <a:lnTo>
                              <a:pt x="153669" y="99291"/>
                            </a:lnTo>
                            <a:lnTo>
                              <a:pt x="29254" y="99291"/>
                            </a:lnTo>
                            <a:cubicBezTo>
                              <a:pt x="29713" y="118909"/>
                              <a:pt x="34990" y="134052"/>
                              <a:pt x="45085" y="144721"/>
                            </a:cubicBezTo>
                            <a:cubicBezTo>
                              <a:pt x="55181" y="155390"/>
                              <a:pt x="69062" y="160725"/>
                              <a:pt x="86729" y="160725"/>
                            </a:cubicBezTo>
                            <a:cubicBezTo>
                              <a:pt x="106576" y="160725"/>
                              <a:pt x="124817" y="154186"/>
                              <a:pt x="141451" y="141107"/>
                            </a:cubicBezTo>
                            <a:lnTo>
                              <a:pt x="141451" y="167608"/>
                            </a:lnTo>
                            <a:cubicBezTo>
                              <a:pt x="125964" y="178851"/>
                              <a:pt x="105486" y="184472"/>
                              <a:pt x="80018" y="184472"/>
                            </a:cubicBezTo>
                            <a:cubicBezTo>
                              <a:pt x="55123" y="184472"/>
                              <a:pt x="35563" y="176470"/>
                              <a:pt x="21338" y="160467"/>
                            </a:cubicBezTo>
                            <a:cubicBezTo>
                              <a:pt x="7112" y="144463"/>
                              <a:pt x="0" y="121949"/>
                              <a:pt x="0" y="92924"/>
                            </a:cubicBezTo>
                            <a:cubicBezTo>
                              <a:pt x="0" y="65506"/>
                              <a:pt x="7772" y="43164"/>
                              <a:pt x="23317" y="25898"/>
                            </a:cubicBezTo>
                            <a:cubicBezTo>
                              <a:pt x="38862" y="8633"/>
                              <a:pt x="58164" y="0"/>
                              <a:pt x="81223" y="0"/>
                            </a:cubicBezTo>
                            <a:close/>
                            <a:moveTo>
                              <a:pt x="80706" y="23747"/>
                            </a:moveTo>
                            <a:cubicBezTo>
                              <a:pt x="67399" y="23747"/>
                              <a:pt x="56099" y="28508"/>
                              <a:pt x="46806" y="38030"/>
                            </a:cubicBezTo>
                            <a:cubicBezTo>
                              <a:pt x="37514" y="47552"/>
                              <a:pt x="31778" y="59999"/>
                              <a:pt x="29598" y="75372"/>
                            </a:cubicBezTo>
                            <a:lnTo>
                              <a:pt x="124759" y="75372"/>
                            </a:lnTo>
                            <a:cubicBezTo>
                              <a:pt x="124645" y="59081"/>
                              <a:pt x="120716" y="46405"/>
                              <a:pt x="112972" y="37342"/>
                            </a:cubicBezTo>
                            <a:cubicBezTo>
                              <a:pt x="105228" y="28279"/>
                              <a:pt x="94473" y="23747"/>
                              <a:pt x="80706"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1" name="TextBox 220">
                        <a:extLst>
                          <a:ext uri="{FF2B5EF4-FFF2-40B4-BE49-F238E27FC236}">
                            <a16:creationId xmlns:a16="http://schemas.microsoft.com/office/drawing/2014/main" id="{4FA963CC-88AF-46AA-BBA3-F406C02E8459}"/>
                          </a:ext>
                        </a:extLst>
                      </p:cNvPr>
                      <p:cNvSpPr txBox="1"/>
                      <p:nvPr/>
                    </p:nvSpPr>
                    <p:spPr>
                      <a:xfrm>
                        <a:off x="422659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7"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4"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2" name="TextBox 221">
                        <a:extLst>
                          <a:ext uri="{FF2B5EF4-FFF2-40B4-BE49-F238E27FC236}">
                            <a16:creationId xmlns:a16="http://schemas.microsoft.com/office/drawing/2014/main" id="{0D9DCDBD-9B0A-42F9-8C4D-50D52C0DDB46}"/>
                          </a:ext>
                        </a:extLst>
                      </p:cNvPr>
                      <p:cNvSpPr txBox="1"/>
                      <p:nvPr/>
                    </p:nvSpPr>
                    <p:spPr>
                      <a:xfrm>
                        <a:off x="443614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3"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3" name="TextBox 222">
                        <a:extLst>
                          <a:ext uri="{FF2B5EF4-FFF2-40B4-BE49-F238E27FC236}">
                            <a16:creationId xmlns:a16="http://schemas.microsoft.com/office/drawing/2014/main" id="{8EA6AC86-1607-41DB-B16C-6E58B072D993}"/>
                          </a:ext>
                        </a:extLst>
                      </p:cNvPr>
                      <p:cNvSpPr txBox="1"/>
                      <p:nvPr/>
                    </p:nvSpPr>
                    <p:spPr>
                      <a:xfrm>
                        <a:off x="3352813" y="4926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4" name="TextBox 223">
                        <a:extLst>
                          <a:ext uri="{FF2B5EF4-FFF2-40B4-BE49-F238E27FC236}">
                            <a16:creationId xmlns:a16="http://schemas.microsoft.com/office/drawing/2014/main" id="{7AE9FB1A-8D35-45E9-903C-B665A0394038}"/>
                          </a:ext>
                        </a:extLst>
                      </p:cNvPr>
                      <p:cNvSpPr txBox="1"/>
                      <p:nvPr/>
                    </p:nvSpPr>
                    <p:spPr>
                      <a:xfrm>
                        <a:off x="3562363" y="4926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5" name="TextBox 224">
                        <a:extLst>
                          <a:ext uri="{FF2B5EF4-FFF2-40B4-BE49-F238E27FC236}">
                            <a16:creationId xmlns:a16="http://schemas.microsoft.com/office/drawing/2014/main" id="{22797F1A-E6AF-44CF-A303-86286A9B1F90}"/>
                          </a:ext>
                        </a:extLst>
                      </p:cNvPr>
                      <p:cNvSpPr txBox="1"/>
                      <p:nvPr/>
                    </p:nvSpPr>
                    <p:spPr>
                      <a:xfrm>
                        <a:off x="3621933" y="4926017"/>
                        <a:ext cx="164683" cy="176212"/>
                      </a:xfrm>
                      <a:custGeom>
                        <a:avLst/>
                        <a:gdLst/>
                        <a:ahLst/>
                        <a:cxnLst/>
                        <a:rect l="l" t="t" r="r" b="b"/>
                        <a:pathLst>
                          <a:path w="164683" h="176212">
                            <a:moveTo>
                              <a:pt x="0" y="0"/>
                            </a:moveTo>
                            <a:lnTo>
                              <a:pt x="30975" y="0"/>
                            </a:lnTo>
                            <a:lnTo>
                              <a:pt x="75716" y="128029"/>
                            </a:lnTo>
                            <a:cubicBezTo>
                              <a:pt x="79043" y="137436"/>
                              <a:pt x="81108" y="145639"/>
                              <a:pt x="81911" y="152637"/>
                            </a:cubicBezTo>
                            <a:lnTo>
                              <a:pt x="82600" y="152637"/>
                            </a:lnTo>
                            <a:cubicBezTo>
                              <a:pt x="83747" y="143803"/>
                              <a:pt x="85582" y="135830"/>
                              <a:pt x="88106" y="128717"/>
                            </a:cubicBezTo>
                            <a:lnTo>
                              <a:pt x="134913" y="0"/>
                            </a:lnTo>
                            <a:lnTo>
                              <a:pt x="164683" y="0"/>
                            </a:lnTo>
                            <a:lnTo>
                              <a:pt x="94473" y="176212"/>
                            </a:lnTo>
                            <a:lnTo>
                              <a:pt x="66768"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6" name="TextBox 225">
                        <a:extLst>
                          <a:ext uri="{FF2B5EF4-FFF2-40B4-BE49-F238E27FC236}">
                            <a16:creationId xmlns:a16="http://schemas.microsoft.com/office/drawing/2014/main" id="{B8F769D7-5230-4AF7-B480-63DCDBF5DB3B}"/>
                          </a:ext>
                        </a:extLst>
                      </p:cNvPr>
                      <p:cNvSpPr txBox="1"/>
                      <p:nvPr/>
                    </p:nvSpPr>
                    <p:spPr>
                      <a:xfrm>
                        <a:off x="4914915" y="4926017"/>
                        <a:ext cx="28221" cy="176212"/>
                      </a:xfrm>
                      <a:custGeom>
                        <a:avLst/>
                        <a:gdLst/>
                        <a:ahLst/>
                        <a:cxnLst/>
                        <a:rect l="l" t="t" r="r" b="b"/>
                        <a:pathLst>
                          <a:path w="28221" h="176212">
                            <a:moveTo>
                              <a:pt x="0" y="0"/>
                            </a:moveTo>
                            <a:lnTo>
                              <a:pt x="28221" y="0"/>
                            </a:lnTo>
                            <a:lnTo>
                              <a:pt x="28221"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grpSp>
              </p:grpSp>
            </p:grpSp>
          </p:grpSp>
          <p:grpSp>
            <p:nvGrpSpPr>
              <p:cNvPr id="5" name="Group 4">
                <a:extLst>
                  <a:ext uri="{FF2B5EF4-FFF2-40B4-BE49-F238E27FC236}">
                    <a16:creationId xmlns:a16="http://schemas.microsoft.com/office/drawing/2014/main" id="{DA84DF36-6CDD-4B92-869F-4AA1D49A8493}"/>
                  </a:ext>
                </a:extLst>
              </p:cNvPr>
              <p:cNvGrpSpPr/>
              <p:nvPr/>
            </p:nvGrpSpPr>
            <p:grpSpPr>
              <a:xfrm>
                <a:off x="7459716" y="4411218"/>
                <a:ext cx="1276606" cy="329184"/>
                <a:chOff x="7415520" y="4333844"/>
                <a:chExt cx="1276606" cy="329184"/>
              </a:xfrm>
            </p:grpSpPr>
            <p:grpSp>
              <p:nvGrpSpPr>
                <p:cNvPr id="17" name="Group 16">
                  <a:extLst>
                    <a:ext uri="{FF2B5EF4-FFF2-40B4-BE49-F238E27FC236}">
                      <a16:creationId xmlns:a16="http://schemas.microsoft.com/office/drawing/2014/main" id="{D418B0CB-4576-4423-91E1-47107C04EE6B}"/>
                    </a:ext>
                  </a:extLst>
                </p:cNvPr>
                <p:cNvGrpSpPr/>
                <p:nvPr/>
              </p:nvGrpSpPr>
              <p:grpSpPr>
                <a:xfrm>
                  <a:off x="7415520" y="4333844"/>
                  <a:ext cx="329184" cy="329184"/>
                  <a:chOff x="7041718" y="4354440"/>
                  <a:chExt cx="586168" cy="586166"/>
                </a:xfrm>
              </p:grpSpPr>
              <p:sp>
                <p:nvSpPr>
                  <p:cNvPr id="297" name="Oval 296">
                    <a:extLst>
                      <a:ext uri="{FF2B5EF4-FFF2-40B4-BE49-F238E27FC236}">
                        <a16:creationId xmlns:a16="http://schemas.microsoft.com/office/drawing/2014/main" id="{753B7852-55B7-4323-8E55-0ADD37F6284F}"/>
                      </a:ext>
                    </a:extLst>
                  </p:cNvPr>
                  <p:cNvSpPr/>
                  <p:nvPr/>
                </p:nvSpPr>
                <p:spPr bwMode="auto">
                  <a:xfrm>
                    <a:off x="704171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80" name="Picture 179">
                    <a:extLst>
                      <a:ext uri="{FF2B5EF4-FFF2-40B4-BE49-F238E27FC236}">
                        <a16:creationId xmlns:a16="http://schemas.microsoft.com/office/drawing/2014/main" id="{841A24E7-65CC-45BB-89F5-3CA28CB0EE1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7165116" y="4455435"/>
                    <a:ext cx="339374" cy="384176"/>
                  </a:xfrm>
                  <a:prstGeom prst="rect">
                    <a:avLst/>
                  </a:prstGeom>
                </p:spPr>
              </p:pic>
            </p:grpSp>
            <p:grpSp>
              <p:nvGrpSpPr>
                <p:cNvPr id="16" name="Group 15">
                  <a:extLst>
                    <a:ext uri="{FF2B5EF4-FFF2-40B4-BE49-F238E27FC236}">
                      <a16:creationId xmlns:a16="http://schemas.microsoft.com/office/drawing/2014/main" id="{D536A54D-FDE4-417E-88AA-02669BB5B067}"/>
                    </a:ext>
                  </a:extLst>
                </p:cNvPr>
                <p:cNvGrpSpPr/>
                <p:nvPr/>
              </p:nvGrpSpPr>
              <p:grpSpPr>
                <a:xfrm>
                  <a:off x="7889231" y="4333844"/>
                  <a:ext cx="329184" cy="329184"/>
                  <a:chOff x="7811848" y="4354440"/>
                  <a:chExt cx="586168" cy="586166"/>
                </a:xfrm>
              </p:grpSpPr>
              <p:sp>
                <p:nvSpPr>
                  <p:cNvPr id="299" name="Oval 298">
                    <a:extLst>
                      <a:ext uri="{FF2B5EF4-FFF2-40B4-BE49-F238E27FC236}">
                        <a16:creationId xmlns:a16="http://schemas.microsoft.com/office/drawing/2014/main" id="{DB19F0D7-D9D5-4B46-BA32-4DA41D4E521E}"/>
                      </a:ext>
                    </a:extLst>
                  </p:cNvPr>
                  <p:cNvSpPr/>
                  <p:nvPr/>
                </p:nvSpPr>
                <p:spPr bwMode="auto">
                  <a:xfrm>
                    <a:off x="781184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79" name="Picture 178">
                    <a:extLst>
                      <a:ext uri="{FF2B5EF4-FFF2-40B4-BE49-F238E27FC236}">
                        <a16:creationId xmlns:a16="http://schemas.microsoft.com/office/drawing/2014/main" id="{30AC1A88-770E-404F-BDA5-B44ED50DCE1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89790" y="4462335"/>
                    <a:ext cx="230286" cy="370378"/>
                  </a:xfrm>
                  <a:prstGeom prst="rect">
                    <a:avLst/>
                  </a:prstGeom>
                </p:spPr>
              </p:pic>
            </p:grpSp>
            <p:grpSp>
              <p:nvGrpSpPr>
                <p:cNvPr id="15" name="Group 14">
                  <a:extLst>
                    <a:ext uri="{FF2B5EF4-FFF2-40B4-BE49-F238E27FC236}">
                      <a16:creationId xmlns:a16="http://schemas.microsoft.com/office/drawing/2014/main" id="{504E5692-3F27-4756-9ADC-2C56BEF664B1}"/>
                    </a:ext>
                  </a:extLst>
                </p:cNvPr>
                <p:cNvGrpSpPr/>
                <p:nvPr/>
              </p:nvGrpSpPr>
              <p:grpSpPr>
                <a:xfrm>
                  <a:off x="8362942" y="4333844"/>
                  <a:ext cx="329184" cy="329184"/>
                  <a:chOff x="8581979" y="4354440"/>
                  <a:chExt cx="586168" cy="586166"/>
                </a:xfrm>
              </p:grpSpPr>
              <p:sp>
                <p:nvSpPr>
                  <p:cNvPr id="298" name="Oval 297">
                    <a:extLst>
                      <a:ext uri="{FF2B5EF4-FFF2-40B4-BE49-F238E27FC236}">
                        <a16:creationId xmlns:a16="http://schemas.microsoft.com/office/drawing/2014/main" id="{5D7F69B9-FAEA-425B-AE50-FAB408E20C96}"/>
                      </a:ext>
                    </a:extLst>
                  </p:cNvPr>
                  <p:cNvSpPr/>
                  <p:nvPr/>
                </p:nvSpPr>
                <p:spPr bwMode="auto">
                  <a:xfrm>
                    <a:off x="8581979"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78" name="Picture 177">
                    <a:extLst>
                      <a:ext uri="{FF2B5EF4-FFF2-40B4-BE49-F238E27FC236}">
                        <a16:creationId xmlns:a16="http://schemas.microsoft.com/office/drawing/2014/main" id="{FD8D625C-9221-42BE-A68F-BE419AFE2110}"/>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8673044" y="4520199"/>
                    <a:ext cx="404038" cy="254648"/>
                  </a:xfrm>
                  <a:prstGeom prst="rect">
                    <a:avLst/>
                  </a:prstGeom>
                </p:spPr>
              </p:pic>
            </p:grpSp>
          </p:grpSp>
        </p:grpSp>
      </p:grpSp>
      <p:sp>
        <p:nvSpPr>
          <p:cNvPr id="244" name="IoT" title="Icon of five circles that all connect to a center circle">
            <a:extLst>
              <a:ext uri="{FF2B5EF4-FFF2-40B4-BE49-F238E27FC236}">
                <a16:creationId xmlns:a16="http://schemas.microsoft.com/office/drawing/2014/main" id="{06C4A35F-DA96-4653-8C68-D1EDC731013D}"/>
              </a:ext>
            </a:extLst>
          </p:cNvPr>
          <p:cNvSpPr>
            <a:spLocks noChangeAspect="1" noEditPoints="1"/>
          </p:cNvSpPr>
          <p:nvPr/>
        </p:nvSpPr>
        <p:spPr bwMode="auto">
          <a:xfrm>
            <a:off x="721359" y="1948127"/>
            <a:ext cx="327043" cy="327567"/>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0" name="Freeform 116">
            <a:extLst>
              <a:ext uri="{FF2B5EF4-FFF2-40B4-BE49-F238E27FC236}">
                <a16:creationId xmlns:a16="http://schemas.microsoft.com/office/drawing/2014/main" id="{693B5326-7E76-40B6-A007-6229019F2467}"/>
              </a:ext>
            </a:extLst>
          </p:cNvPr>
          <p:cNvSpPr>
            <a:spLocks noEditPoints="1"/>
          </p:cNvSpPr>
          <p:nvPr/>
        </p:nvSpPr>
        <p:spPr bwMode="auto">
          <a:xfrm>
            <a:off x="678479" y="2384193"/>
            <a:ext cx="369423" cy="351283"/>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chemeClr val="tx1"/>
          </a:solidFill>
          <a:ln w="127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grpSp>
        <p:nvGrpSpPr>
          <p:cNvPr id="301" name="Group 40">
            <a:extLst>
              <a:ext uri="{FF2B5EF4-FFF2-40B4-BE49-F238E27FC236}">
                <a16:creationId xmlns:a16="http://schemas.microsoft.com/office/drawing/2014/main" id="{5E302FE4-1F8B-42CB-97D3-0A057DA57567}"/>
              </a:ext>
            </a:extLst>
          </p:cNvPr>
          <p:cNvGrpSpPr>
            <a:grpSpLocks noChangeAspect="1"/>
          </p:cNvGrpSpPr>
          <p:nvPr/>
        </p:nvGrpSpPr>
        <p:grpSpPr bwMode="auto">
          <a:xfrm>
            <a:off x="721867" y="2856382"/>
            <a:ext cx="355093" cy="358450"/>
            <a:chOff x="3437" y="2996"/>
            <a:chExt cx="423" cy="427"/>
          </a:xfrm>
          <a:solidFill>
            <a:schemeClr val="tx1"/>
          </a:solidFill>
        </p:grpSpPr>
        <p:sp>
          <p:nvSpPr>
            <p:cNvPr id="302" name="Freeform 41">
              <a:extLst>
                <a:ext uri="{FF2B5EF4-FFF2-40B4-BE49-F238E27FC236}">
                  <a16:creationId xmlns:a16="http://schemas.microsoft.com/office/drawing/2014/main" id="{0D3A0912-68CB-4858-8F25-C7C09EB39320}"/>
                </a:ext>
              </a:extLst>
            </p:cNvPr>
            <p:cNvSpPr>
              <a:spLocks noEditPoints="1"/>
            </p:cNvSpPr>
            <p:nvPr/>
          </p:nvSpPr>
          <p:spPr bwMode="auto">
            <a:xfrm>
              <a:off x="3437"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7" y="12"/>
                    <a:pt x="12" y="34"/>
                    <a:pt x="12" y="54"/>
                  </a:cubicBezTo>
                  <a:cubicBezTo>
                    <a:pt x="12" y="74"/>
                    <a:pt x="57" y="96"/>
                    <a:pt x="120" y="96"/>
                  </a:cubicBezTo>
                  <a:cubicBezTo>
                    <a:pt x="184" y="96"/>
                    <a:pt x="228" y="74"/>
                    <a:pt x="228" y="54"/>
                  </a:cubicBezTo>
                  <a:cubicBezTo>
                    <a:pt x="228" y="34"/>
                    <a:pt x="184" y="12"/>
                    <a:pt x="12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3" name="Freeform 42">
              <a:extLst>
                <a:ext uri="{FF2B5EF4-FFF2-40B4-BE49-F238E27FC236}">
                  <a16:creationId xmlns:a16="http://schemas.microsoft.com/office/drawing/2014/main" id="{7B15BF14-03C1-4924-BF0B-9E740D9652BC}"/>
                </a:ext>
              </a:extLst>
            </p:cNvPr>
            <p:cNvSpPr>
              <a:spLocks/>
            </p:cNvSpPr>
            <p:nvPr/>
          </p:nvSpPr>
          <p:spPr bwMode="auto">
            <a:xfrm>
              <a:off x="3437"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9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6" y="48"/>
                    <a:pt x="132" y="48"/>
                    <a:pt x="138" y="47"/>
                  </a:cubicBezTo>
                  <a:cubicBezTo>
                    <a:pt x="141" y="47"/>
                    <a:pt x="144" y="50"/>
                    <a:pt x="144" y="53"/>
                  </a:cubicBezTo>
                  <a:cubicBezTo>
                    <a:pt x="144" y="56"/>
                    <a:pt x="142" y="59"/>
                    <a:pt x="139" y="59"/>
                  </a:cubicBezTo>
                  <a:cubicBezTo>
                    <a:pt x="132" y="60"/>
                    <a:pt x="126" y="60"/>
                    <a:pt x="120" y="60"/>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4" name="Freeform 43">
              <a:extLst>
                <a:ext uri="{FF2B5EF4-FFF2-40B4-BE49-F238E27FC236}">
                  <a16:creationId xmlns:a16="http://schemas.microsoft.com/office/drawing/2014/main" id="{59BEEB7F-8F16-4D6D-B5ED-CFB413970378}"/>
                </a:ext>
              </a:extLst>
            </p:cNvPr>
            <p:cNvSpPr>
              <a:spLocks/>
            </p:cNvSpPr>
            <p:nvPr/>
          </p:nvSpPr>
          <p:spPr bwMode="auto">
            <a:xfrm>
              <a:off x="3437"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4" y="48"/>
                    <a:pt x="126" y="51"/>
                    <a:pt x="126" y="54"/>
                  </a:cubicBezTo>
                  <a:cubicBezTo>
                    <a:pt x="126" y="57"/>
                    <a:pt x="124" y="60"/>
                    <a:pt x="120" y="60"/>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5" name="Freeform 44">
              <a:extLst>
                <a:ext uri="{FF2B5EF4-FFF2-40B4-BE49-F238E27FC236}">
                  <a16:creationId xmlns:a16="http://schemas.microsoft.com/office/drawing/2014/main" id="{1994736E-DA1E-4CDA-A3D4-2C38FD79EA1D}"/>
                </a:ext>
              </a:extLst>
            </p:cNvPr>
            <p:cNvSpPr>
              <a:spLocks/>
            </p:cNvSpPr>
            <p:nvPr/>
          </p:nvSpPr>
          <p:spPr bwMode="auto">
            <a:xfrm>
              <a:off x="3437"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10" y="0"/>
                    <a:pt x="12" y="3"/>
                    <a:pt x="12" y="6"/>
                  </a:cubicBezTo>
                  <a:cubicBezTo>
                    <a:pt x="12" y="162"/>
                    <a:pt x="12" y="162"/>
                    <a:pt x="12" y="162"/>
                  </a:cubicBezTo>
                  <a:cubicBezTo>
                    <a:pt x="12" y="182"/>
                    <a:pt x="57" y="204"/>
                    <a:pt x="120" y="204"/>
                  </a:cubicBezTo>
                  <a:cubicBezTo>
                    <a:pt x="124" y="204"/>
                    <a:pt x="126" y="207"/>
                    <a:pt x="126" y="210"/>
                  </a:cubicBezTo>
                  <a:cubicBezTo>
                    <a:pt x="126" y="213"/>
                    <a:pt x="124" y="216"/>
                    <a:pt x="120" y="216"/>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6" name="Freeform 45">
              <a:extLst>
                <a:ext uri="{FF2B5EF4-FFF2-40B4-BE49-F238E27FC236}">
                  <a16:creationId xmlns:a16="http://schemas.microsoft.com/office/drawing/2014/main" id="{0C67BD76-8CC6-414C-AD40-4A9D57965F6B}"/>
                </a:ext>
              </a:extLst>
            </p:cNvPr>
            <p:cNvSpPr>
              <a:spLocks/>
            </p:cNvSpPr>
            <p:nvPr/>
          </p:nvSpPr>
          <p:spPr bwMode="auto">
            <a:xfrm>
              <a:off x="3774"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10" y="0"/>
                    <a:pt x="12" y="3"/>
                    <a:pt x="12" y="6"/>
                  </a:cubicBezTo>
                  <a:cubicBezTo>
                    <a:pt x="12" y="72"/>
                    <a:pt x="12" y="72"/>
                    <a:pt x="12" y="72"/>
                  </a:cubicBezTo>
                  <a:cubicBezTo>
                    <a:pt x="12" y="75"/>
                    <a:pt x="10" y="78"/>
                    <a:pt x="6" y="78"/>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7" name="Freeform 46">
              <a:extLst>
                <a:ext uri="{FF2B5EF4-FFF2-40B4-BE49-F238E27FC236}">
                  <a16:creationId xmlns:a16="http://schemas.microsoft.com/office/drawing/2014/main" id="{153062C0-F089-449D-A2FC-22F9D26D3F30}"/>
                </a:ext>
              </a:extLst>
            </p:cNvPr>
            <p:cNvSpPr>
              <a:spLocks/>
            </p:cNvSpPr>
            <p:nvPr/>
          </p:nvSpPr>
          <p:spPr bwMode="auto">
            <a:xfrm>
              <a:off x="3792" y="3254"/>
              <a:ext cx="62" cy="62"/>
            </a:xfrm>
            <a:custGeom>
              <a:avLst/>
              <a:gdLst>
                <a:gd name="T0" fmla="*/ 36 w 42"/>
                <a:gd name="T1" fmla="*/ 42 h 42"/>
                <a:gd name="T2" fmla="*/ 6 w 42"/>
                <a:gd name="T3" fmla="*/ 42 h 42"/>
                <a:gd name="T4" fmla="*/ 0 w 42"/>
                <a:gd name="T5" fmla="*/ 36 h 42"/>
                <a:gd name="T6" fmla="*/ 6 w 42"/>
                <a:gd name="T7" fmla="*/ 30 h 42"/>
                <a:gd name="T8" fmla="*/ 30 w 42"/>
                <a:gd name="T9" fmla="*/ 30 h 42"/>
                <a:gd name="T10" fmla="*/ 30 w 42"/>
                <a:gd name="T11" fmla="*/ 6 h 42"/>
                <a:gd name="T12" fmla="*/ 36 w 42"/>
                <a:gd name="T13" fmla="*/ 0 h 42"/>
                <a:gd name="T14" fmla="*/ 42 w 42"/>
                <a:gd name="T15" fmla="*/ 6 h 42"/>
                <a:gd name="T16" fmla="*/ 42 w 42"/>
                <a:gd name="T17" fmla="*/ 36 h 42"/>
                <a:gd name="T18" fmla="*/ 36 w 42"/>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36" y="42"/>
                  </a:moveTo>
                  <a:cubicBezTo>
                    <a:pt x="6" y="42"/>
                    <a:pt x="6" y="42"/>
                    <a:pt x="6" y="42"/>
                  </a:cubicBezTo>
                  <a:cubicBezTo>
                    <a:pt x="3" y="42"/>
                    <a:pt x="0" y="39"/>
                    <a:pt x="0" y="36"/>
                  </a:cubicBezTo>
                  <a:cubicBezTo>
                    <a:pt x="0" y="33"/>
                    <a:pt x="3" y="30"/>
                    <a:pt x="6" y="30"/>
                  </a:cubicBezTo>
                  <a:cubicBezTo>
                    <a:pt x="30" y="30"/>
                    <a:pt x="30" y="30"/>
                    <a:pt x="30" y="30"/>
                  </a:cubicBezTo>
                  <a:cubicBezTo>
                    <a:pt x="30" y="6"/>
                    <a:pt x="30" y="6"/>
                    <a:pt x="30" y="6"/>
                  </a:cubicBezTo>
                  <a:cubicBezTo>
                    <a:pt x="30" y="3"/>
                    <a:pt x="33" y="0"/>
                    <a:pt x="36" y="0"/>
                  </a:cubicBezTo>
                  <a:cubicBezTo>
                    <a:pt x="40" y="0"/>
                    <a:pt x="42" y="3"/>
                    <a:pt x="42" y="6"/>
                  </a:cubicBezTo>
                  <a:cubicBezTo>
                    <a:pt x="42" y="36"/>
                    <a:pt x="42" y="36"/>
                    <a:pt x="42" y="36"/>
                  </a:cubicBezTo>
                  <a:cubicBezTo>
                    <a:pt x="42" y="39"/>
                    <a:pt x="40" y="42"/>
                    <a:pt x="36" y="4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8" name="Freeform 47">
              <a:extLst>
                <a:ext uri="{FF2B5EF4-FFF2-40B4-BE49-F238E27FC236}">
                  <a16:creationId xmlns:a16="http://schemas.microsoft.com/office/drawing/2014/main" id="{15F10D43-59CF-41A3-83CA-1E19F8A98EDE}"/>
                </a:ext>
              </a:extLst>
            </p:cNvPr>
            <p:cNvSpPr>
              <a:spLocks/>
            </p:cNvSpPr>
            <p:nvPr/>
          </p:nvSpPr>
          <p:spPr bwMode="auto">
            <a:xfrm>
              <a:off x="3680" y="3245"/>
              <a:ext cx="174" cy="72"/>
            </a:xfrm>
            <a:custGeom>
              <a:avLst/>
              <a:gdLst>
                <a:gd name="T0" fmla="*/ 7 w 118"/>
                <a:gd name="T1" fmla="*/ 48 h 49"/>
                <a:gd name="T2" fmla="*/ 5 w 118"/>
                <a:gd name="T3" fmla="*/ 48 h 49"/>
                <a:gd name="T4" fmla="*/ 2 w 118"/>
                <a:gd name="T5" fmla="*/ 40 h 49"/>
                <a:gd name="T6" fmla="*/ 58 w 118"/>
                <a:gd name="T7" fmla="*/ 0 h 49"/>
                <a:gd name="T8" fmla="*/ 117 w 118"/>
                <a:gd name="T9" fmla="*/ 40 h 49"/>
                <a:gd name="T10" fmla="*/ 114 w 118"/>
                <a:gd name="T11" fmla="*/ 47 h 49"/>
                <a:gd name="T12" fmla="*/ 106 w 118"/>
                <a:gd name="T13" fmla="*/ 44 h 49"/>
                <a:gd name="T14" fmla="*/ 58 w 118"/>
                <a:gd name="T15" fmla="*/ 12 h 49"/>
                <a:gd name="T16" fmla="*/ 13 w 118"/>
                <a:gd name="T17" fmla="*/ 44 h 49"/>
                <a:gd name="T18" fmla="*/ 7 w 118"/>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49">
                  <a:moveTo>
                    <a:pt x="7" y="48"/>
                  </a:moveTo>
                  <a:cubicBezTo>
                    <a:pt x="7" y="48"/>
                    <a:pt x="6" y="48"/>
                    <a:pt x="5" y="48"/>
                  </a:cubicBezTo>
                  <a:cubicBezTo>
                    <a:pt x="2" y="47"/>
                    <a:pt x="0" y="43"/>
                    <a:pt x="2" y="40"/>
                  </a:cubicBezTo>
                  <a:cubicBezTo>
                    <a:pt x="10" y="16"/>
                    <a:pt x="33" y="0"/>
                    <a:pt x="58" y="0"/>
                  </a:cubicBezTo>
                  <a:cubicBezTo>
                    <a:pt x="84" y="0"/>
                    <a:pt x="109" y="17"/>
                    <a:pt x="117" y="40"/>
                  </a:cubicBezTo>
                  <a:cubicBezTo>
                    <a:pt x="118" y="43"/>
                    <a:pt x="117" y="46"/>
                    <a:pt x="114" y="47"/>
                  </a:cubicBezTo>
                  <a:cubicBezTo>
                    <a:pt x="111" y="49"/>
                    <a:pt x="107" y="47"/>
                    <a:pt x="106" y="44"/>
                  </a:cubicBezTo>
                  <a:cubicBezTo>
                    <a:pt x="100" y="25"/>
                    <a:pt x="79" y="12"/>
                    <a:pt x="58" y="12"/>
                  </a:cubicBezTo>
                  <a:cubicBezTo>
                    <a:pt x="38" y="12"/>
                    <a:pt x="20" y="25"/>
                    <a:pt x="13" y="44"/>
                  </a:cubicBezTo>
                  <a:cubicBezTo>
                    <a:pt x="12" y="46"/>
                    <a:pt x="10" y="48"/>
                    <a:pt x="7" y="48"/>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9" name="Freeform 48">
              <a:extLst>
                <a:ext uri="{FF2B5EF4-FFF2-40B4-BE49-F238E27FC236}">
                  <a16:creationId xmlns:a16="http://schemas.microsoft.com/office/drawing/2014/main" id="{8AD05A9F-0477-464C-97DA-58AE906E6EB6}"/>
                </a:ext>
              </a:extLst>
            </p:cNvPr>
            <p:cNvSpPr>
              <a:spLocks/>
            </p:cNvSpPr>
            <p:nvPr/>
          </p:nvSpPr>
          <p:spPr bwMode="auto">
            <a:xfrm>
              <a:off x="3685" y="3352"/>
              <a:ext cx="62" cy="62"/>
            </a:xfrm>
            <a:custGeom>
              <a:avLst/>
              <a:gdLst>
                <a:gd name="T0" fmla="*/ 6 w 42"/>
                <a:gd name="T1" fmla="*/ 42 h 42"/>
                <a:gd name="T2" fmla="*/ 0 w 42"/>
                <a:gd name="T3" fmla="*/ 36 h 42"/>
                <a:gd name="T4" fmla="*/ 0 w 42"/>
                <a:gd name="T5" fmla="*/ 6 h 42"/>
                <a:gd name="T6" fmla="*/ 6 w 42"/>
                <a:gd name="T7" fmla="*/ 0 h 42"/>
                <a:gd name="T8" fmla="*/ 36 w 42"/>
                <a:gd name="T9" fmla="*/ 0 h 42"/>
                <a:gd name="T10" fmla="*/ 42 w 42"/>
                <a:gd name="T11" fmla="*/ 6 h 42"/>
                <a:gd name="T12" fmla="*/ 36 w 42"/>
                <a:gd name="T13" fmla="*/ 12 h 42"/>
                <a:gd name="T14" fmla="*/ 12 w 42"/>
                <a:gd name="T15" fmla="*/ 12 h 42"/>
                <a:gd name="T16" fmla="*/ 12 w 42"/>
                <a:gd name="T17" fmla="*/ 36 h 42"/>
                <a:gd name="T18" fmla="*/ 6 w 42"/>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6" y="42"/>
                  </a:moveTo>
                  <a:cubicBezTo>
                    <a:pt x="3" y="42"/>
                    <a:pt x="0" y="39"/>
                    <a:pt x="0" y="36"/>
                  </a:cubicBezTo>
                  <a:cubicBezTo>
                    <a:pt x="0" y="6"/>
                    <a:pt x="0" y="6"/>
                    <a:pt x="0" y="6"/>
                  </a:cubicBezTo>
                  <a:cubicBezTo>
                    <a:pt x="0" y="2"/>
                    <a:pt x="3" y="0"/>
                    <a:pt x="6" y="0"/>
                  </a:cubicBezTo>
                  <a:cubicBezTo>
                    <a:pt x="36" y="0"/>
                    <a:pt x="36" y="0"/>
                    <a:pt x="36" y="0"/>
                  </a:cubicBezTo>
                  <a:cubicBezTo>
                    <a:pt x="39" y="0"/>
                    <a:pt x="42" y="2"/>
                    <a:pt x="42" y="6"/>
                  </a:cubicBezTo>
                  <a:cubicBezTo>
                    <a:pt x="42" y="9"/>
                    <a:pt x="39" y="12"/>
                    <a:pt x="36" y="12"/>
                  </a:cubicBezTo>
                  <a:cubicBezTo>
                    <a:pt x="12" y="12"/>
                    <a:pt x="12" y="12"/>
                    <a:pt x="12" y="12"/>
                  </a:cubicBezTo>
                  <a:cubicBezTo>
                    <a:pt x="12" y="36"/>
                    <a:pt x="12" y="36"/>
                    <a:pt x="12" y="36"/>
                  </a:cubicBezTo>
                  <a:cubicBezTo>
                    <a:pt x="12" y="39"/>
                    <a:pt x="9" y="42"/>
                    <a:pt x="6" y="4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10" name="Freeform 49">
              <a:extLst>
                <a:ext uri="{FF2B5EF4-FFF2-40B4-BE49-F238E27FC236}">
                  <a16:creationId xmlns:a16="http://schemas.microsoft.com/office/drawing/2014/main" id="{C3DF45D9-68CD-44DA-B0EB-08A19FE46D21}"/>
                </a:ext>
              </a:extLst>
            </p:cNvPr>
            <p:cNvSpPr>
              <a:spLocks/>
            </p:cNvSpPr>
            <p:nvPr/>
          </p:nvSpPr>
          <p:spPr bwMode="auto">
            <a:xfrm>
              <a:off x="3685" y="3350"/>
              <a:ext cx="175" cy="73"/>
            </a:xfrm>
            <a:custGeom>
              <a:avLst/>
              <a:gdLst>
                <a:gd name="T0" fmla="*/ 60 w 118"/>
                <a:gd name="T1" fmla="*/ 49 h 49"/>
                <a:gd name="T2" fmla="*/ 1 w 118"/>
                <a:gd name="T3" fmla="*/ 9 h 49"/>
                <a:gd name="T4" fmla="*/ 5 w 118"/>
                <a:gd name="T5" fmla="*/ 1 h 49"/>
                <a:gd name="T6" fmla="*/ 12 w 118"/>
                <a:gd name="T7" fmla="*/ 5 h 49"/>
                <a:gd name="T8" fmla="*/ 60 w 118"/>
                <a:gd name="T9" fmla="*/ 37 h 49"/>
                <a:gd name="T10" fmla="*/ 105 w 118"/>
                <a:gd name="T11" fmla="*/ 5 h 49"/>
                <a:gd name="T12" fmla="*/ 113 w 118"/>
                <a:gd name="T13" fmla="*/ 1 h 49"/>
                <a:gd name="T14" fmla="*/ 117 w 118"/>
                <a:gd name="T15" fmla="*/ 9 h 49"/>
                <a:gd name="T16" fmla="*/ 60 w 11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9">
                  <a:moveTo>
                    <a:pt x="60" y="49"/>
                  </a:moveTo>
                  <a:cubicBezTo>
                    <a:pt x="34" y="49"/>
                    <a:pt x="9" y="32"/>
                    <a:pt x="1" y="9"/>
                  </a:cubicBezTo>
                  <a:cubicBezTo>
                    <a:pt x="0" y="6"/>
                    <a:pt x="2" y="2"/>
                    <a:pt x="5" y="1"/>
                  </a:cubicBezTo>
                  <a:cubicBezTo>
                    <a:pt x="8" y="0"/>
                    <a:pt x="11" y="2"/>
                    <a:pt x="12" y="5"/>
                  </a:cubicBezTo>
                  <a:cubicBezTo>
                    <a:pt x="19" y="23"/>
                    <a:pt x="39" y="37"/>
                    <a:pt x="60" y="37"/>
                  </a:cubicBezTo>
                  <a:cubicBezTo>
                    <a:pt x="80" y="37"/>
                    <a:pt x="99" y="24"/>
                    <a:pt x="105" y="5"/>
                  </a:cubicBezTo>
                  <a:cubicBezTo>
                    <a:pt x="107" y="2"/>
                    <a:pt x="110" y="0"/>
                    <a:pt x="113" y="1"/>
                  </a:cubicBezTo>
                  <a:cubicBezTo>
                    <a:pt x="116" y="2"/>
                    <a:pt x="118" y="6"/>
                    <a:pt x="117" y="9"/>
                  </a:cubicBezTo>
                  <a:cubicBezTo>
                    <a:pt x="108" y="33"/>
                    <a:pt x="86" y="49"/>
                    <a:pt x="60" y="49"/>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311" name="IoT" title="Icon of five circles that all connect to a center circle">
            <a:extLst>
              <a:ext uri="{FF2B5EF4-FFF2-40B4-BE49-F238E27FC236}">
                <a16:creationId xmlns:a16="http://schemas.microsoft.com/office/drawing/2014/main" id="{9B0E5936-837F-4225-A26B-F738C00DA592}"/>
              </a:ext>
            </a:extLst>
          </p:cNvPr>
          <p:cNvSpPr>
            <a:spLocks noChangeAspect="1" noEditPoints="1"/>
          </p:cNvSpPr>
          <p:nvPr/>
        </p:nvSpPr>
        <p:spPr bwMode="auto">
          <a:xfrm>
            <a:off x="2326639" y="2433645"/>
            <a:ext cx="497841" cy="49863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12" name="Group 140">
            <a:extLst>
              <a:ext uri="{FF2B5EF4-FFF2-40B4-BE49-F238E27FC236}">
                <a16:creationId xmlns:a16="http://schemas.microsoft.com/office/drawing/2014/main" id="{166C5F95-ABD3-46DA-A067-DB151D5C1C4E}"/>
              </a:ext>
            </a:extLst>
          </p:cNvPr>
          <p:cNvGrpSpPr>
            <a:grpSpLocks noChangeAspect="1"/>
          </p:cNvGrpSpPr>
          <p:nvPr/>
        </p:nvGrpSpPr>
        <p:grpSpPr bwMode="auto">
          <a:xfrm>
            <a:off x="2897464" y="5466054"/>
            <a:ext cx="525398" cy="492786"/>
            <a:chOff x="1369" y="3008"/>
            <a:chExt cx="435" cy="408"/>
          </a:xfrm>
          <a:solidFill>
            <a:schemeClr val="tx1"/>
          </a:solidFill>
        </p:grpSpPr>
        <p:sp>
          <p:nvSpPr>
            <p:cNvPr id="313" name="Freeform 141">
              <a:extLst>
                <a:ext uri="{FF2B5EF4-FFF2-40B4-BE49-F238E27FC236}">
                  <a16:creationId xmlns:a16="http://schemas.microsoft.com/office/drawing/2014/main" id="{A91B3FBD-BCD7-4E59-854F-7A38F3E76AD6}"/>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14" name="Freeform 142">
              <a:extLst>
                <a:ext uri="{FF2B5EF4-FFF2-40B4-BE49-F238E27FC236}">
                  <a16:creationId xmlns:a16="http://schemas.microsoft.com/office/drawing/2014/main" id="{99C67107-E78D-4AD8-A251-5327DB9502AA}"/>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15" name="Freeform 143">
              <a:extLst>
                <a:ext uri="{FF2B5EF4-FFF2-40B4-BE49-F238E27FC236}">
                  <a16:creationId xmlns:a16="http://schemas.microsoft.com/office/drawing/2014/main" id="{C7A9B369-8135-45C5-9C5F-EAF111FDEFFF}"/>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16" name="Freeform 144">
              <a:extLst>
                <a:ext uri="{FF2B5EF4-FFF2-40B4-BE49-F238E27FC236}">
                  <a16:creationId xmlns:a16="http://schemas.microsoft.com/office/drawing/2014/main" id="{B8440359-AC5A-4061-BB97-03BBFFD6C914}"/>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321" name="Group 138">
            <a:extLst>
              <a:ext uri="{FF2B5EF4-FFF2-40B4-BE49-F238E27FC236}">
                <a16:creationId xmlns:a16="http://schemas.microsoft.com/office/drawing/2014/main" id="{E8E49B74-11EE-4971-AA9D-DB9C7388148A}"/>
              </a:ext>
            </a:extLst>
          </p:cNvPr>
          <p:cNvGrpSpPr>
            <a:grpSpLocks noChangeAspect="1"/>
          </p:cNvGrpSpPr>
          <p:nvPr/>
        </p:nvGrpSpPr>
        <p:grpSpPr bwMode="auto">
          <a:xfrm>
            <a:off x="714496" y="5387501"/>
            <a:ext cx="329444" cy="324551"/>
            <a:chOff x="5509" y="1735"/>
            <a:chExt cx="404" cy="398"/>
          </a:xfrm>
          <a:solidFill>
            <a:schemeClr val="tx1"/>
          </a:solidFill>
        </p:grpSpPr>
        <p:sp>
          <p:nvSpPr>
            <p:cNvPr id="322" name="Freeform 139">
              <a:extLst>
                <a:ext uri="{FF2B5EF4-FFF2-40B4-BE49-F238E27FC236}">
                  <a16:creationId xmlns:a16="http://schemas.microsoft.com/office/drawing/2014/main" id="{34114F2A-63BB-47C4-92D6-B11D099D76FC}"/>
                </a:ext>
              </a:extLst>
            </p:cNvPr>
            <p:cNvSpPr>
              <a:spLocks noEditPoints="1"/>
            </p:cNvSpPr>
            <p:nvPr/>
          </p:nvSpPr>
          <p:spPr bwMode="auto">
            <a:xfrm>
              <a:off x="5509" y="1735"/>
              <a:ext cx="355" cy="389"/>
            </a:xfrm>
            <a:custGeom>
              <a:avLst/>
              <a:gdLst>
                <a:gd name="T0" fmla="*/ 120 w 240"/>
                <a:gd name="T1" fmla="*/ 143 h 263"/>
                <a:gd name="T2" fmla="*/ 12 w 240"/>
                <a:gd name="T3" fmla="*/ 102 h 263"/>
                <a:gd name="T4" fmla="*/ 12 w 240"/>
                <a:gd name="T5" fmla="*/ 78 h 263"/>
                <a:gd name="T6" fmla="*/ 120 w 240"/>
                <a:gd name="T7" fmla="*/ 108 h 263"/>
                <a:gd name="T8" fmla="*/ 228 w 240"/>
                <a:gd name="T9" fmla="*/ 78 h 263"/>
                <a:gd name="T10" fmla="*/ 228 w 240"/>
                <a:gd name="T11" fmla="*/ 108 h 263"/>
                <a:gd name="T12" fmla="*/ 234 w 240"/>
                <a:gd name="T13" fmla="*/ 114 h 263"/>
                <a:gd name="T14" fmla="*/ 240 w 240"/>
                <a:gd name="T15" fmla="*/ 108 h 263"/>
                <a:gd name="T16" fmla="*/ 240 w 240"/>
                <a:gd name="T17" fmla="*/ 54 h 263"/>
                <a:gd name="T18" fmla="*/ 120 w 240"/>
                <a:gd name="T19" fmla="*/ 0 h 263"/>
                <a:gd name="T20" fmla="*/ 0 w 240"/>
                <a:gd name="T21" fmla="*/ 54 h 263"/>
                <a:gd name="T22" fmla="*/ 0 w 240"/>
                <a:gd name="T23" fmla="*/ 209 h 263"/>
                <a:gd name="T24" fmla="*/ 108 w 240"/>
                <a:gd name="T25" fmla="*/ 263 h 263"/>
                <a:gd name="T26" fmla="*/ 108 w 240"/>
                <a:gd name="T27" fmla="*/ 263 h 263"/>
                <a:gd name="T28" fmla="*/ 114 w 240"/>
                <a:gd name="T29" fmla="*/ 257 h 263"/>
                <a:gd name="T30" fmla="*/ 108 w 240"/>
                <a:gd name="T31" fmla="*/ 251 h 263"/>
                <a:gd name="T32" fmla="*/ 12 w 240"/>
                <a:gd name="T33" fmla="*/ 209 h 263"/>
                <a:gd name="T34" fmla="*/ 12 w 240"/>
                <a:gd name="T35" fmla="*/ 180 h 263"/>
                <a:gd name="T36" fmla="*/ 102 w 240"/>
                <a:gd name="T37" fmla="*/ 209 h 263"/>
                <a:gd name="T38" fmla="*/ 102 w 240"/>
                <a:gd name="T39" fmla="*/ 209 h 263"/>
                <a:gd name="T40" fmla="*/ 108 w 240"/>
                <a:gd name="T41" fmla="*/ 203 h 263"/>
                <a:gd name="T42" fmla="*/ 102 w 240"/>
                <a:gd name="T43" fmla="*/ 197 h 263"/>
                <a:gd name="T44" fmla="*/ 12 w 240"/>
                <a:gd name="T45" fmla="*/ 155 h 263"/>
                <a:gd name="T46" fmla="*/ 12 w 240"/>
                <a:gd name="T47" fmla="*/ 125 h 263"/>
                <a:gd name="T48" fmla="*/ 120 w 240"/>
                <a:gd name="T49" fmla="*/ 155 h 263"/>
                <a:gd name="T50" fmla="*/ 126 w 240"/>
                <a:gd name="T51" fmla="*/ 149 h 263"/>
                <a:gd name="T52" fmla="*/ 120 w 240"/>
                <a:gd name="T53" fmla="*/ 143 h 263"/>
                <a:gd name="T54" fmla="*/ 120 w 240"/>
                <a:gd name="T55" fmla="*/ 12 h 263"/>
                <a:gd name="T56" fmla="*/ 228 w 240"/>
                <a:gd name="T57" fmla="*/ 54 h 263"/>
                <a:gd name="T58" fmla="*/ 120 w 240"/>
                <a:gd name="T59" fmla="*/ 96 h 263"/>
                <a:gd name="T60" fmla="*/ 12 w 240"/>
                <a:gd name="T61" fmla="*/ 54 h 263"/>
                <a:gd name="T62" fmla="*/ 120 w 240"/>
                <a:gd name="T63" fmla="*/ 1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63">
                  <a:moveTo>
                    <a:pt x="120" y="143"/>
                  </a:moveTo>
                  <a:cubicBezTo>
                    <a:pt x="56" y="143"/>
                    <a:pt x="12" y="121"/>
                    <a:pt x="12" y="102"/>
                  </a:cubicBezTo>
                  <a:cubicBezTo>
                    <a:pt x="12" y="78"/>
                    <a:pt x="12" y="78"/>
                    <a:pt x="12" y="78"/>
                  </a:cubicBezTo>
                  <a:cubicBezTo>
                    <a:pt x="31" y="95"/>
                    <a:pt x="72" y="108"/>
                    <a:pt x="120" y="108"/>
                  </a:cubicBezTo>
                  <a:cubicBezTo>
                    <a:pt x="168" y="108"/>
                    <a:pt x="208" y="95"/>
                    <a:pt x="228" y="78"/>
                  </a:cubicBezTo>
                  <a:cubicBezTo>
                    <a:pt x="228" y="108"/>
                    <a:pt x="228" y="108"/>
                    <a:pt x="228" y="108"/>
                  </a:cubicBezTo>
                  <a:cubicBezTo>
                    <a:pt x="228" y="111"/>
                    <a:pt x="230" y="114"/>
                    <a:pt x="234" y="114"/>
                  </a:cubicBezTo>
                  <a:cubicBezTo>
                    <a:pt x="237" y="114"/>
                    <a:pt x="240" y="111"/>
                    <a:pt x="240" y="108"/>
                  </a:cubicBezTo>
                  <a:cubicBezTo>
                    <a:pt x="240" y="54"/>
                    <a:pt x="240" y="54"/>
                    <a:pt x="240" y="54"/>
                  </a:cubicBezTo>
                  <a:cubicBezTo>
                    <a:pt x="240" y="24"/>
                    <a:pt x="187" y="0"/>
                    <a:pt x="120" y="0"/>
                  </a:cubicBezTo>
                  <a:cubicBezTo>
                    <a:pt x="53" y="0"/>
                    <a:pt x="0" y="24"/>
                    <a:pt x="0" y="54"/>
                  </a:cubicBezTo>
                  <a:cubicBezTo>
                    <a:pt x="0" y="209"/>
                    <a:pt x="0" y="209"/>
                    <a:pt x="0" y="209"/>
                  </a:cubicBezTo>
                  <a:cubicBezTo>
                    <a:pt x="0" y="238"/>
                    <a:pt x="45" y="260"/>
                    <a:pt x="108" y="263"/>
                  </a:cubicBezTo>
                  <a:cubicBezTo>
                    <a:pt x="108" y="263"/>
                    <a:pt x="108" y="263"/>
                    <a:pt x="108" y="263"/>
                  </a:cubicBezTo>
                  <a:cubicBezTo>
                    <a:pt x="111" y="263"/>
                    <a:pt x="114" y="260"/>
                    <a:pt x="114" y="257"/>
                  </a:cubicBezTo>
                  <a:cubicBezTo>
                    <a:pt x="114" y="254"/>
                    <a:pt x="112" y="251"/>
                    <a:pt x="108" y="251"/>
                  </a:cubicBezTo>
                  <a:cubicBezTo>
                    <a:pt x="49" y="248"/>
                    <a:pt x="12" y="227"/>
                    <a:pt x="12" y="209"/>
                  </a:cubicBezTo>
                  <a:cubicBezTo>
                    <a:pt x="12" y="180"/>
                    <a:pt x="12" y="180"/>
                    <a:pt x="12" y="180"/>
                  </a:cubicBezTo>
                  <a:cubicBezTo>
                    <a:pt x="29" y="195"/>
                    <a:pt x="61" y="206"/>
                    <a:pt x="102" y="209"/>
                  </a:cubicBezTo>
                  <a:cubicBezTo>
                    <a:pt x="102" y="209"/>
                    <a:pt x="102" y="209"/>
                    <a:pt x="102" y="209"/>
                  </a:cubicBezTo>
                  <a:cubicBezTo>
                    <a:pt x="105" y="209"/>
                    <a:pt x="108" y="206"/>
                    <a:pt x="108" y="203"/>
                  </a:cubicBezTo>
                  <a:cubicBezTo>
                    <a:pt x="108" y="200"/>
                    <a:pt x="106" y="197"/>
                    <a:pt x="102" y="197"/>
                  </a:cubicBezTo>
                  <a:cubicBezTo>
                    <a:pt x="52" y="193"/>
                    <a:pt x="12" y="175"/>
                    <a:pt x="12" y="155"/>
                  </a:cubicBezTo>
                  <a:cubicBezTo>
                    <a:pt x="12" y="125"/>
                    <a:pt x="12" y="125"/>
                    <a:pt x="12" y="125"/>
                  </a:cubicBezTo>
                  <a:cubicBezTo>
                    <a:pt x="31" y="143"/>
                    <a:pt x="72" y="155"/>
                    <a:pt x="120" y="155"/>
                  </a:cubicBezTo>
                  <a:cubicBezTo>
                    <a:pt x="123" y="155"/>
                    <a:pt x="126" y="153"/>
                    <a:pt x="126" y="149"/>
                  </a:cubicBezTo>
                  <a:cubicBezTo>
                    <a:pt x="126" y="146"/>
                    <a:pt x="123" y="143"/>
                    <a:pt x="120" y="143"/>
                  </a:cubicBezTo>
                  <a:close/>
                  <a:moveTo>
                    <a:pt x="120" y="12"/>
                  </a:moveTo>
                  <a:cubicBezTo>
                    <a:pt x="183" y="12"/>
                    <a:pt x="228" y="34"/>
                    <a:pt x="228" y="54"/>
                  </a:cubicBezTo>
                  <a:cubicBezTo>
                    <a:pt x="228" y="74"/>
                    <a:pt x="183" y="96"/>
                    <a:pt x="120" y="96"/>
                  </a:cubicBezTo>
                  <a:cubicBezTo>
                    <a:pt x="56" y="96"/>
                    <a:pt x="12" y="74"/>
                    <a:pt x="12" y="54"/>
                  </a:cubicBezTo>
                  <a:cubicBezTo>
                    <a:pt x="12" y="34"/>
                    <a:pt x="56" y="12"/>
                    <a:pt x="12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3" name="Freeform 140">
              <a:extLst>
                <a:ext uri="{FF2B5EF4-FFF2-40B4-BE49-F238E27FC236}">
                  <a16:creationId xmlns:a16="http://schemas.microsoft.com/office/drawing/2014/main" id="{4A4FB494-9E77-4584-8F05-9B5CAF9610D1}"/>
                </a:ext>
              </a:extLst>
            </p:cNvPr>
            <p:cNvSpPr>
              <a:spLocks noEditPoints="1"/>
            </p:cNvSpPr>
            <p:nvPr/>
          </p:nvSpPr>
          <p:spPr bwMode="auto">
            <a:xfrm>
              <a:off x="5774" y="1998"/>
              <a:ext cx="106" cy="107"/>
            </a:xfrm>
            <a:custGeom>
              <a:avLst/>
              <a:gdLst>
                <a:gd name="T0" fmla="*/ 56 w 72"/>
                <a:gd name="T1" fmla="*/ 7 h 72"/>
                <a:gd name="T2" fmla="*/ 56 w 72"/>
                <a:gd name="T3" fmla="*/ 6 h 72"/>
                <a:gd name="T4" fmla="*/ 56 w 72"/>
                <a:gd name="T5" fmla="*/ 6 h 72"/>
                <a:gd name="T6" fmla="*/ 36 w 72"/>
                <a:gd name="T7" fmla="*/ 0 h 72"/>
                <a:gd name="T8" fmla="*/ 0 w 72"/>
                <a:gd name="T9" fmla="*/ 36 h 72"/>
                <a:gd name="T10" fmla="*/ 36 w 72"/>
                <a:gd name="T11" fmla="*/ 72 h 72"/>
                <a:gd name="T12" fmla="*/ 59 w 72"/>
                <a:gd name="T13" fmla="*/ 63 h 72"/>
                <a:gd name="T14" fmla="*/ 59 w 72"/>
                <a:gd name="T15" fmla="*/ 63 h 72"/>
                <a:gd name="T16" fmla="*/ 59 w 72"/>
                <a:gd name="T17" fmla="*/ 63 h 72"/>
                <a:gd name="T18" fmla="*/ 72 w 72"/>
                <a:gd name="T19" fmla="*/ 36 h 72"/>
                <a:gd name="T20" fmla="*/ 56 w 72"/>
                <a:gd name="T21" fmla="*/ 7 h 72"/>
                <a:gd name="T22" fmla="*/ 36 w 72"/>
                <a:gd name="T23" fmla="*/ 11 h 72"/>
                <a:gd name="T24" fmla="*/ 45 w 72"/>
                <a:gd name="T25" fmla="*/ 13 h 72"/>
                <a:gd name="T26" fmla="*/ 33 w 72"/>
                <a:gd name="T27" fmla="*/ 31 h 72"/>
                <a:gd name="T28" fmla="*/ 11 w 72"/>
                <a:gd name="T29" fmla="*/ 31 h 72"/>
                <a:gd name="T30" fmla="*/ 36 w 72"/>
                <a:gd name="T31" fmla="*/ 11 h 72"/>
                <a:gd name="T32" fmla="*/ 33 w 72"/>
                <a:gd name="T33" fmla="*/ 41 h 72"/>
                <a:gd name="T34" fmla="*/ 48 w 72"/>
                <a:gd name="T35" fmla="*/ 58 h 72"/>
                <a:gd name="T36" fmla="*/ 36 w 72"/>
                <a:gd name="T37" fmla="*/ 61 h 72"/>
                <a:gd name="T38" fmla="*/ 11 w 72"/>
                <a:gd name="T39" fmla="*/ 41 h 72"/>
                <a:gd name="T40" fmla="*/ 33 w 72"/>
                <a:gd name="T41" fmla="*/ 41 h 72"/>
                <a:gd name="T42" fmla="*/ 56 w 72"/>
                <a:gd name="T43" fmla="*/ 51 h 72"/>
                <a:gd name="T44" fmla="*/ 43 w 72"/>
                <a:gd name="T45" fmla="*/ 36 h 72"/>
                <a:gd name="T46" fmla="*/ 54 w 72"/>
                <a:gd name="T47" fmla="*/ 19 h 72"/>
                <a:gd name="T48" fmla="*/ 61 w 72"/>
                <a:gd name="T49" fmla="*/ 36 h 72"/>
                <a:gd name="T50" fmla="*/ 56 w 72"/>
                <a:gd name="T51"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56" y="7"/>
                  </a:moveTo>
                  <a:cubicBezTo>
                    <a:pt x="56" y="7"/>
                    <a:pt x="56" y="7"/>
                    <a:pt x="56" y="6"/>
                  </a:cubicBezTo>
                  <a:cubicBezTo>
                    <a:pt x="56" y="6"/>
                    <a:pt x="56" y="6"/>
                    <a:pt x="56" y="6"/>
                  </a:cubicBezTo>
                  <a:cubicBezTo>
                    <a:pt x="50" y="3"/>
                    <a:pt x="43" y="0"/>
                    <a:pt x="36" y="0"/>
                  </a:cubicBezTo>
                  <a:cubicBezTo>
                    <a:pt x="16" y="0"/>
                    <a:pt x="0" y="16"/>
                    <a:pt x="0" y="36"/>
                  </a:cubicBezTo>
                  <a:cubicBezTo>
                    <a:pt x="0" y="56"/>
                    <a:pt x="16" y="72"/>
                    <a:pt x="36" y="72"/>
                  </a:cubicBezTo>
                  <a:cubicBezTo>
                    <a:pt x="45" y="72"/>
                    <a:pt x="53" y="69"/>
                    <a:pt x="59" y="63"/>
                  </a:cubicBezTo>
                  <a:cubicBezTo>
                    <a:pt x="59" y="63"/>
                    <a:pt x="59" y="63"/>
                    <a:pt x="59" y="63"/>
                  </a:cubicBezTo>
                  <a:cubicBezTo>
                    <a:pt x="59" y="63"/>
                    <a:pt x="59" y="63"/>
                    <a:pt x="59" y="63"/>
                  </a:cubicBezTo>
                  <a:cubicBezTo>
                    <a:pt x="67" y="56"/>
                    <a:pt x="72" y="47"/>
                    <a:pt x="72" y="36"/>
                  </a:cubicBezTo>
                  <a:cubicBezTo>
                    <a:pt x="72" y="24"/>
                    <a:pt x="66" y="13"/>
                    <a:pt x="56" y="7"/>
                  </a:cubicBezTo>
                  <a:close/>
                  <a:moveTo>
                    <a:pt x="36" y="11"/>
                  </a:moveTo>
                  <a:cubicBezTo>
                    <a:pt x="39" y="11"/>
                    <a:pt x="43" y="11"/>
                    <a:pt x="45" y="13"/>
                  </a:cubicBezTo>
                  <a:cubicBezTo>
                    <a:pt x="33" y="31"/>
                    <a:pt x="33" y="31"/>
                    <a:pt x="33" y="31"/>
                  </a:cubicBezTo>
                  <a:cubicBezTo>
                    <a:pt x="11" y="31"/>
                    <a:pt x="11" y="31"/>
                    <a:pt x="11" y="31"/>
                  </a:cubicBezTo>
                  <a:cubicBezTo>
                    <a:pt x="14" y="19"/>
                    <a:pt x="24" y="11"/>
                    <a:pt x="36" y="11"/>
                  </a:cubicBezTo>
                  <a:close/>
                  <a:moveTo>
                    <a:pt x="33" y="41"/>
                  </a:moveTo>
                  <a:cubicBezTo>
                    <a:pt x="48" y="58"/>
                    <a:pt x="48" y="58"/>
                    <a:pt x="48" y="58"/>
                  </a:cubicBezTo>
                  <a:cubicBezTo>
                    <a:pt x="44" y="60"/>
                    <a:pt x="40" y="61"/>
                    <a:pt x="36" y="61"/>
                  </a:cubicBezTo>
                  <a:cubicBezTo>
                    <a:pt x="24" y="61"/>
                    <a:pt x="14" y="53"/>
                    <a:pt x="11" y="41"/>
                  </a:cubicBezTo>
                  <a:lnTo>
                    <a:pt x="33" y="41"/>
                  </a:lnTo>
                  <a:close/>
                  <a:moveTo>
                    <a:pt x="56" y="51"/>
                  </a:moveTo>
                  <a:cubicBezTo>
                    <a:pt x="43" y="36"/>
                    <a:pt x="43" y="36"/>
                    <a:pt x="43" y="36"/>
                  </a:cubicBezTo>
                  <a:cubicBezTo>
                    <a:pt x="54" y="19"/>
                    <a:pt x="54" y="19"/>
                    <a:pt x="54" y="19"/>
                  </a:cubicBezTo>
                  <a:cubicBezTo>
                    <a:pt x="58" y="23"/>
                    <a:pt x="61" y="29"/>
                    <a:pt x="61" y="36"/>
                  </a:cubicBezTo>
                  <a:cubicBezTo>
                    <a:pt x="61" y="42"/>
                    <a:pt x="59" y="47"/>
                    <a:pt x="56" y="51"/>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4" name="Freeform 141">
              <a:extLst>
                <a:ext uri="{FF2B5EF4-FFF2-40B4-BE49-F238E27FC236}">
                  <a16:creationId xmlns:a16="http://schemas.microsoft.com/office/drawing/2014/main" id="{873E79B0-0635-40C8-A5E7-056853E1378F}"/>
                </a:ext>
              </a:extLst>
            </p:cNvPr>
            <p:cNvSpPr>
              <a:spLocks noEditPoints="1"/>
            </p:cNvSpPr>
            <p:nvPr/>
          </p:nvSpPr>
          <p:spPr bwMode="auto">
            <a:xfrm>
              <a:off x="5741" y="1929"/>
              <a:ext cx="172" cy="204"/>
            </a:xfrm>
            <a:custGeom>
              <a:avLst/>
              <a:gdLst>
                <a:gd name="T0" fmla="*/ 116 w 116"/>
                <a:gd name="T1" fmla="*/ 38 h 138"/>
                <a:gd name="T2" fmla="*/ 116 w 116"/>
                <a:gd name="T3" fmla="*/ 37 h 138"/>
                <a:gd name="T4" fmla="*/ 115 w 116"/>
                <a:gd name="T5" fmla="*/ 37 h 138"/>
                <a:gd name="T6" fmla="*/ 115 w 116"/>
                <a:gd name="T7" fmla="*/ 36 h 138"/>
                <a:gd name="T8" fmla="*/ 115 w 116"/>
                <a:gd name="T9" fmla="*/ 36 h 138"/>
                <a:gd name="T10" fmla="*/ 115 w 116"/>
                <a:gd name="T11" fmla="*/ 35 h 138"/>
                <a:gd name="T12" fmla="*/ 114 w 116"/>
                <a:gd name="T13" fmla="*/ 35 h 138"/>
                <a:gd name="T14" fmla="*/ 81 w 116"/>
                <a:gd name="T15" fmla="*/ 2 h 138"/>
                <a:gd name="T16" fmla="*/ 80 w 116"/>
                <a:gd name="T17" fmla="*/ 1 h 138"/>
                <a:gd name="T18" fmla="*/ 80 w 116"/>
                <a:gd name="T19" fmla="*/ 1 h 138"/>
                <a:gd name="T20" fmla="*/ 80 w 116"/>
                <a:gd name="T21" fmla="*/ 1 h 138"/>
                <a:gd name="T22" fmla="*/ 79 w 116"/>
                <a:gd name="T23" fmla="*/ 1 h 138"/>
                <a:gd name="T24" fmla="*/ 79 w 116"/>
                <a:gd name="T25" fmla="*/ 0 h 138"/>
                <a:gd name="T26" fmla="*/ 78 w 116"/>
                <a:gd name="T27" fmla="*/ 0 h 138"/>
                <a:gd name="T28" fmla="*/ 77 w 116"/>
                <a:gd name="T29" fmla="*/ 0 h 138"/>
                <a:gd name="T30" fmla="*/ 5 w 116"/>
                <a:gd name="T31" fmla="*/ 0 h 138"/>
                <a:gd name="T32" fmla="*/ 0 w 116"/>
                <a:gd name="T33" fmla="*/ 5 h 138"/>
                <a:gd name="T34" fmla="*/ 0 w 116"/>
                <a:gd name="T35" fmla="*/ 133 h 138"/>
                <a:gd name="T36" fmla="*/ 5 w 116"/>
                <a:gd name="T37" fmla="*/ 138 h 138"/>
                <a:gd name="T38" fmla="*/ 110 w 116"/>
                <a:gd name="T39" fmla="*/ 138 h 138"/>
                <a:gd name="T40" fmla="*/ 116 w 116"/>
                <a:gd name="T41" fmla="*/ 133 h 138"/>
                <a:gd name="T42" fmla="*/ 116 w 116"/>
                <a:gd name="T43" fmla="*/ 39 h 138"/>
                <a:gd name="T44" fmla="*/ 116 w 116"/>
                <a:gd name="T45" fmla="*/ 38 h 138"/>
                <a:gd name="T46" fmla="*/ 11 w 116"/>
                <a:gd name="T47" fmla="*/ 127 h 138"/>
                <a:gd name="T48" fmla="*/ 11 w 116"/>
                <a:gd name="T49" fmla="*/ 11 h 138"/>
                <a:gd name="T50" fmla="*/ 72 w 116"/>
                <a:gd name="T51" fmla="*/ 11 h 138"/>
                <a:gd name="T52" fmla="*/ 72 w 116"/>
                <a:gd name="T53" fmla="*/ 39 h 138"/>
                <a:gd name="T54" fmla="*/ 77 w 116"/>
                <a:gd name="T55" fmla="*/ 44 h 138"/>
                <a:gd name="T56" fmla="*/ 105 w 116"/>
                <a:gd name="T57" fmla="*/ 44 h 138"/>
                <a:gd name="T58" fmla="*/ 105 w 116"/>
                <a:gd name="T59" fmla="*/ 127 h 138"/>
                <a:gd name="T60" fmla="*/ 11 w 116"/>
                <a:gd name="T61" fmla="*/ 127 h 138"/>
                <a:gd name="T62" fmla="*/ 83 w 116"/>
                <a:gd name="T63" fmla="*/ 33 h 138"/>
                <a:gd name="T64" fmla="*/ 83 w 116"/>
                <a:gd name="T65" fmla="*/ 18 h 138"/>
                <a:gd name="T66" fmla="*/ 98 w 116"/>
                <a:gd name="T67" fmla="*/ 33 h 138"/>
                <a:gd name="T68" fmla="*/ 83 w 116"/>
                <a:gd name="T69" fmla="*/ 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138">
                  <a:moveTo>
                    <a:pt x="116" y="38"/>
                  </a:moveTo>
                  <a:cubicBezTo>
                    <a:pt x="116" y="38"/>
                    <a:pt x="116" y="37"/>
                    <a:pt x="116" y="37"/>
                  </a:cubicBezTo>
                  <a:cubicBezTo>
                    <a:pt x="116" y="37"/>
                    <a:pt x="115" y="37"/>
                    <a:pt x="115" y="37"/>
                  </a:cubicBezTo>
                  <a:cubicBezTo>
                    <a:pt x="115" y="37"/>
                    <a:pt x="115" y="36"/>
                    <a:pt x="115" y="36"/>
                  </a:cubicBezTo>
                  <a:cubicBezTo>
                    <a:pt x="115" y="36"/>
                    <a:pt x="115" y="36"/>
                    <a:pt x="115" y="36"/>
                  </a:cubicBezTo>
                  <a:cubicBezTo>
                    <a:pt x="115" y="36"/>
                    <a:pt x="115" y="36"/>
                    <a:pt x="115" y="35"/>
                  </a:cubicBezTo>
                  <a:cubicBezTo>
                    <a:pt x="114" y="35"/>
                    <a:pt x="114" y="35"/>
                    <a:pt x="114" y="35"/>
                  </a:cubicBezTo>
                  <a:cubicBezTo>
                    <a:pt x="81" y="2"/>
                    <a:pt x="81" y="2"/>
                    <a:pt x="81" y="2"/>
                  </a:cubicBezTo>
                  <a:cubicBezTo>
                    <a:pt x="81" y="2"/>
                    <a:pt x="81" y="1"/>
                    <a:pt x="80" y="1"/>
                  </a:cubicBezTo>
                  <a:cubicBezTo>
                    <a:pt x="80" y="1"/>
                    <a:pt x="80" y="1"/>
                    <a:pt x="80" y="1"/>
                  </a:cubicBezTo>
                  <a:cubicBezTo>
                    <a:pt x="80" y="1"/>
                    <a:pt x="80" y="1"/>
                    <a:pt x="80" y="1"/>
                  </a:cubicBezTo>
                  <a:cubicBezTo>
                    <a:pt x="79" y="1"/>
                    <a:pt x="79" y="1"/>
                    <a:pt x="79" y="1"/>
                  </a:cubicBezTo>
                  <a:cubicBezTo>
                    <a:pt x="79" y="1"/>
                    <a:pt x="79" y="0"/>
                    <a:pt x="79" y="0"/>
                  </a:cubicBezTo>
                  <a:cubicBezTo>
                    <a:pt x="78" y="0"/>
                    <a:pt x="78" y="0"/>
                    <a:pt x="78" y="0"/>
                  </a:cubicBezTo>
                  <a:cubicBezTo>
                    <a:pt x="78" y="0"/>
                    <a:pt x="78" y="0"/>
                    <a:pt x="77" y="0"/>
                  </a:cubicBezTo>
                  <a:cubicBezTo>
                    <a:pt x="5" y="0"/>
                    <a:pt x="5" y="0"/>
                    <a:pt x="5" y="0"/>
                  </a:cubicBezTo>
                  <a:cubicBezTo>
                    <a:pt x="2" y="0"/>
                    <a:pt x="0" y="3"/>
                    <a:pt x="0" y="5"/>
                  </a:cubicBezTo>
                  <a:cubicBezTo>
                    <a:pt x="0" y="133"/>
                    <a:pt x="0" y="133"/>
                    <a:pt x="0" y="133"/>
                  </a:cubicBezTo>
                  <a:cubicBezTo>
                    <a:pt x="0" y="136"/>
                    <a:pt x="2" y="138"/>
                    <a:pt x="5" y="138"/>
                  </a:cubicBezTo>
                  <a:cubicBezTo>
                    <a:pt x="110" y="138"/>
                    <a:pt x="110" y="138"/>
                    <a:pt x="110" y="138"/>
                  </a:cubicBezTo>
                  <a:cubicBezTo>
                    <a:pt x="113" y="138"/>
                    <a:pt x="116" y="136"/>
                    <a:pt x="116" y="133"/>
                  </a:cubicBezTo>
                  <a:cubicBezTo>
                    <a:pt x="116" y="39"/>
                    <a:pt x="116" y="39"/>
                    <a:pt x="116" y="39"/>
                  </a:cubicBezTo>
                  <a:cubicBezTo>
                    <a:pt x="116" y="38"/>
                    <a:pt x="116" y="38"/>
                    <a:pt x="116" y="38"/>
                  </a:cubicBezTo>
                  <a:close/>
                  <a:moveTo>
                    <a:pt x="11" y="127"/>
                  </a:moveTo>
                  <a:cubicBezTo>
                    <a:pt x="11" y="11"/>
                    <a:pt x="11" y="11"/>
                    <a:pt x="11" y="11"/>
                  </a:cubicBezTo>
                  <a:cubicBezTo>
                    <a:pt x="72" y="11"/>
                    <a:pt x="72" y="11"/>
                    <a:pt x="72" y="11"/>
                  </a:cubicBezTo>
                  <a:cubicBezTo>
                    <a:pt x="72" y="39"/>
                    <a:pt x="72" y="39"/>
                    <a:pt x="72" y="39"/>
                  </a:cubicBezTo>
                  <a:cubicBezTo>
                    <a:pt x="72" y="42"/>
                    <a:pt x="74" y="44"/>
                    <a:pt x="77" y="44"/>
                  </a:cubicBezTo>
                  <a:cubicBezTo>
                    <a:pt x="105" y="44"/>
                    <a:pt x="105" y="44"/>
                    <a:pt x="105" y="44"/>
                  </a:cubicBezTo>
                  <a:cubicBezTo>
                    <a:pt x="105" y="127"/>
                    <a:pt x="105" y="127"/>
                    <a:pt x="105" y="127"/>
                  </a:cubicBezTo>
                  <a:lnTo>
                    <a:pt x="11" y="127"/>
                  </a:lnTo>
                  <a:close/>
                  <a:moveTo>
                    <a:pt x="83" y="33"/>
                  </a:moveTo>
                  <a:cubicBezTo>
                    <a:pt x="83" y="18"/>
                    <a:pt x="83" y="18"/>
                    <a:pt x="83" y="18"/>
                  </a:cubicBezTo>
                  <a:cubicBezTo>
                    <a:pt x="98" y="33"/>
                    <a:pt x="98" y="33"/>
                    <a:pt x="98" y="33"/>
                  </a:cubicBezTo>
                  <a:lnTo>
                    <a:pt x="83" y="33"/>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25" name="Group 40">
            <a:extLst>
              <a:ext uri="{FF2B5EF4-FFF2-40B4-BE49-F238E27FC236}">
                <a16:creationId xmlns:a16="http://schemas.microsoft.com/office/drawing/2014/main" id="{9533D99F-B292-46B8-8D69-00465624283A}"/>
              </a:ext>
            </a:extLst>
          </p:cNvPr>
          <p:cNvGrpSpPr>
            <a:grpSpLocks noChangeAspect="1"/>
          </p:cNvGrpSpPr>
          <p:nvPr/>
        </p:nvGrpSpPr>
        <p:grpSpPr bwMode="auto">
          <a:xfrm>
            <a:off x="723748" y="5814060"/>
            <a:ext cx="274379" cy="366412"/>
            <a:chOff x="4533" y="439"/>
            <a:chExt cx="319" cy="426"/>
          </a:xfrm>
          <a:solidFill>
            <a:schemeClr val="tx1"/>
          </a:solidFill>
        </p:grpSpPr>
        <p:sp>
          <p:nvSpPr>
            <p:cNvPr id="326" name="Freeform 41">
              <a:extLst>
                <a:ext uri="{FF2B5EF4-FFF2-40B4-BE49-F238E27FC236}">
                  <a16:creationId xmlns:a16="http://schemas.microsoft.com/office/drawing/2014/main" id="{E00D93AD-BFA3-4285-9A3E-DACFAA716B55}"/>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7" name="Freeform 42">
              <a:extLst>
                <a:ext uri="{FF2B5EF4-FFF2-40B4-BE49-F238E27FC236}">
                  <a16:creationId xmlns:a16="http://schemas.microsoft.com/office/drawing/2014/main" id="{7398FC5A-EBA6-46C1-AF10-6E1B698988E5}"/>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8" name="Freeform 43">
              <a:extLst>
                <a:ext uri="{FF2B5EF4-FFF2-40B4-BE49-F238E27FC236}">
                  <a16:creationId xmlns:a16="http://schemas.microsoft.com/office/drawing/2014/main" id="{7D9843F1-E142-46AC-91CB-93E5C5943D8B}"/>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9" name="Freeform 44">
              <a:extLst>
                <a:ext uri="{FF2B5EF4-FFF2-40B4-BE49-F238E27FC236}">
                  <a16:creationId xmlns:a16="http://schemas.microsoft.com/office/drawing/2014/main" id="{5964459D-7FE3-4D91-A23B-5A371802D57F}"/>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0" name="Freeform 45">
              <a:extLst>
                <a:ext uri="{FF2B5EF4-FFF2-40B4-BE49-F238E27FC236}">
                  <a16:creationId xmlns:a16="http://schemas.microsoft.com/office/drawing/2014/main" id="{F7D2D903-F29F-4E31-BD13-96E65C1A6247}"/>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1" name="Freeform 46">
              <a:extLst>
                <a:ext uri="{FF2B5EF4-FFF2-40B4-BE49-F238E27FC236}">
                  <a16:creationId xmlns:a16="http://schemas.microsoft.com/office/drawing/2014/main" id="{B3338547-9FFD-4DCF-A4E0-29C45EFF1A9C}"/>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2" name="Freeform 47">
              <a:extLst>
                <a:ext uri="{FF2B5EF4-FFF2-40B4-BE49-F238E27FC236}">
                  <a16:creationId xmlns:a16="http://schemas.microsoft.com/office/drawing/2014/main" id="{F479C548-9B13-4DDE-BE93-68E9BB1DFC4D}"/>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33" name="Group 27">
            <a:extLst>
              <a:ext uri="{FF2B5EF4-FFF2-40B4-BE49-F238E27FC236}">
                <a16:creationId xmlns:a16="http://schemas.microsoft.com/office/drawing/2014/main" id="{BCB90E21-507B-4B53-90C7-25B8680FA18B}"/>
              </a:ext>
            </a:extLst>
          </p:cNvPr>
          <p:cNvGrpSpPr>
            <a:grpSpLocks noChangeAspect="1"/>
          </p:cNvGrpSpPr>
          <p:nvPr/>
        </p:nvGrpSpPr>
        <p:grpSpPr bwMode="auto">
          <a:xfrm>
            <a:off x="683464" y="4972773"/>
            <a:ext cx="388958" cy="307888"/>
            <a:chOff x="3435" y="483"/>
            <a:chExt cx="427" cy="338"/>
          </a:xfrm>
          <a:solidFill>
            <a:schemeClr val="tx1"/>
          </a:solidFill>
        </p:grpSpPr>
        <p:sp>
          <p:nvSpPr>
            <p:cNvPr id="334" name="Freeform 28">
              <a:extLst>
                <a:ext uri="{FF2B5EF4-FFF2-40B4-BE49-F238E27FC236}">
                  <a16:creationId xmlns:a16="http://schemas.microsoft.com/office/drawing/2014/main" id="{7E04A01C-9943-4B96-A0AB-CBE42A60520D}"/>
                </a:ext>
              </a:extLst>
            </p:cNvPr>
            <p:cNvSpPr>
              <a:spLocks noEditPoints="1"/>
            </p:cNvSpPr>
            <p:nvPr/>
          </p:nvSpPr>
          <p:spPr bwMode="auto">
            <a:xfrm>
              <a:off x="3435" y="483"/>
              <a:ext cx="427"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4" y="228"/>
                    <a:pt x="0" y="214"/>
                    <a:pt x="0" y="198"/>
                  </a:cubicBezTo>
                  <a:cubicBezTo>
                    <a:pt x="0" y="30"/>
                    <a:pt x="0" y="30"/>
                    <a:pt x="0" y="30"/>
                  </a:cubicBezTo>
                  <a:cubicBezTo>
                    <a:pt x="0" y="13"/>
                    <a:pt x="14" y="0"/>
                    <a:pt x="30" y="0"/>
                  </a:cubicBezTo>
                  <a:cubicBezTo>
                    <a:pt x="258" y="0"/>
                    <a:pt x="258" y="0"/>
                    <a:pt x="258" y="0"/>
                  </a:cubicBezTo>
                  <a:cubicBezTo>
                    <a:pt x="275" y="0"/>
                    <a:pt x="288" y="13"/>
                    <a:pt x="288" y="30"/>
                  </a:cubicBezTo>
                  <a:cubicBezTo>
                    <a:pt x="288" y="198"/>
                    <a:pt x="288" y="198"/>
                    <a:pt x="288" y="198"/>
                  </a:cubicBezTo>
                  <a:cubicBezTo>
                    <a:pt x="288" y="214"/>
                    <a:pt x="275" y="228"/>
                    <a:pt x="258" y="228"/>
                  </a:cubicBezTo>
                  <a:close/>
                  <a:moveTo>
                    <a:pt x="30" y="12"/>
                  </a:moveTo>
                  <a:cubicBezTo>
                    <a:pt x="21" y="12"/>
                    <a:pt x="12" y="20"/>
                    <a:pt x="12" y="30"/>
                  </a:cubicBezTo>
                  <a:cubicBezTo>
                    <a:pt x="12" y="198"/>
                    <a:pt x="12" y="198"/>
                    <a:pt x="12" y="198"/>
                  </a:cubicBezTo>
                  <a:cubicBezTo>
                    <a:pt x="12" y="208"/>
                    <a:pt x="21"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5" name="Freeform 29">
              <a:extLst>
                <a:ext uri="{FF2B5EF4-FFF2-40B4-BE49-F238E27FC236}">
                  <a16:creationId xmlns:a16="http://schemas.microsoft.com/office/drawing/2014/main" id="{BD4717CD-CCE0-4A1C-B051-E1B496C3713A}"/>
                </a:ext>
              </a:extLst>
            </p:cNvPr>
            <p:cNvSpPr>
              <a:spLocks/>
            </p:cNvSpPr>
            <p:nvPr/>
          </p:nvSpPr>
          <p:spPr bwMode="auto">
            <a:xfrm>
              <a:off x="3435" y="572"/>
              <a:ext cx="427"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6" name="Oval 30">
              <a:extLst>
                <a:ext uri="{FF2B5EF4-FFF2-40B4-BE49-F238E27FC236}">
                  <a16:creationId xmlns:a16="http://schemas.microsoft.com/office/drawing/2014/main" id="{7251C729-6CFC-4FE1-AC96-D32FAEA50C35}"/>
                </a:ext>
              </a:extLst>
            </p:cNvPr>
            <p:cNvSpPr>
              <a:spLocks noChangeArrowheads="1"/>
            </p:cNvSpPr>
            <p:nvPr/>
          </p:nvSpPr>
          <p:spPr bwMode="auto">
            <a:xfrm>
              <a:off x="3489" y="519"/>
              <a:ext cx="35"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7" name="Oval 31">
              <a:extLst>
                <a:ext uri="{FF2B5EF4-FFF2-40B4-BE49-F238E27FC236}">
                  <a16:creationId xmlns:a16="http://schemas.microsoft.com/office/drawing/2014/main" id="{F9F036BA-2BF7-40B5-A9FE-D2F386A39030}"/>
                </a:ext>
              </a:extLst>
            </p:cNvPr>
            <p:cNvSpPr>
              <a:spLocks noChangeArrowheads="1"/>
            </p:cNvSpPr>
            <p:nvPr/>
          </p:nvSpPr>
          <p:spPr bwMode="auto">
            <a:xfrm>
              <a:off x="3542" y="519"/>
              <a:ext cx="36"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8" name="Oval 32">
              <a:extLst>
                <a:ext uri="{FF2B5EF4-FFF2-40B4-BE49-F238E27FC236}">
                  <a16:creationId xmlns:a16="http://schemas.microsoft.com/office/drawing/2014/main" id="{6CDBC40E-EA04-41D6-BAD0-9C25F3856E1E}"/>
                </a:ext>
              </a:extLst>
            </p:cNvPr>
            <p:cNvSpPr>
              <a:spLocks noChangeArrowheads="1"/>
            </p:cNvSpPr>
            <p:nvPr/>
          </p:nvSpPr>
          <p:spPr bwMode="auto">
            <a:xfrm>
              <a:off x="3595" y="519"/>
              <a:ext cx="36"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6" name="Arrow: Down 5">
            <a:extLst>
              <a:ext uri="{FF2B5EF4-FFF2-40B4-BE49-F238E27FC236}">
                <a16:creationId xmlns:a16="http://schemas.microsoft.com/office/drawing/2014/main" id="{16A35458-702C-4B07-AADF-5F4BB4DE8FD3}"/>
              </a:ext>
            </a:extLst>
          </p:cNvPr>
          <p:cNvSpPr/>
          <p:nvPr/>
        </p:nvSpPr>
        <p:spPr bwMode="auto">
          <a:xfrm flipV="1">
            <a:off x="897924" y="5104886"/>
            <a:ext cx="108721" cy="108000"/>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9" name="Group 35">
            <a:extLst>
              <a:ext uri="{FF2B5EF4-FFF2-40B4-BE49-F238E27FC236}">
                <a16:creationId xmlns:a16="http://schemas.microsoft.com/office/drawing/2014/main" id="{3D11C3D7-98B7-43C1-B500-9CB87AD2531B}"/>
              </a:ext>
            </a:extLst>
          </p:cNvPr>
          <p:cNvGrpSpPr>
            <a:grpSpLocks noChangeAspect="1"/>
          </p:cNvGrpSpPr>
          <p:nvPr/>
        </p:nvGrpSpPr>
        <p:grpSpPr bwMode="auto">
          <a:xfrm>
            <a:off x="5284676" y="5506497"/>
            <a:ext cx="569224" cy="451639"/>
            <a:chOff x="4478" y="483"/>
            <a:chExt cx="426" cy="338"/>
          </a:xfrm>
          <a:solidFill>
            <a:schemeClr val="tx1"/>
          </a:solidFill>
        </p:grpSpPr>
        <p:sp>
          <p:nvSpPr>
            <p:cNvPr id="340" name="Freeform 36">
              <a:extLst>
                <a:ext uri="{FF2B5EF4-FFF2-40B4-BE49-F238E27FC236}">
                  <a16:creationId xmlns:a16="http://schemas.microsoft.com/office/drawing/2014/main" id="{0F34CB7F-2A43-48A1-8BB7-2AE3FC913F59}"/>
                </a:ext>
              </a:extLst>
            </p:cNvPr>
            <p:cNvSpPr>
              <a:spLocks noEditPoints="1"/>
            </p:cNvSpPr>
            <p:nvPr/>
          </p:nvSpPr>
          <p:spPr bwMode="auto">
            <a:xfrm>
              <a:off x="4478" y="483"/>
              <a:ext cx="426"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3" y="228"/>
                    <a:pt x="0" y="214"/>
                    <a:pt x="0" y="198"/>
                  </a:cubicBezTo>
                  <a:cubicBezTo>
                    <a:pt x="0" y="30"/>
                    <a:pt x="0" y="30"/>
                    <a:pt x="0" y="30"/>
                  </a:cubicBezTo>
                  <a:cubicBezTo>
                    <a:pt x="0" y="13"/>
                    <a:pt x="13" y="0"/>
                    <a:pt x="30" y="0"/>
                  </a:cubicBezTo>
                  <a:cubicBezTo>
                    <a:pt x="258" y="0"/>
                    <a:pt x="258" y="0"/>
                    <a:pt x="258" y="0"/>
                  </a:cubicBezTo>
                  <a:cubicBezTo>
                    <a:pt x="274" y="0"/>
                    <a:pt x="288" y="13"/>
                    <a:pt x="288" y="30"/>
                  </a:cubicBezTo>
                  <a:cubicBezTo>
                    <a:pt x="288" y="198"/>
                    <a:pt x="288" y="198"/>
                    <a:pt x="288" y="198"/>
                  </a:cubicBezTo>
                  <a:cubicBezTo>
                    <a:pt x="288" y="214"/>
                    <a:pt x="274" y="228"/>
                    <a:pt x="258" y="228"/>
                  </a:cubicBezTo>
                  <a:close/>
                  <a:moveTo>
                    <a:pt x="30" y="12"/>
                  </a:moveTo>
                  <a:cubicBezTo>
                    <a:pt x="20" y="12"/>
                    <a:pt x="12" y="20"/>
                    <a:pt x="12" y="30"/>
                  </a:cubicBezTo>
                  <a:cubicBezTo>
                    <a:pt x="12" y="198"/>
                    <a:pt x="12" y="198"/>
                    <a:pt x="12" y="198"/>
                  </a:cubicBezTo>
                  <a:cubicBezTo>
                    <a:pt x="12" y="208"/>
                    <a:pt x="20"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1" name="Freeform 37">
              <a:extLst>
                <a:ext uri="{FF2B5EF4-FFF2-40B4-BE49-F238E27FC236}">
                  <a16:creationId xmlns:a16="http://schemas.microsoft.com/office/drawing/2014/main" id="{31889E6F-1712-412A-A192-8B341A1869D0}"/>
                </a:ext>
              </a:extLst>
            </p:cNvPr>
            <p:cNvSpPr>
              <a:spLocks/>
            </p:cNvSpPr>
            <p:nvPr/>
          </p:nvSpPr>
          <p:spPr bwMode="auto">
            <a:xfrm>
              <a:off x="4478" y="572"/>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9"/>
                    <a:pt x="0" y="6"/>
                  </a:cubicBezTo>
                  <a:cubicBezTo>
                    <a:pt x="0" y="2"/>
                    <a:pt x="2" y="0"/>
                    <a:pt x="6" y="0"/>
                  </a:cubicBezTo>
                  <a:cubicBezTo>
                    <a:pt x="282" y="0"/>
                    <a:pt x="282" y="0"/>
                    <a:pt x="282" y="0"/>
                  </a:cubicBezTo>
                  <a:cubicBezTo>
                    <a:pt x="285" y="0"/>
                    <a:pt x="288" y="2"/>
                    <a:pt x="288" y="6"/>
                  </a:cubicBezTo>
                  <a:cubicBezTo>
                    <a:pt x="288" y="9"/>
                    <a:pt x="285" y="12"/>
                    <a:pt x="282" y="12"/>
                  </a:cubicBez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5" name="Freeform 41">
              <a:extLst>
                <a:ext uri="{FF2B5EF4-FFF2-40B4-BE49-F238E27FC236}">
                  <a16:creationId xmlns:a16="http://schemas.microsoft.com/office/drawing/2014/main" id="{DBE50ECA-E5D0-4904-B31D-F0D6B1AFFAEE}"/>
                </a:ext>
              </a:extLst>
            </p:cNvPr>
            <p:cNvSpPr>
              <a:spLocks noEditPoints="1"/>
            </p:cNvSpPr>
            <p:nvPr/>
          </p:nvSpPr>
          <p:spPr bwMode="auto">
            <a:xfrm>
              <a:off x="4549"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6" name="Freeform 42">
              <a:extLst>
                <a:ext uri="{FF2B5EF4-FFF2-40B4-BE49-F238E27FC236}">
                  <a16:creationId xmlns:a16="http://schemas.microsoft.com/office/drawing/2014/main" id="{00615EBB-FF45-4729-9671-8E8EFA549976}"/>
                </a:ext>
              </a:extLst>
            </p:cNvPr>
            <p:cNvSpPr>
              <a:spLocks noEditPoints="1"/>
            </p:cNvSpPr>
            <p:nvPr/>
          </p:nvSpPr>
          <p:spPr bwMode="auto">
            <a:xfrm>
              <a:off x="4549"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7" name="Freeform 43">
              <a:extLst>
                <a:ext uri="{FF2B5EF4-FFF2-40B4-BE49-F238E27FC236}">
                  <a16:creationId xmlns:a16="http://schemas.microsoft.com/office/drawing/2014/main" id="{E8779503-71A3-475D-8F44-AB4F27416350}"/>
                </a:ext>
              </a:extLst>
            </p:cNvPr>
            <p:cNvSpPr>
              <a:spLocks noEditPoints="1"/>
            </p:cNvSpPr>
            <p:nvPr/>
          </p:nvSpPr>
          <p:spPr bwMode="auto">
            <a:xfrm>
              <a:off x="4656"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8" name="Freeform 44">
              <a:extLst>
                <a:ext uri="{FF2B5EF4-FFF2-40B4-BE49-F238E27FC236}">
                  <a16:creationId xmlns:a16="http://schemas.microsoft.com/office/drawing/2014/main" id="{D8228B97-99BF-472C-AD0B-63FCA7BF3AD5}"/>
                </a:ext>
              </a:extLst>
            </p:cNvPr>
            <p:cNvSpPr>
              <a:spLocks noEditPoints="1"/>
            </p:cNvSpPr>
            <p:nvPr/>
          </p:nvSpPr>
          <p:spPr bwMode="auto">
            <a:xfrm>
              <a:off x="4656"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9" name="Freeform 45">
              <a:extLst>
                <a:ext uri="{FF2B5EF4-FFF2-40B4-BE49-F238E27FC236}">
                  <a16:creationId xmlns:a16="http://schemas.microsoft.com/office/drawing/2014/main" id="{90868282-17A5-4335-AD7F-58F4E606D292}"/>
                </a:ext>
              </a:extLst>
            </p:cNvPr>
            <p:cNvSpPr>
              <a:spLocks noEditPoints="1"/>
            </p:cNvSpPr>
            <p:nvPr/>
          </p:nvSpPr>
          <p:spPr bwMode="auto">
            <a:xfrm>
              <a:off x="4762"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50" name="Freeform 46">
              <a:extLst>
                <a:ext uri="{FF2B5EF4-FFF2-40B4-BE49-F238E27FC236}">
                  <a16:creationId xmlns:a16="http://schemas.microsoft.com/office/drawing/2014/main" id="{6783E859-9BE1-4C7D-AAB4-05AEFF967B2B}"/>
                </a:ext>
              </a:extLst>
            </p:cNvPr>
            <p:cNvSpPr>
              <a:spLocks noEditPoints="1"/>
            </p:cNvSpPr>
            <p:nvPr/>
          </p:nvSpPr>
          <p:spPr bwMode="auto">
            <a:xfrm>
              <a:off x="4762"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63" name="Group 119">
            <a:extLst>
              <a:ext uri="{FF2B5EF4-FFF2-40B4-BE49-F238E27FC236}">
                <a16:creationId xmlns:a16="http://schemas.microsoft.com/office/drawing/2014/main" id="{F3B098CD-9D97-4404-8AA9-9860115419CE}"/>
              </a:ext>
            </a:extLst>
          </p:cNvPr>
          <p:cNvGrpSpPr>
            <a:grpSpLocks noChangeAspect="1"/>
          </p:cNvGrpSpPr>
          <p:nvPr/>
        </p:nvGrpSpPr>
        <p:grpSpPr bwMode="auto">
          <a:xfrm>
            <a:off x="9686609" y="5274646"/>
            <a:ext cx="434436" cy="387194"/>
            <a:chOff x="1563" y="1896"/>
            <a:chExt cx="423" cy="377"/>
          </a:xfrm>
          <a:solidFill>
            <a:schemeClr val="tx1"/>
          </a:solidFill>
        </p:grpSpPr>
        <p:sp>
          <p:nvSpPr>
            <p:cNvPr id="364" name="Freeform 120">
              <a:extLst>
                <a:ext uri="{FF2B5EF4-FFF2-40B4-BE49-F238E27FC236}">
                  <a16:creationId xmlns:a16="http://schemas.microsoft.com/office/drawing/2014/main" id="{C4654B90-055E-4318-B43B-C03D20F92166}"/>
                </a:ext>
              </a:extLst>
            </p:cNvPr>
            <p:cNvSpPr>
              <a:spLocks/>
            </p:cNvSpPr>
            <p:nvPr/>
          </p:nvSpPr>
          <p:spPr bwMode="auto">
            <a:xfrm>
              <a:off x="1563" y="1896"/>
              <a:ext cx="423" cy="377"/>
            </a:xfrm>
            <a:custGeom>
              <a:avLst/>
              <a:gdLst>
                <a:gd name="T0" fmla="*/ 246 w 276"/>
                <a:gd name="T1" fmla="*/ 252 h 252"/>
                <a:gd name="T2" fmla="*/ 240 w 276"/>
                <a:gd name="T3" fmla="*/ 246 h 252"/>
                <a:gd name="T4" fmla="*/ 240 w 276"/>
                <a:gd name="T5" fmla="*/ 78 h 252"/>
                <a:gd name="T6" fmla="*/ 246 w 276"/>
                <a:gd name="T7" fmla="*/ 72 h 252"/>
                <a:gd name="T8" fmla="*/ 264 w 276"/>
                <a:gd name="T9" fmla="*/ 72 h 252"/>
                <a:gd name="T10" fmla="*/ 264 w 276"/>
                <a:gd name="T11" fmla="*/ 53 h 252"/>
                <a:gd name="T12" fmla="*/ 144 w 276"/>
                <a:gd name="T13" fmla="*/ 13 h 252"/>
                <a:gd name="T14" fmla="*/ 12 w 276"/>
                <a:gd name="T15" fmla="*/ 53 h 252"/>
                <a:gd name="T16" fmla="*/ 12 w 276"/>
                <a:gd name="T17" fmla="*/ 72 h 252"/>
                <a:gd name="T18" fmla="*/ 30 w 276"/>
                <a:gd name="T19" fmla="*/ 72 h 252"/>
                <a:gd name="T20" fmla="*/ 36 w 276"/>
                <a:gd name="T21" fmla="*/ 78 h 252"/>
                <a:gd name="T22" fmla="*/ 36 w 276"/>
                <a:gd name="T23" fmla="*/ 246 h 252"/>
                <a:gd name="T24" fmla="*/ 30 w 276"/>
                <a:gd name="T25" fmla="*/ 252 h 252"/>
                <a:gd name="T26" fmla="*/ 24 w 276"/>
                <a:gd name="T27" fmla="*/ 246 h 252"/>
                <a:gd name="T28" fmla="*/ 24 w 276"/>
                <a:gd name="T29" fmla="*/ 84 h 252"/>
                <a:gd name="T30" fmla="*/ 6 w 276"/>
                <a:gd name="T31" fmla="*/ 84 h 252"/>
                <a:gd name="T32" fmla="*/ 0 w 276"/>
                <a:gd name="T33" fmla="*/ 78 h 252"/>
                <a:gd name="T34" fmla="*/ 0 w 276"/>
                <a:gd name="T35" fmla="*/ 48 h 252"/>
                <a:gd name="T36" fmla="*/ 4 w 276"/>
                <a:gd name="T37" fmla="*/ 43 h 252"/>
                <a:gd name="T38" fmla="*/ 142 w 276"/>
                <a:gd name="T39" fmla="*/ 1 h 252"/>
                <a:gd name="T40" fmla="*/ 146 w 276"/>
                <a:gd name="T41" fmla="*/ 1 h 252"/>
                <a:gd name="T42" fmla="*/ 272 w 276"/>
                <a:gd name="T43" fmla="*/ 43 h 252"/>
                <a:gd name="T44" fmla="*/ 276 w 276"/>
                <a:gd name="T45" fmla="*/ 48 h 252"/>
                <a:gd name="T46" fmla="*/ 276 w 276"/>
                <a:gd name="T47" fmla="*/ 78 h 252"/>
                <a:gd name="T48" fmla="*/ 270 w 276"/>
                <a:gd name="T49" fmla="*/ 84 h 252"/>
                <a:gd name="T50" fmla="*/ 252 w 276"/>
                <a:gd name="T51" fmla="*/ 84 h 252"/>
                <a:gd name="T52" fmla="*/ 252 w 276"/>
                <a:gd name="T53" fmla="*/ 246 h 252"/>
                <a:gd name="T54" fmla="*/ 246 w 276"/>
                <a:gd name="T5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6" h="252">
                  <a:moveTo>
                    <a:pt x="246" y="252"/>
                  </a:moveTo>
                  <a:cubicBezTo>
                    <a:pt x="243" y="252"/>
                    <a:pt x="240" y="250"/>
                    <a:pt x="240" y="246"/>
                  </a:cubicBezTo>
                  <a:cubicBezTo>
                    <a:pt x="240" y="78"/>
                    <a:pt x="240" y="78"/>
                    <a:pt x="240" y="78"/>
                  </a:cubicBezTo>
                  <a:cubicBezTo>
                    <a:pt x="240" y="75"/>
                    <a:pt x="243" y="72"/>
                    <a:pt x="246" y="72"/>
                  </a:cubicBezTo>
                  <a:cubicBezTo>
                    <a:pt x="264" y="72"/>
                    <a:pt x="264" y="72"/>
                    <a:pt x="264" y="72"/>
                  </a:cubicBezTo>
                  <a:cubicBezTo>
                    <a:pt x="264" y="53"/>
                    <a:pt x="264" y="53"/>
                    <a:pt x="264" y="53"/>
                  </a:cubicBezTo>
                  <a:cubicBezTo>
                    <a:pt x="144" y="13"/>
                    <a:pt x="144" y="13"/>
                    <a:pt x="144" y="13"/>
                  </a:cubicBezTo>
                  <a:cubicBezTo>
                    <a:pt x="12" y="53"/>
                    <a:pt x="12" y="53"/>
                    <a:pt x="12" y="53"/>
                  </a:cubicBezTo>
                  <a:cubicBezTo>
                    <a:pt x="12" y="72"/>
                    <a:pt x="12" y="72"/>
                    <a:pt x="12" y="72"/>
                  </a:cubicBezTo>
                  <a:cubicBezTo>
                    <a:pt x="30" y="72"/>
                    <a:pt x="30" y="72"/>
                    <a:pt x="30" y="72"/>
                  </a:cubicBezTo>
                  <a:cubicBezTo>
                    <a:pt x="33" y="72"/>
                    <a:pt x="36" y="75"/>
                    <a:pt x="36" y="78"/>
                  </a:cubicBezTo>
                  <a:cubicBezTo>
                    <a:pt x="36" y="246"/>
                    <a:pt x="36" y="246"/>
                    <a:pt x="36" y="246"/>
                  </a:cubicBezTo>
                  <a:cubicBezTo>
                    <a:pt x="36" y="250"/>
                    <a:pt x="33" y="252"/>
                    <a:pt x="30" y="252"/>
                  </a:cubicBezTo>
                  <a:cubicBezTo>
                    <a:pt x="27" y="252"/>
                    <a:pt x="24" y="250"/>
                    <a:pt x="24" y="246"/>
                  </a:cubicBezTo>
                  <a:cubicBezTo>
                    <a:pt x="24" y="84"/>
                    <a:pt x="24" y="84"/>
                    <a:pt x="24" y="84"/>
                  </a:cubicBezTo>
                  <a:cubicBezTo>
                    <a:pt x="6" y="84"/>
                    <a:pt x="6" y="84"/>
                    <a:pt x="6" y="84"/>
                  </a:cubicBezTo>
                  <a:cubicBezTo>
                    <a:pt x="3" y="84"/>
                    <a:pt x="0" y="82"/>
                    <a:pt x="0" y="78"/>
                  </a:cubicBezTo>
                  <a:cubicBezTo>
                    <a:pt x="0" y="48"/>
                    <a:pt x="0" y="48"/>
                    <a:pt x="0" y="48"/>
                  </a:cubicBezTo>
                  <a:cubicBezTo>
                    <a:pt x="0" y="46"/>
                    <a:pt x="2" y="43"/>
                    <a:pt x="4" y="43"/>
                  </a:cubicBezTo>
                  <a:cubicBezTo>
                    <a:pt x="142" y="1"/>
                    <a:pt x="142" y="1"/>
                    <a:pt x="142" y="1"/>
                  </a:cubicBezTo>
                  <a:cubicBezTo>
                    <a:pt x="143" y="0"/>
                    <a:pt x="145" y="0"/>
                    <a:pt x="146" y="1"/>
                  </a:cubicBezTo>
                  <a:cubicBezTo>
                    <a:pt x="272" y="43"/>
                    <a:pt x="272" y="43"/>
                    <a:pt x="272" y="43"/>
                  </a:cubicBezTo>
                  <a:cubicBezTo>
                    <a:pt x="274" y="44"/>
                    <a:pt x="276" y="46"/>
                    <a:pt x="276" y="48"/>
                  </a:cubicBezTo>
                  <a:cubicBezTo>
                    <a:pt x="276" y="78"/>
                    <a:pt x="276" y="78"/>
                    <a:pt x="276" y="78"/>
                  </a:cubicBezTo>
                  <a:cubicBezTo>
                    <a:pt x="276" y="82"/>
                    <a:pt x="273" y="84"/>
                    <a:pt x="270" y="84"/>
                  </a:cubicBezTo>
                  <a:cubicBezTo>
                    <a:pt x="252" y="84"/>
                    <a:pt x="252" y="84"/>
                    <a:pt x="252" y="84"/>
                  </a:cubicBezTo>
                  <a:cubicBezTo>
                    <a:pt x="252" y="246"/>
                    <a:pt x="252" y="246"/>
                    <a:pt x="252" y="246"/>
                  </a:cubicBezTo>
                  <a:cubicBezTo>
                    <a:pt x="252" y="250"/>
                    <a:pt x="249" y="252"/>
                    <a:pt x="246"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5" name="Freeform 121">
              <a:extLst>
                <a:ext uri="{FF2B5EF4-FFF2-40B4-BE49-F238E27FC236}">
                  <a16:creationId xmlns:a16="http://schemas.microsoft.com/office/drawing/2014/main" id="{5B3129D8-3D98-4B25-9214-BB89DD990FD2}"/>
                </a:ext>
              </a:extLst>
            </p:cNvPr>
            <p:cNvSpPr>
              <a:spLocks/>
            </p:cNvSpPr>
            <p:nvPr/>
          </p:nvSpPr>
          <p:spPr bwMode="auto">
            <a:xfrm>
              <a:off x="1603" y="2004"/>
              <a:ext cx="349" cy="18"/>
            </a:xfrm>
            <a:custGeom>
              <a:avLst/>
              <a:gdLst>
                <a:gd name="T0" fmla="*/ 222 w 228"/>
                <a:gd name="T1" fmla="*/ 12 h 12"/>
                <a:gd name="T2" fmla="*/ 6 w 228"/>
                <a:gd name="T3" fmla="*/ 12 h 12"/>
                <a:gd name="T4" fmla="*/ 0 w 228"/>
                <a:gd name="T5" fmla="*/ 6 h 12"/>
                <a:gd name="T6" fmla="*/ 6 w 228"/>
                <a:gd name="T7" fmla="*/ 0 h 12"/>
                <a:gd name="T8" fmla="*/ 222 w 228"/>
                <a:gd name="T9" fmla="*/ 0 h 12"/>
                <a:gd name="T10" fmla="*/ 228 w 228"/>
                <a:gd name="T11" fmla="*/ 6 h 12"/>
                <a:gd name="T12" fmla="*/ 222 w 22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28" h="12">
                  <a:moveTo>
                    <a:pt x="222" y="12"/>
                  </a:moveTo>
                  <a:cubicBezTo>
                    <a:pt x="6" y="12"/>
                    <a:pt x="6" y="12"/>
                    <a:pt x="6" y="12"/>
                  </a:cubicBezTo>
                  <a:cubicBezTo>
                    <a:pt x="2" y="12"/>
                    <a:pt x="0" y="10"/>
                    <a:pt x="0" y="6"/>
                  </a:cubicBezTo>
                  <a:cubicBezTo>
                    <a:pt x="0" y="3"/>
                    <a:pt x="2" y="0"/>
                    <a:pt x="6" y="0"/>
                  </a:cubicBezTo>
                  <a:cubicBezTo>
                    <a:pt x="222" y="0"/>
                    <a:pt x="222" y="0"/>
                    <a:pt x="222" y="0"/>
                  </a:cubicBezTo>
                  <a:cubicBezTo>
                    <a:pt x="225" y="0"/>
                    <a:pt x="228" y="3"/>
                    <a:pt x="228" y="6"/>
                  </a:cubicBezTo>
                  <a:cubicBezTo>
                    <a:pt x="228" y="10"/>
                    <a:pt x="225" y="12"/>
                    <a:pt x="2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6" name="Freeform 122">
              <a:extLst>
                <a:ext uri="{FF2B5EF4-FFF2-40B4-BE49-F238E27FC236}">
                  <a16:creationId xmlns:a16="http://schemas.microsoft.com/office/drawing/2014/main" id="{4F14946E-ECCB-4E25-9F83-AA02B04C7D1F}"/>
                </a:ext>
              </a:extLst>
            </p:cNvPr>
            <p:cNvSpPr>
              <a:spLocks noEditPoints="1"/>
            </p:cNvSpPr>
            <p:nvPr/>
          </p:nvSpPr>
          <p:spPr bwMode="auto">
            <a:xfrm>
              <a:off x="1637" y="2147"/>
              <a:ext cx="147" cy="126"/>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7" name="Freeform 123">
              <a:extLst>
                <a:ext uri="{FF2B5EF4-FFF2-40B4-BE49-F238E27FC236}">
                  <a16:creationId xmlns:a16="http://schemas.microsoft.com/office/drawing/2014/main" id="{871D8337-3E7E-4786-BF68-F2511E65355D}"/>
                </a:ext>
              </a:extLst>
            </p:cNvPr>
            <p:cNvSpPr>
              <a:spLocks noEditPoints="1"/>
            </p:cNvSpPr>
            <p:nvPr/>
          </p:nvSpPr>
          <p:spPr bwMode="auto">
            <a:xfrm>
              <a:off x="1765" y="2147"/>
              <a:ext cx="148" cy="126"/>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8" name="Freeform 124">
              <a:extLst>
                <a:ext uri="{FF2B5EF4-FFF2-40B4-BE49-F238E27FC236}">
                  <a16:creationId xmlns:a16="http://schemas.microsoft.com/office/drawing/2014/main" id="{6659B9C6-7AD0-40BB-A884-DE3B9EB24DD6}"/>
                </a:ext>
              </a:extLst>
            </p:cNvPr>
            <p:cNvSpPr>
              <a:spLocks noEditPoints="1"/>
            </p:cNvSpPr>
            <p:nvPr/>
          </p:nvSpPr>
          <p:spPr bwMode="auto">
            <a:xfrm>
              <a:off x="1692" y="2040"/>
              <a:ext cx="147" cy="125"/>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9" name="Freeform 125">
              <a:extLst>
                <a:ext uri="{FF2B5EF4-FFF2-40B4-BE49-F238E27FC236}">
                  <a16:creationId xmlns:a16="http://schemas.microsoft.com/office/drawing/2014/main" id="{48200C7C-1EDD-46FE-9EDB-CEC41A12C1D8}"/>
                </a:ext>
              </a:extLst>
            </p:cNvPr>
            <p:cNvSpPr>
              <a:spLocks noEditPoints="1"/>
            </p:cNvSpPr>
            <p:nvPr/>
          </p:nvSpPr>
          <p:spPr bwMode="auto">
            <a:xfrm>
              <a:off x="1729" y="2040"/>
              <a:ext cx="73"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70" name="Freeform 126">
              <a:extLst>
                <a:ext uri="{FF2B5EF4-FFF2-40B4-BE49-F238E27FC236}">
                  <a16:creationId xmlns:a16="http://schemas.microsoft.com/office/drawing/2014/main" id="{F5F7442A-7785-4E50-8EE7-A99ED301B248}"/>
                </a:ext>
              </a:extLst>
            </p:cNvPr>
            <p:cNvSpPr>
              <a:spLocks noEditPoints="1"/>
            </p:cNvSpPr>
            <p:nvPr/>
          </p:nvSpPr>
          <p:spPr bwMode="auto">
            <a:xfrm>
              <a:off x="1673" y="2147"/>
              <a:ext cx="74"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71" name="Freeform 127">
              <a:extLst>
                <a:ext uri="{FF2B5EF4-FFF2-40B4-BE49-F238E27FC236}">
                  <a16:creationId xmlns:a16="http://schemas.microsoft.com/office/drawing/2014/main" id="{54305D6B-2AF3-40AB-8F35-DB684CF5020D}"/>
                </a:ext>
              </a:extLst>
            </p:cNvPr>
            <p:cNvSpPr>
              <a:spLocks noEditPoints="1"/>
            </p:cNvSpPr>
            <p:nvPr/>
          </p:nvSpPr>
          <p:spPr bwMode="auto">
            <a:xfrm>
              <a:off x="1802" y="2147"/>
              <a:ext cx="74"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372" name="Database_EFC7" title="Icon of a cylinder">
            <a:extLst>
              <a:ext uri="{FF2B5EF4-FFF2-40B4-BE49-F238E27FC236}">
                <a16:creationId xmlns:a16="http://schemas.microsoft.com/office/drawing/2014/main" id="{E8DB0D55-A60C-49E3-A5A5-3DBD262C7AB2}"/>
              </a:ext>
            </a:extLst>
          </p:cNvPr>
          <p:cNvSpPr>
            <a:spLocks noChangeAspect="1" noEditPoints="1"/>
          </p:cNvSpPr>
          <p:nvPr/>
        </p:nvSpPr>
        <p:spPr bwMode="auto">
          <a:xfrm>
            <a:off x="10108643" y="5524814"/>
            <a:ext cx="261262" cy="3395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73" name="Group 85">
            <a:extLst>
              <a:ext uri="{FF2B5EF4-FFF2-40B4-BE49-F238E27FC236}">
                <a16:creationId xmlns:a16="http://schemas.microsoft.com/office/drawing/2014/main" id="{7819659C-3D69-4210-ADD9-D975D394611F}"/>
              </a:ext>
            </a:extLst>
          </p:cNvPr>
          <p:cNvGrpSpPr>
            <a:grpSpLocks noChangeAspect="1"/>
          </p:cNvGrpSpPr>
          <p:nvPr/>
        </p:nvGrpSpPr>
        <p:grpSpPr bwMode="auto">
          <a:xfrm>
            <a:off x="9818097" y="2323602"/>
            <a:ext cx="455796" cy="449077"/>
            <a:chOff x="353" y="1720"/>
            <a:chExt cx="407" cy="401"/>
          </a:xfrm>
          <a:solidFill>
            <a:schemeClr val="tx1"/>
          </a:solidFill>
        </p:grpSpPr>
        <p:sp>
          <p:nvSpPr>
            <p:cNvPr id="374" name="Freeform 86">
              <a:extLst>
                <a:ext uri="{FF2B5EF4-FFF2-40B4-BE49-F238E27FC236}">
                  <a16:creationId xmlns:a16="http://schemas.microsoft.com/office/drawing/2014/main" id="{0075FE55-6FB2-4782-8500-C944E4818A6F}"/>
                </a:ext>
              </a:extLst>
            </p:cNvPr>
            <p:cNvSpPr>
              <a:spLocks noEditPoints="1"/>
            </p:cNvSpPr>
            <p:nvPr/>
          </p:nvSpPr>
          <p:spPr bwMode="auto">
            <a:xfrm>
              <a:off x="421" y="1798"/>
              <a:ext cx="285" cy="284"/>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50"/>
                    <a:pt x="12" y="96"/>
                  </a:cubicBezTo>
                  <a:cubicBezTo>
                    <a:pt x="12" y="142"/>
                    <a:pt x="50"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5" name="Freeform 87">
              <a:extLst>
                <a:ext uri="{FF2B5EF4-FFF2-40B4-BE49-F238E27FC236}">
                  <a16:creationId xmlns:a16="http://schemas.microsoft.com/office/drawing/2014/main" id="{C195F8A8-352B-4EFF-BF92-104CA890F5F9}"/>
                </a:ext>
              </a:extLst>
            </p:cNvPr>
            <p:cNvSpPr>
              <a:spLocks/>
            </p:cNvSpPr>
            <p:nvPr/>
          </p:nvSpPr>
          <p:spPr bwMode="auto">
            <a:xfrm>
              <a:off x="353" y="1720"/>
              <a:ext cx="407" cy="401"/>
            </a:xfrm>
            <a:custGeom>
              <a:avLst/>
              <a:gdLst>
                <a:gd name="T0" fmla="*/ 34 w 275"/>
                <a:gd name="T1" fmla="*/ 271 h 271"/>
                <a:gd name="T2" fmla="*/ 19 w 275"/>
                <a:gd name="T3" fmla="*/ 266 h 271"/>
                <a:gd name="T4" fmla="*/ 52 w 275"/>
                <a:gd name="T5" fmla="*/ 173 h 271"/>
                <a:gd name="T6" fmla="*/ 61 w 275"/>
                <a:gd name="T7" fmla="*/ 181 h 271"/>
                <a:gd name="T8" fmla="*/ 27 w 275"/>
                <a:gd name="T9" fmla="*/ 257 h 271"/>
                <a:gd name="T10" fmla="*/ 167 w 275"/>
                <a:gd name="T11" fmla="*/ 168 h 271"/>
                <a:gd name="T12" fmla="*/ 242 w 275"/>
                <a:gd name="T13" fmla="*/ 77 h 271"/>
                <a:gd name="T14" fmla="*/ 256 w 275"/>
                <a:gd name="T15" fmla="*/ 28 h 271"/>
                <a:gd name="T16" fmla="*/ 172 w 275"/>
                <a:gd name="T17" fmla="*/ 68 h 271"/>
                <a:gd name="T18" fmla="*/ 165 w 275"/>
                <a:gd name="T19" fmla="*/ 58 h 271"/>
                <a:gd name="T20" fmla="*/ 265 w 275"/>
                <a:gd name="T21" fmla="*/ 20 h 271"/>
                <a:gd name="T22" fmla="*/ 252 w 275"/>
                <a:gd name="T23" fmla="*/ 83 h 271"/>
                <a:gd name="T24" fmla="*/ 176 w 275"/>
                <a:gd name="T25" fmla="*/ 177 h 271"/>
                <a:gd name="T26" fmla="*/ 34 w 27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71">
                  <a:moveTo>
                    <a:pt x="34" y="271"/>
                  </a:moveTo>
                  <a:cubicBezTo>
                    <a:pt x="28" y="271"/>
                    <a:pt x="23" y="270"/>
                    <a:pt x="19" y="266"/>
                  </a:cubicBezTo>
                  <a:cubicBezTo>
                    <a:pt x="0" y="247"/>
                    <a:pt x="36" y="195"/>
                    <a:pt x="52" y="173"/>
                  </a:cubicBezTo>
                  <a:cubicBezTo>
                    <a:pt x="61" y="181"/>
                    <a:pt x="61" y="181"/>
                    <a:pt x="61" y="181"/>
                  </a:cubicBezTo>
                  <a:cubicBezTo>
                    <a:pt x="27" y="227"/>
                    <a:pt x="22" y="252"/>
                    <a:pt x="27" y="257"/>
                  </a:cubicBezTo>
                  <a:cubicBezTo>
                    <a:pt x="38" y="268"/>
                    <a:pt x="96" y="239"/>
                    <a:pt x="167" y="168"/>
                  </a:cubicBezTo>
                  <a:cubicBezTo>
                    <a:pt x="199" y="137"/>
                    <a:pt x="225" y="104"/>
                    <a:pt x="242" y="77"/>
                  </a:cubicBezTo>
                  <a:cubicBezTo>
                    <a:pt x="259" y="48"/>
                    <a:pt x="261" y="32"/>
                    <a:pt x="256" y="28"/>
                  </a:cubicBezTo>
                  <a:cubicBezTo>
                    <a:pt x="251" y="23"/>
                    <a:pt x="223" y="28"/>
                    <a:pt x="172" y="68"/>
                  </a:cubicBezTo>
                  <a:cubicBezTo>
                    <a:pt x="165" y="58"/>
                    <a:pt x="165" y="58"/>
                    <a:pt x="165" y="58"/>
                  </a:cubicBezTo>
                  <a:cubicBezTo>
                    <a:pt x="188" y="40"/>
                    <a:pt x="245" y="0"/>
                    <a:pt x="265" y="20"/>
                  </a:cubicBezTo>
                  <a:cubicBezTo>
                    <a:pt x="275" y="30"/>
                    <a:pt x="271" y="51"/>
                    <a:pt x="252" y="83"/>
                  </a:cubicBezTo>
                  <a:cubicBezTo>
                    <a:pt x="235" y="111"/>
                    <a:pt x="208" y="145"/>
                    <a:pt x="176" y="177"/>
                  </a:cubicBezTo>
                  <a:cubicBezTo>
                    <a:pt x="125" y="228"/>
                    <a:pt x="65" y="271"/>
                    <a:pt x="34"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6" name="Freeform 88">
              <a:extLst>
                <a:ext uri="{FF2B5EF4-FFF2-40B4-BE49-F238E27FC236}">
                  <a16:creationId xmlns:a16="http://schemas.microsoft.com/office/drawing/2014/main" id="{B8235141-567A-44CF-ADBA-E651FA0A4AB4}"/>
                </a:ext>
              </a:extLst>
            </p:cNvPr>
            <p:cNvSpPr>
              <a:spLocks/>
            </p:cNvSpPr>
            <p:nvPr/>
          </p:nvSpPr>
          <p:spPr bwMode="auto">
            <a:xfrm>
              <a:off x="482" y="1800"/>
              <a:ext cx="90" cy="78"/>
            </a:xfrm>
            <a:custGeom>
              <a:avLst/>
              <a:gdLst>
                <a:gd name="T0" fmla="*/ 31 w 61"/>
                <a:gd name="T1" fmla="*/ 53 h 53"/>
                <a:gd name="T2" fmla="*/ 8 w 61"/>
                <a:gd name="T3" fmla="*/ 43 h 53"/>
                <a:gd name="T4" fmla="*/ 1 w 61"/>
                <a:gd name="T5" fmla="*/ 18 h 53"/>
                <a:gd name="T6" fmla="*/ 13 w 61"/>
                <a:gd name="T7" fmla="*/ 19 h 53"/>
                <a:gd name="T8" fmla="*/ 17 w 61"/>
                <a:gd name="T9" fmla="*/ 35 h 53"/>
                <a:gd name="T10" fmla="*/ 31 w 61"/>
                <a:gd name="T11" fmla="*/ 41 h 53"/>
                <a:gd name="T12" fmla="*/ 49 w 61"/>
                <a:gd name="T13" fmla="*/ 23 h 53"/>
                <a:gd name="T14" fmla="*/ 43 w 61"/>
                <a:gd name="T15" fmla="*/ 9 h 53"/>
                <a:gd name="T16" fmla="*/ 51 w 61"/>
                <a:gd name="T17" fmla="*/ 0 h 53"/>
                <a:gd name="T18" fmla="*/ 61 w 61"/>
                <a:gd name="T19" fmla="*/ 23 h 53"/>
                <a:gd name="T20" fmla="*/ 31 w 61"/>
                <a:gd name="T21"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53">
                  <a:moveTo>
                    <a:pt x="31" y="53"/>
                  </a:moveTo>
                  <a:cubicBezTo>
                    <a:pt x="22" y="53"/>
                    <a:pt x="13" y="49"/>
                    <a:pt x="8" y="43"/>
                  </a:cubicBezTo>
                  <a:cubicBezTo>
                    <a:pt x="4" y="39"/>
                    <a:pt x="0" y="31"/>
                    <a:pt x="1" y="18"/>
                  </a:cubicBezTo>
                  <a:cubicBezTo>
                    <a:pt x="13" y="19"/>
                    <a:pt x="13" y="19"/>
                    <a:pt x="13" y="19"/>
                  </a:cubicBezTo>
                  <a:cubicBezTo>
                    <a:pt x="12" y="26"/>
                    <a:pt x="13" y="31"/>
                    <a:pt x="17" y="35"/>
                  </a:cubicBezTo>
                  <a:cubicBezTo>
                    <a:pt x="20" y="39"/>
                    <a:pt x="25" y="41"/>
                    <a:pt x="31" y="41"/>
                  </a:cubicBezTo>
                  <a:cubicBezTo>
                    <a:pt x="41" y="41"/>
                    <a:pt x="49" y="33"/>
                    <a:pt x="49" y="23"/>
                  </a:cubicBezTo>
                  <a:cubicBezTo>
                    <a:pt x="49" y="18"/>
                    <a:pt x="47" y="13"/>
                    <a:pt x="43" y="9"/>
                  </a:cubicBezTo>
                  <a:cubicBezTo>
                    <a:pt x="51" y="0"/>
                    <a:pt x="51" y="0"/>
                    <a:pt x="51" y="0"/>
                  </a:cubicBezTo>
                  <a:cubicBezTo>
                    <a:pt x="57" y="6"/>
                    <a:pt x="61" y="14"/>
                    <a:pt x="61" y="23"/>
                  </a:cubicBezTo>
                  <a:cubicBezTo>
                    <a:pt x="61" y="39"/>
                    <a:pt x="47" y="53"/>
                    <a:pt x="31"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7" name="Freeform 89">
              <a:extLst>
                <a:ext uri="{FF2B5EF4-FFF2-40B4-BE49-F238E27FC236}">
                  <a16:creationId xmlns:a16="http://schemas.microsoft.com/office/drawing/2014/main" id="{26699552-7D41-4A0D-8088-C4FCF2E26082}"/>
                </a:ext>
              </a:extLst>
            </p:cNvPr>
            <p:cNvSpPr>
              <a:spLocks noEditPoints="1"/>
            </p:cNvSpPr>
            <p:nvPr/>
          </p:nvSpPr>
          <p:spPr bwMode="auto">
            <a:xfrm>
              <a:off x="466" y="1914"/>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8" name="Oval 90">
              <a:extLst>
                <a:ext uri="{FF2B5EF4-FFF2-40B4-BE49-F238E27FC236}">
                  <a16:creationId xmlns:a16="http://schemas.microsoft.com/office/drawing/2014/main" id="{530A2193-EC23-4550-A837-F7FBB1A138EA}"/>
                </a:ext>
              </a:extLst>
            </p:cNvPr>
            <p:cNvSpPr>
              <a:spLocks noChangeArrowheads="1"/>
            </p:cNvSpPr>
            <p:nvPr/>
          </p:nvSpPr>
          <p:spPr bwMode="auto">
            <a:xfrm>
              <a:off x="581" y="1869"/>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sp>
        <p:nvSpPr>
          <p:cNvPr id="11" name="TextBox 10">
            <a:extLst>
              <a:ext uri="{FF2B5EF4-FFF2-40B4-BE49-F238E27FC236}">
                <a16:creationId xmlns:a16="http://schemas.microsoft.com/office/drawing/2014/main" id="{A215CCE1-5F27-4BF3-8FAB-53ADAA04E1E6}"/>
              </a:ext>
            </a:extLst>
          </p:cNvPr>
          <p:cNvSpPr txBox="1"/>
          <p:nvPr/>
        </p:nvSpPr>
        <p:spPr>
          <a:xfrm>
            <a:off x="9966960" y="5535974"/>
            <a:ext cx="662682" cy="420115"/>
          </a:xfrm>
          <a:prstGeom prst="rect">
            <a:avLst/>
          </a:prstGeom>
          <a:noFill/>
        </p:spPr>
        <p:txBody>
          <a:bodyPr wrap="square" lIns="182880" tIns="146304" rIns="182880" bIns="146304" rtlCol="0">
            <a:spAutoFit/>
          </a:bodyPr>
          <a:lstStyle/>
          <a:p>
            <a:pPr>
              <a:lnSpc>
                <a:spcPct val="90000"/>
              </a:lnSpc>
              <a:spcAft>
                <a:spcPts val="600"/>
              </a:spcAft>
            </a:pPr>
            <a:r>
              <a:rPr lang="en-IN" sz="900" b="1" dirty="0">
                <a:gradFill>
                  <a:gsLst>
                    <a:gs pos="2917">
                      <a:schemeClr val="tx1"/>
                    </a:gs>
                    <a:gs pos="30000">
                      <a:schemeClr val="tx1"/>
                    </a:gs>
                  </a:gsLst>
                  <a:lin ang="5400000" scaled="0"/>
                </a:gradFill>
                <a:latin typeface="Arial Narrow" panose="020B0606020202030204" pitchFamily="34" charset="0"/>
              </a:rPr>
              <a:t>SQL</a:t>
            </a:r>
          </a:p>
        </p:txBody>
      </p:sp>
      <p:pic>
        <p:nvPicPr>
          <p:cNvPr id="258" name="Picture 257">
            <a:extLst>
              <a:ext uri="{FF2B5EF4-FFF2-40B4-BE49-F238E27FC236}">
                <a16:creationId xmlns:a16="http://schemas.microsoft.com/office/drawing/2014/main" id="{F5CBD819-7A7B-436E-95AF-49BFC6BC82DE}"/>
              </a:ext>
            </a:extLst>
          </p:cNvPr>
          <p:cNvPicPr>
            <a:picLocks noChangeAspect="1"/>
          </p:cNvPicPr>
          <p:nvPr/>
        </p:nvPicPr>
        <p:blipFill>
          <a:blip r:embed="rId6"/>
          <a:stretch>
            <a:fillRect/>
          </a:stretch>
        </p:blipFill>
        <p:spPr>
          <a:xfrm>
            <a:off x="7895532" y="3720540"/>
            <a:ext cx="412492" cy="372493"/>
          </a:xfrm>
          <a:prstGeom prst="rect">
            <a:avLst/>
          </a:prstGeom>
        </p:spPr>
      </p:pic>
    </p:spTree>
    <p:extLst>
      <p:ext uri="{BB962C8B-B14F-4D97-AF65-F5344CB8AC3E}">
        <p14:creationId xmlns:p14="http://schemas.microsoft.com/office/powerpoint/2010/main" val="18432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eft Brace 12">
            <a:extLst>
              <a:ext uri="{FF2B5EF4-FFF2-40B4-BE49-F238E27FC236}">
                <a16:creationId xmlns:a16="http://schemas.microsoft.com/office/drawing/2014/main" id="{F279BD4E-4B4E-43F1-9B09-872E7635C00E}"/>
              </a:ext>
            </a:extLst>
          </p:cNvPr>
          <p:cNvSpPr/>
          <p:nvPr/>
        </p:nvSpPr>
        <p:spPr>
          <a:xfrm rot="5400000">
            <a:off x="5808250" y="-2235281"/>
            <a:ext cx="468002" cy="9071619"/>
          </a:xfrm>
          <a:prstGeom prst="leftBrace">
            <a:avLst>
              <a:gd name="adj1" fmla="val 28801"/>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92" name="Rectangle: Rounded Corners 91">
            <a:extLst>
              <a:ext uri="{FF2B5EF4-FFF2-40B4-BE49-F238E27FC236}">
                <a16:creationId xmlns:a16="http://schemas.microsoft.com/office/drawing/2014/main" id="{6BD3919E-5EBB-4368-8D92-8797A7FEC3BA}"/>
              </a:ext>
            </a:extLst>
          </p:cNvPr>
          <p:cNvSpPr/>
          <p:nvPr/>
        </p:nvSpPr>
        <p:spPr bwMode="auto">
          <a:xfrm>
            <a:off x="4650037" y="1407288"/>
            <a:ext cx="2889150" cy="597564"/>
          </a:xfrm>
          <a:prstGeom prst="round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880BFB3D-3868-4E08-A840-805F774FE7EC}"/>
              </a:ext>
            </a:extLst>
          </p:cNvPr>
          <p:cNvSpPr/>
          <p:nvPr/>
        </p:nvSpPr>
        <p:spPr bwMode="auto">
          <a:xfrm>
            <a:off x="4924627" y="1510142"/>
            <a:ext cx="234274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grpSp>
        <p:nvGrpSpPr>
          <p:cNvPr id="7" name="Group 6">
            <a:extLst>
              <a:ext uri="{FF2B5EF4-FFF2-40B4-BE49-F238E27FC236}">
                <a16:creationId xmlns:a16="http://schemas.microsoft.com/office/drawing/2014/main" id="{FE214AD6-9D35-45C8-B2EE-BD47C23A4632}"/>
              </a:ext>
            </a:extLst>
          </p:cNvPr>
          <p:cNvGrpSpPr/>
          <p:nvPr/>
        </p:nvGrpSpPr>
        <p:grpSpPr>
          <a:xfrm>
            <a:off x="4236414" y="3601305"/>
            <a:ext cx="337796" cy="221908"/>
            <a:chOff x="4159928" y="3773636"/>
            <a:chExt cx="355843" cy="233764"/>
          </a:xfrm>
        </p:grpSpPr>
        <p:sp>
          <p:nvSpPr>
            <p:cNvPr id="270" name="Freeform: Shape 269">
              <a:extLst>
                <a:ext uri="{FF2B5EF4-FFF2-40B4-BE49-F238E27FC236}">
                  <a16:creationId xmlns:a16="http://schemas.microsoft.com/office/drawing/2014/main" id="{67A4D1D4-BC2F-4957-9E59-75C7EC737CFD}"/>
                </a:ext>
              </a:extLst>
            </p:cNvPr>
            <p:cNvSpPr/>
            <p:nvPr/>
          </p:nvSpPr>
          <p:spPr>
            <a:xfrm>
              <a:off x="4159928" y="3880130"/>
              <a:ext cx="337663"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1" name="Freeform: Shape 270">
              <a:extLst>
                <a:ext uri="{FF2B5EF4-FFF2-40B4-BE49-F238E27FC236}">
                  <a16:creationId xmlns:a16="http://schemas.microsoft.com/office/drawing/2014/main" id="{37B301BB-85C7-400F-B4BE-B392EBBE16F9}"/>
                </a:ext>
              </a:extLst>
            </p:cNvPr>
            <p:cNvSpPr/>
            <p:nvPr/>
          </p:nvSpPr>
          <p:spPr>
            <a:xfrm>
              <a:off x="4385902" y="3773636"/>
              <a:ext cx="129869"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746460C-5E31-4B6E-AC7C-94A5AEE9920B}"/>
              </a:ext>
            </a:extLst>
          </p:cNvPr>
          <p:cNvGrpSpPr/>
          <p:nvPr/>
        </p:nvGrpSpPr>
        <p:grpSpPr>
          <a:xfrm>
            <a:off x="7515442" y="3601305"/>
            <a:ext cx="337796" cy="221908"/>
            <a:chOff x="7614143" y="3773636"/>
            <a:chExt cx="355843" cy="233764"/>
          </a:xfrm>
        </p:grpSpPr>
        <p:sp>
          <p:nvSpPr>
            <p:cNvPr id="273" name="Freeform: Shape 272">
              <a:extLst>
                <a:ext uri="{FF2B5EF4-FFF2-40B4-BE49-F238E27FC236}">
                  <a16:creationId xmlns:a16="http://schemas.microsoft.com/office/drawing/2014/main" id="{FDB3AFD8-1D2F-4F70-BB91-C2206291C517}"/>
                </a:ext>
              </a:extLst>
            </p:cNvPr>
            <p:cNvSpPr/>
            <p:nvPr/>
          </p:nvSpPr>
          <p:spPr>
            <a:xfrm>
              <a:off x="7614143" y="3880130"/>
              <a:ext cx="337665"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5649D5DC-1E77-4C8D-A0C9-B8DCE17E2F5D}"/>
                </a:ext>
              </a:extLst>
            </p:cNvPr>
            <p:cNvSpPr/>
            <p:nvPr/>
          </p:nvSpPr>
          <p:spPr>
            <a:xfrm>
              <a:off x="7840116" y="3773636"/>
              <a:ext cx="129870"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C60694A7-1A78-4889-A026-C01FC7AE2743}"/>
              </a:ext>
            </a:extLst>
          </p:cNvPr>
          <p:cNvGrpSpPr/>
          <p:nvPr/>
        </p:nvGrpSpPr>
        <p:grpSpPr>
          <a:xfrm>
            <a:off x="1073150" y="2754955"/>
            <a:ext cx="3385296" cy="2393544"/>
            <a:chOff x="1073150" y="3221680"/>
            <a:chExt cx="3385296" cy="2393544"/>
          </a:xfrm>
        </p:grpSpPr>
        <p:grpSp>
          <p:nvGrpSpPr>
            <p:cNvPr id="17" name="Group 16">
              <a:extLst>
                <a:ext uri="{FF2B5EF4-FFF2-40B4-BE49-F238E27FC236}">
                  <a16:creationId xmlns:a16="http://schemas.microsoft.com/office/drawing/2014/main" id="{109199F5-14AC-4C88-8B24-2F2794433DD6}"/>
                </a:ext>
              </a:extLst>
            </p:cNvPr>
            <p:cNvGrpSpPr/>
            <p:nvPr/>
          </p:nvGrpSpPr>
          <p:grpSpPr>
            <a:xfrm>
              <a:off x="1736455" y="3587275"/>
              <a:ext cx="469853" cy="1145586"/>
              <a:chOff x="1761319" y="3591343"/>
              <a:chExt cx="460820" cy="1123562"/>
            </a:xfrm>
          </p:grpSpPr>
          <p:sp>
            <p:nvSpPr>
              <p:cNvPr id="349" name="Oval 300">
                <a:extLst>
                  <a:ext uri="{FF2B5EF4-FFF2-40B4-BE49-F238E27FC236}">
                    <a16:creationId xmlns:a16="http://schemas.microsoft.com/office/drawing/2014/main" id="{53134C15-2071-4EEE-B494-86C3BB10D1D8}"/>
                  </a:ext>
                </a:extLst>
              </p:cNvPr>
              <p:cNvSpPr/>
              <p:nvPr/>
            </p:nvSpPr>
            <p:spPr bwMode="auto">
              <a:xfrm>
                <a:off x="2156518" y="432064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Oval 300">
                <a:extLst>
                  <a:ext uri="{FF2B5EF4-FFF2-40B4-BE49-F238E27FC236}">
                    <a16:creationId xmlns:a16="http://schemas.microsoft.com/office/drawing/2014/main" id="{66BC5BCF-5479-4C2C-8AC6-B439D0F188E4}"/>
                  </a:ext>
                </a:extLst>
              </p:cNvPr>
              <p:cNvSpPr/>
              <p:nvPr/>
            </p:nvSpPr>
            <p:spPr bwMode="auto">
              <a:xfrm>
                <a:off x="2061425" y="416936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Oval 300">
                <a:extLst>
                  <a:ext uri="{FF2B5EF4-FFF2-40B4-BE49-F238E27FC236}">
                    <a16:creationId xmlns:a16="http://schemas.microsoft.com/office/drawing/2014/main" id="{0DB4FB9E-4B7A-4DA5-ABBB-0ABDE984C708}"/>
                  </a:ext>
                </a:extLst>
              </p:cNvPr>
              <p:cNvSpPr/>
              <p:nvPr/>
            </p:nvSpPr>
            <p:spPr bwMode="auto">
              <a:xfrm>
                <a:off x="1885260" y="4304558"/>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Oval 300">
                <a:extLst>
                  <a:ext uri="{FF2B5EF4-FFF2-40B4-BE49-F238E27FC236}">
                    <a16:creationId xmlns:a16="http://schemas.microsoft.com/office/drawing/2014/main" id="{1FF97ADA-DB4A-4DF5-8570-1512634A0BCB}"/>
                  </a:ext>
                </a:extLst>
              </p:cNvPr>
              <p:cNvSpPr/>
              <p:nvPr/>
            </p:nvSpPr>
            <p:spPr bwMode="auto">
              <a:xfrm>
                <a:off x="2175653" y="399836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00">
                <a:extLst>
                  <a:ext uri="{FF2B5EF4-FFF2-40B4-BE49-F238E27FC236}">
                    <a16:creationId xmlns:a16="http://schemas.microsoft.com/office/drawing/2014/main" id="{4BF080EC-C6E0-49D0-BB29-4CC4EEFD3136}"/>
                  </a:ext>
                </a:extLst>
              </p:cNvPr>
              <p:cNvSpPr/>
              <p:nvPr/>
            </p:nvSpPr>
            <p:spPr bwMode="auto">
              <a:xfrm>
                <a:off x="1997785" y="39604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00">
                <a:extLst>
                  <a:ext uri="{FF2B5EF4-FFF2-40B4-BE49-F238E27FC236}">
                    <a16:creationId xmlns:a16="http://schemas.microsoft.com/office/drawing/2014/main" id="{02E4276C-37B7-4B05-AE75-98D23B5F2D7E}"/>
                  </a:ext>
                </a:extLst>
              </p:cNvPr>
              <p:cNvSpPr/>
              <p:nvPr/>
            </p:nvSpPr>
            <p:spPr bwMode="auto">
              <a:xfrm>
                <a:off x="1786201" y="35913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Oval 300">
                <a:extLst>
                  <a:ext uri="{FF2B5EF4-FFF2-40B4-BE49-F238E27FC236}">
                    <a16:creationId xmlns:a16="http://schemas.microsoft.com/office/drawing/2014/main" id="{03785315-A486-40BC-B40B-0A2DE183F92E}"/>
                  </a:ext>
                </a:extLst>
              </p:cNvPr>
              <p:cNvSpPr/>
              <p:nvPr/>
            </p:nvSpPr>
            <p:spPr bwMode="auto">
              <a:xfrm>
                <a:off x="1864345" y="39117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Oval 300">
                <a:extLst>
                  <a:ext uri="{FF2B5EF4-FFF2-40B4-BE49-F238E27FC236}">
                    <a16:creationId xmlns:a16="http://schemas.microsoft.com/office/drawing/2014/main" id="{C5CF6D55-1DDA-4ADB-984B-B053212FD738}"/>
                  </a:ext>
                </a:extLst>
              </p:cNvPr>
              <p:cNvSpPr/>
              <p:nvPr/>
            </p:nvSpPr>
            <p:spPr bwMode="auto">
              <a:xfrm>
                <a:off x="1801313" y="407834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Oval 300">
                <a:extLst>
                  <a:ext uri="{FF2B5EF4-FFF2-40B4-BE49-F238E27FC236}">
                    <a16:creationId xmlns:a16="http://schemas.microsoft.com/office/drawing/2014/main" id="{2EE5E7E0-FEC4-4AE1-87DE-2DD2B545A9D3}"/>
                  </a:ext>
                </a:extLst>
              </p:cNvPr>
              <p:cNvSpPr/>
              <p:nvPr/>
            </p:nvSpPr>
            <p:spPr bwMode="auto">
              <a:xfrm>
                <a:off x="1761319" y="463292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Oval 300">
                <a:extLst>
                  <a:ext uri="{FF2B5EF4-FFF2-40B4-BE49-F238E27FC236}">
                    <a16:creationId xmlns:a16="http://schemas.microsoft.com/office/drawing/2014/main" id="{BF6C2DD9-1581-4B0A-9514-9E4D9A3A62E1}"/>
                  </a:ext>
                </a:extLst>
              </p:cNvPr>
              <p:cNvSpPr/>
              <p:nvPr/>
            </p:nvSpPr>
            <p:spPr bwMode="auto">
              <a:xfrm>
                <a:off x="1962496" y="44948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Freeform: Shape 389">
                <a:extLst>
                  <a:ext uri="{FF2B5EF4-FFF2-40B4-BE49-F238E27FC236}">
                    <a16:creationId xmlns:a16="http://schemas.microsoft.com/office/drawing/2014/main" id="{156E1F84-AA01-48F2-A290-FEE943C6BDA4}"/>
                  </a:ext>
                </a:extLst>
              </p:cNvPr>
              <p:cNvSpPr/>
              <p:nvPr/>
            </p:nvSpPr>
            <p:spPr bwMode="auto">
              <a:xfrm>
                <a:off x="1904121" y="370018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EFDD48F4-3194-440C-BE68-A0B1A6AAC0E0}"/>
                  </a:ext>
                </a:extLst>
              </p:cNvPr>
              <p:cNvSpPr/>
              <p:nvPr/>
            </p:nvSpPr>
            <p:spPr bwMode="auto">
              <a:xfrm>
                <a:off x="1784774" y="3771839"/>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7AD0F2FA-4320-4DE1-9C03-A4A2745C1047}"/>
                  </a:ext>
                </a:extLst>
              </p:cNvPr>
              <p:cNvSpPr/>
              <p:nvPr/>
            </p:nvSpPr>
            <p:spPr bwMode="auto">
              <a:xfrm>
                <a:off x="2023480" y="376460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A792D3A7-7E5E-4924-869A-7AAD5B430C8B}"/>
                  </a:ext>
                </a:extLst>
              </p:cNvPr>
              <p:cNvSpPr/>
              <p:nvPr/>
            </p:nvSpPr>
            <p:spPr bwMode="auto">
              <a:xfrm>
                <a:off x="2105084" y="3899047"/>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9274025C-73BE-493B-8134-FE8826E322E8}"/>
                  </a:ext>
                </a:extLst>
              </p:cNvPr>
              <p:cNvSpPr/>
              <p:nvPr/>
            </p:nvSpPr>
            <p:spPr bwMode="auto">
              <a:xfrm>
                <a:off x="1955017" y="4132003"/>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313ABEAD-F8C9-43B1-80EB-EC6B294E5D48}"/>
                  </a:ext>
                </a:extLst>
              </p:cNvPr>
              <p:cNvSpPr/>
              <p:nvPr/>
            </p:nvSpPr>
            <p:spPr bwMode="auto">
              <a:xfrm>
                <a:off x="2185782" y="415740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0D69487B-B824-4B92-A70B-3B16D62FE8B2}"/>
                  </a:ext>
                </a:extLst>
              </p:cNvPr>
              <p:cNvSpPr/>
              <p:nvPr/>
            </p:nvSpPr>
            <p:spPr bwMode="auto">
              <a:xfrm>
                <a:off x="1766690" y="432158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7CD76E8C-244D-4680-B3B7-3341C9C97516}"/>
                  </a:ext>
                </a:extLst>
              </p:cNvPr>
              <p:cNvSpPr/>
              <p:nvPr/>
            </p:nvSpPr>
            <p:spPr bwMode="auto">
              <a:xfrm>
                <a:off x="1842970" y="449850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2C468543-0ED3-45B7-84AF-3069255E7FA7}"/>
                  </a:ext>
                </a:extLst>
              </p:cNvPr>
              <p:cNvSpPr/>
              <p:nvPr/>
            </p:nvSpPr>
            <p:spPr bwMode="auto">
              <a:xfrm>
                <a:off x="2027142" y="438309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A222EA8-2986-41B5-A06F-A32978F37F9D}"/>
                </a:ext>
              </a:extLst>
            </p:cNvPr>
            <p:cNvGrpSpPr/>
            <p:nvPr/>
          </p:nvGrpSpPr>
          <p:grpSpPr>
            <a:xfrm>
              <a:off x="3156497" y="4210538"/>
              <a:ext cx="763754" cy="795226"/>
              <a:chOff x="3156497" y="4210538"/>
              <a:chExt cx="736444" cy="766791"/>
            </a:xfrm>
          </p:grpSpPr>
          <p:sp>
            <p:nvSpPr>
              <p:cNvPr id="328" name="Rectangle 327">
                <a:extLst>
                  <a:ext uri="{FF2B5EF4-FFF2-40B4-BE49-F238E27FC236}">
                    <a16:creationId xmlns:a16="http://schemas.microsoft.com/office/drawing/2014/main" id="{029DCBF2-38FE-4C6F-99CE-312FC1A412CE}"/>
                  </a:ext>
                </a:extLst>
              </p:cNvPr>
              <p:cNvSpPr/>
              <p:nvPr/>
            </p:nvSpPr>
            <p:spPr bwMode="auto">
              <a:xfrm>
                <a:off x="3717250" y="4347440"/>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29" name="Rectangle 328">
                <a:extLst>
                  <a:ext uri="{FF2B5EF4-FFF2-40B4-BE49-F238E27FC236}">
                    <a16:creationId xmlns:a16="http://schemas.microsoft.com/office/drawing/2014/main" id="{CEB91D2C-7C4E-4F3A-8FF7-F4B08259FB44}"/>
                  </a:ext>
                </a:extLst>
              </p:cNvPr>
              <p:cNvSpPr/>
              <p:nvPr/>
            </p:nvSpPr>
            <p:spPr bwMode="auto">
              <a:xfrm>
                <a:off x="3205159"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0" name="Rectangle 329">
                <a:extLst>
                  <a:ext uri="{FF2B5EF4-FFF2-40B4-BE49-F238E27FC236}">
                    <a16:creationId xmlns:a16="http://schemas.microsoft.com/office/drawing/2014/main" id="{38B797F6-8C03-461B-A6A8-27A741B0DD43}"/>
                  </a:ext>
                </a:extLst>
              </p:cNvPr>
              <p:cNvSpPr/>
              <p:nvPr/>
            </p:nvSpPr>
            <p:spPr bwMode="auto">
              <a:xfrm>
                <a:off x="3456086"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1" name="Rectangle 330">
                <a:extLst>
                  <a:ext uri="{FF2B5EF4-FFF2-40B4-BE49-F238E27FC236}">
                    <a16:creationId xmlns:a16="http://schemas.microsoft.com/office/drawing/2014/main" id="{CD981001-8D11-4C15-BCCF-2D9DF23F8625}"/>
                  </a:ext>
                </a:extLst>
              </p:cNvPr>
              <p:cNvSpPr/>
              <p:nvPr/>
            </p:nvSpPr>
            <p:spPr bwMode="auto">
              <a:xfrm>
                <a:off x="3717250"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2" name="Rectangle 331">
                <a:extLst>
                  <a:ext uri="{FF2B5EF4-FFF2-40B4-BE49-F238E27FC236}">
                    <a16:creationId xmlns:a16="http://schemas.microsoft.com/office/drawing/2014/main" id="{ED7E230C-91E0-4ABD-8D27-4D433B9FAB18}"/>
                  </a:ext>
                </a:extLst>
              </p:cNvPr>
              <p:cNvSpPr/>
              <p:nvPr/>
            </p:nvSpPr>
            <p:spPr bwMode="auto">
              <a:xfrm>
                <a:off x="3205159"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3" name="Rectangle 332">
                <a:extLst>
                  <a:ext uri="{FF2B5EF4-FFF2-40B4-BE49-F238E27FC236}">
                    <a16:creationId xmlns:a16="http://schemas.microsoft.com/office/drawing/2014/main" id="{752F4F4E-F0C6-4254-BB5D-5614892F3EE5}"/>
                  </a:ext>
                </a:extLst>
              </p:cNvPr>
              <p:cNvSpPr/>
              <p:nvPr/>
            </p:nvSpPr>
            <p:spPr bwMode="auto">
              <a:xfrm>
                <a:off x="3456086"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4" name="Rectangle 333">
                <a:extLst>
                  <a:ext uri="{FF2B5EF4-FFF2-40B4-BE49-F238E27FC236}">
                    <a16:creationId xmlns:a16="http://schemas.microsoft.com/office/drawing/2014/main" id="{4E3FEEA3-5228-4860-B6E3-CFC539530148}"/>
                  </a:ext>
                </a:extLst>
              </p:cNvPr>
              <p:cNvSpPr/>
              <p:nvPr/>
            </p:nvSpPr>
            <p:spPr bwMode="auto">
              <a:xfrm>
                <a:off x="3717250"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8" name="Rectangle 137">
                <a:extLst>
                  <a:ext uri="{FF2B5EF4-FFF2-40B4-BE49-F238E27FC236}">
                    <a16:creationId xmlns:a16="http://schemas.microsoft.com/office/drawing/2014/main" id="{9364D741-14EE-4BB1-86E1-093136CD1380}"/>
                  </a:ext>
                </a:extLst>
              </p:cNvPr>
              <p:cNvSpPr/>
              <p:nvPr/>
            </p:nvSpPr>
            <p:spPr bwMode="auto">
              <a:xfrm>
                <a:off x="3458090" y="4347440"/>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2" name="Rectangle 151">
                <a:extLst>
                  <a:ext uri="{FF2B5EF4-FFF2-40B4-BE49-F238E27FC236}">
                    <a16:creationId xmlns:a16="http://schemas.microsoft.com/office/drawing/2014/main" id="{8D575F69-5D87-4FE4-A62C-4F9311281170}"/>
                  </a:ext>
                </a:extLst>
              </p:cNvPr>
              <p:cNvSpPr/>
              <p:nvPr/>
            </p:nvSpPr>
            <p:spPr bwMode="auto">
              <a:xfrm rot="19800000">
                <a:off x="3156497" y="42105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02" name="Funnel" title="Icon of a funnel">
              <a:extLst>
                <a:ext uri="{FF2B5EF4-FFF2-40B4-BE49-F238E27FC236}">
                  <a16:creationId xmlns:a16="http://schemas.microsoft.com/office/drawing/2014/main" id="{785999CA-C52C-4AB8-8987-29FCB6D0C3C7}"/>
                </a:ext>
              </a:extLst>
            </p:cNvPr>
            <p:cNvSpPr>
              <a:spLocks noChangeAspect="1"/>
            </p:cNvSpPr>
            <p:nvPr/>
          </p:nvSpPr>
          <p:spPr bwMode="auto">
            <a:xfrm rot="16200000">
              <a:off x="2125107" y="3797146"/>
              <a:ext cx="1146699" cy="777461"/>
            </a:xfrm>
            <a:custGeom>
              <a:avLst/>
              <a:gdLst>
                <a:gd name="T0" fmla="*/ 0 w 598"/>
                <a:gd name="T1" fmla="*/ 0 h 517"/>
                <a:gd name="T2" fmla="*/ 598 w 598"/>
                <a:gd name="T3" fmla="*/ 0 h 517"/>
                <a:gd name="T4" fmla="*/ 598 w 598"/>
                <a:gd name="T5" fmla="*/ 40 h 517"/>
                <a:gd name="T6" fmla="*/ 358 w 598"/>
                <a:gd name="T7" fmla="*/ 276 h 517"/>
                <a:gd name="T8" fmla="*/ 358 w 598"/>
                <a:gd name="T9" fmla="*/ 517 h 517"/>
                <a:gd name="T10" fmla="*/ 236 w 598"/>
                <a:gd name="T11" fmla="*/ 517 h 517"/>
                <a:gd name="T12" fmla="*/ 236 w 598"/>
                <a:gd name="T13" fmla="*/ 274 h 517"/>
                <a:gd name="T14" fmla="*/ 0 w 598"/>
                <a:gd name="T15" fmla="*/ 43 h 517"/>
                <a:gd name="T16" fmla="*/ 0 w 598"/>
                <a:gd name="T17" fmla="*/ 0 h 517"/>
                <a:gd name="connsiteX0" fmla="*/ 5987 w 10000"/>
                <a:gd name="connsiteY0" fmla="*/ 10000 h 11747"/>
                <a:gd name="connsiteX1" fmla="*/ 3946 w 10000"/>
                <a:gd name="connsiteY1" fmla="*/ 10000 h 11747"/>
                <a:gd name="connsiteX2" fmla="*/ 3946 w 10000"/>
                <a:gd name="connsiteY2" fmla="*/ 5300 h 11747"/>
                <a:gd name="connsiteX3" fmla="*/ 0 w 10000"/>
                <a:gd name="connsiteY3" fmla="*/ 832 h 11747"/>
                <a:gd name="connsiteX4" fmla="*/ 0 w 10000"/>
                <a:gd name="connsiteY4" fmla="*/ 0 h 11747"/>
                <a:gd name="connsiteX5" fmla="*/ 10000 w 10000"/>
                <a:gd name="connsiteY5" fmla="*/ 0 h 11747"/>
                <a:gd name="connsiteX6" fmla="*/ 10000 w 10000"/>
                <a:gd name="connsiteY6" fmla="*/ 774 h 11747"/>
                <a:gd name="connsiteX7" fmla="*/ 5987 w 10000"/>
                <a:gd name="connsiteY7" fmla="*/ 5338 h 11747"/>
                <a:gd name="connsiteX8" fmla="*/ 7498 w 10000"/>
                <a:gd name="connsiteY8" fmla="*/ 11747 h 11747"/>
                <a:gd name="connsiteX0" fmla="*/ 3946 w 10000"/>
                <a:gd name="connsiteY0" fmla="*/ 10000 h 11747"/>
                <a:gd name="connsiteX1" fmla="*/ 3946 w 10000"/>
                <a:gd name="connsiteY1" fmla="*/ 5300 h 11747"/>
                <a:gd name="connsiteX2" fmla="*/ 0 w 10000"/>
                <a:gd name="connsiteY2" fmla="*/ 832 h 11747"/>
                <a:gd name="connsiteX3" fmla="*/ 0 w 10000"/>
                <a:gd name="connsiteY3" fmla="*/ 0 h 11747"/>
                <a:gd name="connsiteX4" fmla="*/ 10000 w 10000"/>
                <a:gd name="connsiteY4" fmla="*/ 0 h 11747"/>
                <a:gd name="connsiteX5" fmla="*/ 10000 w 10000"/>
                <a:gd name="connsiteY5" fmla="*/ 774 h 11747"/>
                <a:gd name="connsiteX6" fmla="*/ 5987 w 10000"/>
                <a:gd name="connsiteY6" fmla="*/ 5338 h 11747"/>
                <a:gd name="connsiteX7" fmla="*/ 7498 w 10000"/>
                <a:gd name="connsiteY7" fmla="*/ 11747 h 11747"/>
                <a:gd name="connsiteX0" fmla="*/ 3946 w 10000"/>
                <a:gd name="connsiteY0" fmla="*/ 1000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8739"/>
                <a:gd name="connsiteX1" fmla="*/ 3946 w 10000"/>
                <a:gd name="connsiteY1" fmla="*/ 5300 h 8739"/>
                <a:gd name="connsiteX2" fmla="*/ 0 w 10000"/>
                <a:gd name="connsiteY2" fmla="*/ 832 h 8739"/>
                <a:gd name="connsiteX3" fmla="*/ 0 w 10000"/>
                <a:gd name="connsiteY3" fmla="*/ 0 h 8739"/>
                <a:gd name="connsiteX4" fmla="*/ 10000 w 10000"/>
                <a:gd name="connsiteY4" fmla="*/ 0 h 8739"/>
                <a:gd name="connsiteX5" fmla="*/ 10000 w 10000"/>
                <a:gd name="connsiteY5" fmla="*/ 774 h 8739"/>
                <a:gd name="connsiteX6" fmla="*/ 5987 w 10000"/>
                <a:gd name="connsiteY6" fmla="*/ 5338 h 8739"/>
                <a:gd name="connsiteX7" fmla="*/ 6004 w 10000"/>
                <a:gd name="connsiteY7" fmla="*/ 8739 h 8739"/>
                <a:gd name="connsiteX0" fmla="*/ 3946 w 10000"/>
                <a:gd name="connsiteY0" fmla="*/ 9978 h 9978"/>
                <a:gd name="connsiteX1" fmla="*/ 3946 w 10000"/>
                <a:gd name="connsiteY1" fmla="*/ 6065 h 9978"/>
                <a:gd name="connsiteX2" fmla="*/ 0 w 10000"/>
                <a:gd name="connsiteY2" fmla="*/ 952 h 9978"/>
                <a:gd name="connsiteX3" fmla="*/ 0 w 10000"/>
                <a:gd name="connsiteY3" fmla="*/ 0 h 9978"/>
                <a:gd name="connsiteX4" fmla="*/ 10000 w 10000"/>
                <a:gd name="connsiteY4" fmla="*/ 0 h 9978"/>
                <a:gd name="connsiteX5" fmla="*/ 10000 w 10000"/>
                <a:gd name="connsiteY5" fmla="*/ 886 h 9978"/>
                <a:gd name="connsiteX6" fmla="*/ 5987 w 10000"/>
                <a:gd name="connsiteY6" fmla="*/ 6108 h 9978"/>
                <a:gd name="connsiteX7" fmla="*/ 6057 w 10000"/>
                <a:gd name="connsiteY7" fmla="*/ 9052 h 9978"/>
                <a:gd name="connsiteX0" fmla="*/ 3946 w 10000"/>
                <a:gd name="connsiteY0" fmla="*/ 10000 h 10000"/>
                <a:gd name="connsiteX1" fmla="*/ 3946 w 10000"/>
                <a:gd name="connsiteY1" fmla="*/ 6078 h 10000"/>
                <a:gd name="connsiteX2" fmla="*/ 0 w 10000"/>
                <a:gd name="connsiteY2" fmla="*/ 954 h 10000"/>
                <a:gd name="connsiteX3" fmla="*/ 0 w 10000"/>
                <a:gd name="connsiteY3" fmla="*/ 0 h 10000"/>
                <a:gd name="connsiteX4" fmla="*/ 10000 w 10000"/>
                <a:gd name="connsiteY4" fmla="*/ 0 h 10000"/>
                <a:gd name="connsiteX5" fmla="*/ 10000 w 10000"/>
                <a:gd name="connsiteY5" fmla="*/ 888 h 10000"/>
                <a:gd name="connsiteX6" fmla="*/ 5987 w 10000"/>
                <a:gd name="connsiteY6" fmla="*/ 6121 h 10000"/>
                <a:gd name="connsiteX7" fmla="*/ 6004 w 10000"/>
                <a:gd name="connsiteY7" fmla="*/ 9072 h 10000"/>
                <a:gd name="connsiteX0" fmla="*/ 3946 w 10000"/>
                <a:gd name="connsiteY0" fmla="*/ 8964 h 9072"/>
                <a:gd name="connsiteX1" fmla="*/ 3946 w 10000"/>
                <a:gd name="connsiteY1" fmla="*/ 6078 h 9072"/>
                <a:gd name="connsiteX2" fmla="*/ 0 w 10000"/>
                <a:gd name="connsiteY2" fmla="*/ 954 h 9072"/>
                <a:gd name="connsiteX3" fmla="*/ 0 w 10000"/>
                <a:gd name="connsiteY3" fmla="*/ 0 h 9072"/>
                <a:gd name="connsiteX4" fmla="*/ 10000 w 10000"/>
                <a:gd name="connsiteY4" fmla="*/ 0 h 9072"/>
                <a:gd name="connsiteX5" fmla="*/ 10000 w 10000"/>
                <a:gd name="connsiteY5" fmla="*/ 888 h 9072"/>
                <a:gd name="connsiteX6" fmla="*/ 5987 w 10000"/>
                <a:gd name="connsiteY6" fmla="*/ 6121 h 9072"/>
                <a:gd name="connsiteX7" fmla="*/ 6004 w 10000"/>
                <a:gd name="connsiteY7" fmla="*/ 9072 h 9072"/>
                <a:gd name="connsiteX0" fmla="*/ 3946 w 10000"/>
                <a:gd name="connsiteY0" fmla="*/ 9881 h 9881"/>
                <a:gd name="connsiteX1" fmla="*/ 3946 w 10000"/>
                <a:gd name="connsiteY1" fmla="*/ 6700 h 9881"/>
                <a:gd name="connsiteX2" fmla="*/ 0 w 10000"/>
                <a:gd name="connsiteY2" fmla="*/ 1052 h 9881"/>
                <a:gd name="connsiteX3" fmla="*/ 0 w 10000"/>
                <a:gd name="connsiteY3" fmla="*/ 0 h 9881"/>
                <a:gd name="connsiteX4" fmla="*/ 10000 w 10000"/>
                <a:gd name="connsiteY4" fmla="*/ 0 h 9881"/>
                <a:gd name="connsiteX5" fmla="*/ 10000 w 10000"/>
                <a:gd name="connsiteY5" fmla="*/ 979 h 9881"/>
                <a:gd name="connsiteX6" fmla="*/ 5987 w 10000"/>
                <a:gd name="connsiteY6" fmla="*/ 6747 h 9881"/>
                <a:gd name="connsiteX7" fmla="*/ 6004 w 10000"/>
                <a:gd name="connsiteY7" fmla="*/ 9810 h 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881">
                  <a:moveTo>
                    <a:pt x="3946" y="9881"/>
                  </a:moveTo>
                  <a:lnTo>
                    <a:pt x="3946" y="6700"/>
                  </a:lnTo>
                  <a:lnTo>
                    <a:pt x="0" y="1052"/>
                  </a:lnTo>
                  <a:lnTo>
                    <a:pt x="0" y="0"/>
                  </a:lnTo>
                  <a:lnTo>
                    <a:pt x="10000" y="0"/>
                  </a:lnTo>
                  <a:lnTo>
                    <a:pt x="10000" y="979"/>
                  </a:lnTo>
                  <a:lnTo>
                    <a:pt x="5987" y="6747"/>
                  </a:lnTo>
                  <a:cubicBezTo>
                    <a:pt x="5987" y="8711"/>
                    <a:pt x="6004" y="9810"/>
                    <a:pt x="6004" y="981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16" name="Straight Connector 15">
              <a:extLst>
                <a:ext uri="{FF2B5EF4-FFF2-40B4-BE49-F238E27FC236}">
                  <a16:creationId xmlns:a16="http://schemas.microsoft.com/office/drawing/2014/main" id="{963152C2-1F42-4A34-9CE4-5F7494FFC522}"/>
                </a:ext>
              </a:extLst>
            </p:cNvPr>
            <p:cNvCxnSpPr/>
            <p:nvPr/>
          </p:nvCxnSpPr>
          <p:spPr>
            <a:xfrm flipV="1">
              <a:off x="3087188" y="4077297"/>
              <a:ext cx="0" cy="232023"/>
            </a:xfrm>
            <a:prstGeom prst="line">
              <a:avLst/>
            </a:prstGeom>
            <a:noFill/>
            <a:ln w="19050" cap="flat" cmpd="sng" algn="ctr">
              <a:solidFill>
                <a:schemeClr val="tx1"/>
              </a:solidFill>
              <a:prstDash val="solid"/>
              <a:headEnd type="none"/>
              <a:tailEnd type="none"/>
            </a:ln>
            <a:effectLst/>
          </p:spPr>
        </p:cxnSp>
        <p:grpSp>
          <p:nvGrpSpPr>
            <p:cNvPr id="29" name="Group 28">
              <a:extLst>
                <a:ext uri="{FF2B5EF4-FFF2-40B4-BE49-F238E27FC236}">
                  <a16:creationId xmlns:a16="http://schemas.microsoft.com/office/drawing/2014/main" id="{108F2E96-2F23-4C73-93DD-DB97AC9E752D}"/>
                </a:ext>
              </a:extLst>
            </p:cNvPr>
            <p:cNvGrpSpPr/>
            <p:nvPr/>
          </p:nvGrpSpPr>
          <p:grpSpPr>
            <a:xfrm rot="18900000">
              <a:off x="2289928" y="3971889"/>
              <a:ext cx="480939" cy="446485"/>
              <a:chOff x="2374772" y="3965756"/>
              <a:chExt cx="351927" cy="326716"/>
            </a:xfrm>
          </p:grpSpPr>
          <p:sp>
            <p:nvSpPr>
              <p:cNvPr id="399" name="Freeform: Shape 398">
                <a:extLst>
                  <a:ext uri="{FF2B5EF4-FFF2-40B4-BE49-F238E27FC236}">
                    <a16:creationId xmlns:a16="http://schemas.microsoft.com/office/drawing/2014/main" id="{8E92F8F3-1BFE-47E4-98CA-9F55493D7237}"/>
                  </a:ext>
                </a:extLst>
              </p:cNvPr>
              <p:cNvSpPr/>
              <p:nvPr/>
            </p:nvSpPr>
            <p:spPr>
              <a:xfrm>
                <a:off x="2374772" y="4101704"/>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586260B-0201-4CC4-87ED-434A483AA63B}"/>
                  </a:ext>
                </a:extLst>
              </p:cNvPr>
              <p:cNvSpPr/>
              <p:nvPr/>
            </p:nvSpPr>
            <p:spPr>
              <a:xfrm>
                <a:off x="2490559" y="3965756"/>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95AB1766-43E9-4228-8085-85DB2BE56367}"/>
                  </a:ext>
                </a:extLst>
              </p:cNvPr>
              <p:cNvSpPr/>
              <p:nvPr/>
            </p:nvSpPr>
            <p:spPr>
              <a:xfrm>
                <a:off x="2554140" y="4124600"/>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304" name="Rectangle: Rounded Corners 303">
              <a:extLst>
                <a:ext uri="{FF2B5EF4-FFF2-40B4-BE49-F238E27FC236}">
                  <a16:creationId xmlns:a16="http://schemas.microsoft.com/office/drawing/2014/main" id="{FCE32FC3-2430-4FF6-A189-5123AAD6C9C1}"/>
                </a:ext>
              </a:extLst>
            </p:cNvPr>
            <p:cNvSpPr/>
            <p:nvPr/>
          </p:nvSpPr>
          <p:spPr bwMode="auto">
            <a:xfrm>
              <a:off x="1504352" y="3221680"/>
              <a:ext cx="2601859" cy="1914608"/>
            </a:xfrm>
            <a:prstGeom prst="roundRect">
              <a:avLst>
                <a:gd name="adj" fmla="val 424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EF758D34-A2D9-4C89-9CE1-A29468E2C2BC}"/>
                </a:ext>
              </a:extLst>
            </p:cNvPr>
            <p:cNvSpPr/>
            <p:nvPr/>
          </p:nvSpPr>
          <p:spPr>
            <a:xfrm>
              <a:off x="1073150" y="5393625"/>
              <a:ext cx="3385296" cy="221599"/>
            </a:xfrm>
            <a:prstGeom prst="rect">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lect and prepare data</a:t>
              </a:r>
            </a:p>
          </p:txBody>
        </p:sp>
      </p:grpSp>
      <p:grpSp>
        <p:nvGrpSpPr>
          <p:cNvPr id="23" name="Group 22">
            <a:extLst>
              <a:ext uri="{FF2B5EF4-FFF2-40B4-BE49-F238E27FC236}">
                <a16:creationId xmlns:a16="http://schemas.microsoft.com/office/drawing/2014/main" id="{9EDE20DE-373D-4D37-A186-02F22271FC73}"/>
              </a:ext>
            </a:extLst>
          </p:cNvPr>
          <p:cNvGrpSpPr/>
          <p:nvPr/>
        </p:nvGrpSpPr>
        <p:grpSpPr>
          <a:xfrm>
            <a:off x="4352178" y="2754955"/>
            <a:ext cx="3385296" cy="2393544"/>
            <a:chOff x="4352178" y="3221680"/>
            <a:chExt cx="3385296" cy="2393544"/>
          </a:xfrm>
        </p:grpSpPr>
        <p:sp>
          <p:nvSpPr>
            <p:cNvPr id="268" name="Freeform: Shape 267">
              <a:extLst>
                <a:ext uri="{FF2B5EF4-FFF2-40B4-BE49-F238E27FC236}">
                  <a16:creationId xmlns:a16="http://schemas.microsoft.com/office/drawing/2014/main" id="{8BB7E8D8-CCB5-4446-98B0-3F72653815CE}"/>
                </a:ext>
              </a:extLst>
            </p:cNvPr>
            <p:cNvSpPr/>
            <p:nvPr/>
          </p:nvSpPr>
          <p:spPr bwMode="auto">
            <a:xfrm>
              <a:off x="5004720" y="3411597"/>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4C93EC3C-407D-4D00-BF0A-D53503955B74}"/>
                </a:ext>
              </a:extLst>
            </p:cNvPr>
            <p:cNvGrpSpPr/>
            <p:nvPr/>
          </p:nvGrpSpPr>
          <p:grpSpPr>
            <a:xfrm>
              <a:off x="4991892" y="3526133"/>
              <a:ext cx="534075" cy="138231"/>
              <a:chOff x="4991892" y="3516708"/>
              <a:chExt cx="534075" cy="138231"/>
            </a:xfrm>
          </p:grpSpPr>
          <p:sp>
            <p:nvSpPr>
              <p:cNvPr id="267" name="Rectangle: Rounded Corners 266">
                <a:extLst>
                  <a:ext uri="{FF2B5EF4-FFF2-40B4-BE49-F238E27FC236}">
                    <a16:creationId xmlns:a16="http://schemas.microsoft.com/office/drawing/2014/main" id="{9F87E82D-9EB8-49A4-A5AE-CDCD1AB77919}"/>
                  </a:ext>
                </a:extLst>
              </p:cNvPr>
              <p:cNvSpPr/>
              <p:nvPr/>
            </p:nvSpPr>
            <p:spPr bwMode="auto">
              <a:xfrm>
                <a:off x="4991892" y="3516708"/>
                <a:ext cx="534075" cy="138231"/>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5" name="Oval 274">
                <a:extLst>
                  <a:ext uri="{FF2B5EF4-FFF2-40B4-BE49-F238E27FC236}">
                    <a16:creationId xmlns:a16="http://schemas.microsoft.com/office/drawing/2014/main" id="{8F287D2C-89F1-4591-9588-9E7DB44C1933}"/>
                  </a:ext>
                </a:extLst>
              </p:cNvPr>
              <p:cNvSpPr/>
              <p:nvPr/>
            </p:nvSpPr>
            <p:spPr bwMode="auto">
              <a:xfrm>
                <a:off x="5038362" y="3566450"/>
                <a:ext cx="46077" cy="46077"/>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88" name="Group 287">
              <a:extLst>
                <a:ext uri="{FF2B5EF4-FFF2-40B4-BE49-F238E27FC236}">
                  <a16:creationId xmlns:a16="http://schemas.microsoft.com/office/drawing/2014/main" id="{498408F9-07D3-4746-85C4-0BCE61AFEB52}"/>
                </a:ext>
              </a:extLst>
            </p:cNvPr>
            <p:cNvGrpSpPr/>
            <p:nvPr/>
          </p:nvGrpSpPr>
          <p:grpSpPr>
            <a:xfrm>
              <a:off x="4991892" y="3664364"/>
              <a:ext cx="534075" cy="138231"/>
              <a:chOff x="1459231" y="2186940"/>
              <a:chExt cx="2590800" cy="670560"/>
            </a:xfrm>
          </p:grpSpPr>
          <p:sp>
            <p:nvSpPr>
              <p:cNvPr id="296" name="Rectangle: Rounded Corners 295">
                <a:extLst>
                  <a:ext uri="{FF2B5EF4-FFF2-40B4-BE49-F238E27FC236}">
                    <a16:creationId xmlns:a16="http://schemas.microsoft.com/office/drawing/2014/main" id="{1E6DA46E-0134-45F9-9D0F-7D64AF07F810}"/>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Oval 296">
                <a:extLst>
                  <a:ext uri="{FF2B5EF4-FFF2-40B4-BE49-F238E27FC236}">
                    <a16:creationId xmlns:a16="http://schemas.microsoft.com/office/drawing/2014/main" id="{5D302A5C-6908-48D6-AED2-56F906156E3B}"/>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4AE103D1-E927-4C76-80BB-DBB662480383}"/>
                </a:ext>
              </a:extLst>
            </p:cNvPr>
            <p:cNvGrpSpPr/>
            <p:nvPr/>
          </p:nvGrpSpPr>
          <p:grpSpPr>
            <a:xfrm>
              <a:off x="4991892" y="3802595"/>
              <a:ext cx="534075" cy="138231"/>
              <a:chOff x="1459231" y="2186940"/>
              <a:chExt cx="2590800" cy="670560"/>
            </a:xfrm>
          </p:grpSpPr>
          <p:sp>
            <p:nvSpPr>
              <p:cNvPr id="290" name="Rectangle: Rounded Corners 289">
                <a:extLst>
                  <a:ext uri="{FF2B5EF4-FFF2-40B4-BE49-F238E27FC236}">
                    <a16:creationId xmlns:a16="http://schemas.microsoft.com/office/drawing/2014/main" id="{A10C727A-2D20-42F5-95A0-48F79C587558}"/>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Oval 290">
                <a:extLst>
                  <a:ext uri="{FF2B5EF4-FFF2-40B4-BE49-F238E27FC236}">
                    <a16:creationId xmlns:a16="http://schemas.microsoft.com/office/drawing/2014/main" id="{113FE343-77F0-4EBA-B90E-3174F4D5C621}"/>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35" name="Arrow: Bent 234">
              <a:extLst>
                <a:ext uri="{FF2B5EF4-FFF2-40B4-BE49-F238E27FC236}">
                  <a16:creationId xmlns:a16="http://schemas.microsoft.com/office/drawing/2014/main" id="{3041CD3D-7E05-42CC-A8B9-1CE735D55402}"/>
                </a:ext>
              </a:extLst>
            </p:cNvPr>
            <p:cNvSpPr/>
            <p:nvPr/>
          </p:nvSpPr>
          <p:spPr bwMode="auto">
            <a:xfrm rot="16200000">
              <a:off x="5266977" y="3980585"/>
              <a:ext cx="259319" cy="392595"/>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6" name="Arrow: Chevron 235">
              <a:extLst>
                <a:ext uri="{FF2B5EF4-FFF2-40B4-BE49-F238E27FC236}">
                  <a16:creationId xmlns:a16="http://schemas.microsoft.com/office/drawing/2014/main" id="{1AEB8995-6029-43BF-B7A3-CFC0B66ED5F7}"/>
                </a:ext>
              </a:extLst>
            </p:cNvPr>
            <p:cNvSpPr/>
            <p:nvPr/>
          </p:nvSpPr>
          <p:spPr bwMode="auto">
            <a:xfrm>
              <a:off x="5557899" y="4260419"/>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Arrow: Bent 236">
              <a:extLst>
                <a:ext uri="{FF2B5EF4-FFF2-40B4-BE49-F238E27FC236}">
                  <a16:creationId xmlns:a16="http://schemas.microsoft.com/office/drawing/2014/main" id="{2D2FECA5-6D7E-455A-80BC-1132D3E6D3E3}"/>
                </a:ext>
              </a:extLst>
            </p:cNvPr>
            <p:cNvSpPr/>
            <p:nvPr/>
          </p:nvSpPr>
          <p:spPr bwMode="auto">
            <a:xfrm rot="16200000">
              <a:off x="6318294" y="4577245"/>
              <a:ext cx="193190" cy="504422"/>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8" name="Arrow: Chevron 237">
              <a:extLst>
                <a:ext uri="{FF2B5EF4-FFF2-40B4-BE49-F238E27FC236}">
                  <a16:creationId xmlns:a16="http://schemas.microsoft.com/office/drawing/2014/main" id="{A51B0919-B067-434D-BCFB-39C36906C64A}"/>
                </a:ext>
              </a:extLst>
            </p:cNvPr>
            <p:cNvSpPr/>
            <p:nvPr/>
          </p:nvSpPr>
          <p:spPr bwMode="auto">
            <a:xfrm>
              <a:off x="6645551" y="4879508"/>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39" name="Group 238">
              <a:extLst>
                <a:ext uri="{FF2B5EF4-FFF2-40B4-BE49-F238E27FC236}">
                  <a16:creationId xmlns:a16="http://schemas.microsoft.com/office/drawing/2014/main" id="{39832C31-6105-4ABA-AAB8-3A1CF3C2204B}"/>
                </a:ext>
              </a:extLst>
            </p:cNvPr>
            <p:cNvGrpSpPr/>
            <p:nvPr/>
          </p:nvGrpSpPr>
          <p:grpSpPr>
            <a:xfrm rot="10800000">
              <a:off x="5600975" y="3636805"/>
              <a:ext cx="1342747" cy="816358"/>
              <a:chOff x="4939582" y="2502666"/>
              <a:chExt cx="1609732" cy="1044386"/>
            </a:xfrm>
          </p:grpSpPr>
          <p:sp>
            <p:nvSpPr>
              <p:cNvPr id="240" name="Arrow: Bent 239">
                <a:extLst>
                  <a:ext uri="{FF2B5EF4-FFF2-40B4-BE49-F238E27FC236}">
                    <a16:creationId xmlns:a16="http://schemas.microsoft.com/office/drawing/2014/main" id="{96835C78-A8D1-4339-BDE2-87C8CF3CBABD}"/>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1" name="Arrow: Chevron 240">
                <a:extLst>
                  <a:ext uri="{FF2B5EF4-FFF2-40B4-BE49-F238E27FC236}">
                    <a16:creationId xmlns:a16="http://schemas.microsoft.com/office/drawing/2014/main" id="{D2BC9386-67B2-4CB8-A5A0-92A826117844}"/>
                  </a:ext>
                </a:extLst>
              </p:cNvPr>
              <p:cNvSpPr/>
              <p:nvPr/>
            </p:nvSpPr>
            <p:spPr bwMode="auto">
              <a:xfrm>
                <a:off x="6503595" y="3448992"/>
                <a:ext cx="45719" cy="98060"/>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23C1E60D-2B13-493F-B6DF-31A92CA13B54}"/>
                </a:ext>
              </a:extLst>
            </p:cNvPr>
            <p:cNvGrpSpPr/>
            <p:nvPr/>
          </p:nvGrpSpPr>
          <p:grpSpPr>
            <a:xfrm>
              <a:off x="6773544" y="4510570"/>
              <a:ext cx="341208" cy="509838"/>
              <a:chOff x="16928640" y="5794182"/>
              <a:chExt cx="333504" cy="498326"/>
            </a:xfrm>
          </p:grpSpPr>
          <p:sp>
            <p:nvSpPr>
              <p:cNvPr id="161" name="Freeform: Shape 160">
                <a:extLst>
                  <a:ext uri="{FF2B5EF4-FFF2-40B4-BE49-F238E27FC236}">
                    <a16:creationId xmlns:a16="http://schemas.microsoft.com/office/drawing/2014/main" id="{5DF500AC-F6CF-4180-85A6-E1F2ADB562DC}"/>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162" name="Straight Connector 161">
                <a:extLst>
                  <a:ext uri="{FF2B5EF4-FFF2-40B4-BE49-F238E27FC236}">
                    <a16:creationId xmlns:a16="http://schemas.microsoft.com/office/drawing/2014/main" id="{6DCBEE34-7720-4EB4-84D8-5F7C2B39B297}"/>
                  </a:ext>
                </a:extLst>
              </p:cNvPr>
              <p:cNvCxnSpPr/>
              <p:nvPr/>
            </p:nvCxnSpPr>
            <p:spPr>
              <a:xfrm>
                <a:off x="17027338" y="6179152"/>
                <a:ext cx="142110" cy="0"/>
              </a:xfrm>
              <a:prstGeom prst="line">
                <a:avLst/>
              </a:prstGeom>
              <a:noFill/>
              <a:ln w="19050" cap="rnd" cmpd="sng" algn="ctr">
                <a:solidFill>
                  <a:schemeClr val="tx1"/>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9C9A7697-D085-4FAD-929E-1D63B6F575F9}"/>
                  </a:ext>
                </a:extLst>
              </p:cNvPr>
              <p:cNvCxnSpPr/>
              <p:nvPr/>
            </p:nvCxnSpPr>
            <p:spPr>
              <a:xfrm>
                <a:off x="17027338" y="6218937"/>
                <a:ext cx="142110" cy="0"/>
              </a:xfrm>
              <a:prstGeom prst="line">
                <a:avLst/>
              </a:prstGeom>
              <a:noFill/>
              <a:ln w="19050" cap="rnd" cmpd="sng" algn="ctr">
                <a:solidFill>
                  <a:schemeClr val="tx1"/>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DB67E7E1-C4DF-4703-877B-704B8AF3859D}"/>
                  </a:ext>
                </a:extLst>
              </p:cNvPr>
              <p:cNvCxnSpPr/>
              <p:nvPr/>
            </p:nvCxnSpPr>
            <p:spPr>
              <a:xfrm>
                <a:off x="17027338" y="6255640"/>
                <a:ext cx="142110" cy="0"/>
              </a:xfrm>
              <a:prstGeom prst="line">
                <a:avLst/>
              </a:prstGeom>
              <a:noFill/>
              <a:ln w="19050" cap="rnd" cmpd="sng" algn="ctr">
                <a:solidFill>
                  <a:schemeClr val="tx1"/>
                </a:solidFill>
                <a:prstDash val="solid"/>
                <a:headEnd type="none" w="med" len="med"/>
                <a:tailEnd type="none" w="med" len="med"/>
              </a:ln>
              <a:effectLst/>
            </p:spPr>
          </p:cxnSp>
          <p:cxnSp>
            <p:nvCxnSpPr>
              <p:cNvPr id="165" name="Straight Connector 164">
                <a:extLst>
                  <a:ext uri="{FF2B5EF4-FFF2-40B4-BE49-F238E27FC236}">
                    <a16:creationId xmlns:a16="http://schemas.microsoft.com/office/drawing/2014/main" id="{FE1329D3-8EA8-4901-AA2B-A69B6B456208}"/>
                  </a:ext>
                </a:extLst>
              </p:cNvPr>
              <p:cNvCxnSpPr/>
              <p:nvPr/>
            </p:nvCxnSpPr>
            <p:spPr>
              <a:xfrm>
                <a:off x="17070997" y="6292508"/>
                <a:ext cx="54790" cy="0"/>
              </a:xfrm>
              <a:prstGeom prst="line">
                <a:avLst/>
              </a:prstGeom>
              <a:noFill/>
              <a:ln w="19050" cap="rnd" cmpd="sng" algn="ctr">
                <a:solidFill>
                  <a:schemeClr val="tx1"/>
                </a:solidFill>
                <a:prstDash val="solid"/>
                <a:headEnd type="none" w="med" len="med"/>
                <a:tailEnd type="none" w="med" len="med"/>
              </a:ln>
              <a:effectLst/>
            </p:spPr>
          </p:cxnSp>
          <p:sp>
            <p:nvSpPr>
              <p:cNvPr id="166" name="Freeform: Shape 165">
                <a:extLst>
                  <a:ext uri="{FF2B5EF4-FFF2-40B4-BE49-F238E27FC236}">
                    <a16:creationId xmlns:a16="http://schemas.microsoft.com/office/drawing/2014/main" id="{64E3D6C0-606D-429A-A918-7FFF43FC0B4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1808815D-52D1-4C68-BFC0-40B33111EF30}"/>
                </a:ext>
              </a:extLst>
            </p:cNvPr>
            <p:cNvGrpSpPr/>
            <p:nvPr/>
          </p:nvGrpSpPr>
          <p:grpSpPr>
            <a:xfrm>
              <a:off x="5681754" y="3938906"/>
              <a:ext cx="746127" cy="740828"/>
              <a:chOff x="4083667" y="1605730"/>
              <a:chExt cx="4436878" cy="4405367"/>
            </a:xfrm>
          </p:grpSpPr>
          <p:grpSp>
            <p:nvGrpSpPr>
              <p:cNvPr id="144" name="Group 143">
                <a:extLst>
                  <a:ext uri="{FF2B5EF4-FFF2-40B4-BE49-F238E27FC236}">
                    <a16:creationId xmlns:a16="http://schemas.microsoft.com/office/drawing/2014/main" id="{CF8F4BE8-9263-4E67-915B-3C5BBFFB6626}"/>
                  </a:ext>
                </a:extLst>
              </p:cNvPr>
              <p:cNvGrpSpPr/>
              <p:nvPr/>
            </p:nvGrpSpPr>
            <p:grpSpPr>
              <a:xfrm>
                <a:off x="4083667" y="1605730"/>
                <a:ext cx="4436878" cy="4405367"/>
                <a:chOff x="5569928" y="3877460"/>
                <a:chExt cx="956602" cy="949809"/>
              </a:xfrm>
            </p:grpSpPr>
            <p:sp>
              <p:nvSpPr>
                <p:cNvPr id="186" name="Rectangle 185">
                  <a:extLst>
                    <a:ext uri="{FF2B5EF4-FFF2-40B4-BE49-F238E27FC236}">
                      <a16:creationId xmlns:a16="http://schemas.microsoft.com/office/drawing/2014/main" id="{DBCCEF3E-3034-46D0-AD0C-4DAB17968FE3}"/>
                    </a:ext>
                  </a:extLst>
                </p:cNvPr>
                <p:cNvSpPr/>
                <p:nvPr/>
              </p:nvSpPr>
              <p:spPr bwMode="auto">
                <a:xfrm>
                  <a:off x="5569928"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7" name="Rectangle 186">
                  <a:extLst>
                    <a:ext uri="{FF2B5EF4-FFF2-40B4-BE49-F238E27FC236}">
                      <a16:creationId xmlns:a16="http://schemas.microsoft.com/office/drawing/2014/main" id="{99F5273B-9D2F-4299-BFF4-44FD408F9061}"/>
                    </a:ext>
                  </a:extLst>
                </p:cNvPr>
                <p:cNvSpPr/>
                <p:nvPr/>
              </p:nvSpPr>
              <p:spPr bwMode="auto">
                <a:xfrm>
                  <a:off x="5898565"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8" name="Rectangle 187">
                  <a:extLst>
                    <a:ext uri="{FF2B5EF4-FFF2-40B4-BE49-F238E27FC236}">
                      <a16:creationId xmlns:a16="http://schemas.microsoft.com/office/drawing/2014/main" id="{3278E318-4BBF-44B2-9E7A-921E079B9A0D}"/>
                    </a:ext>
                  </a:extLst>
                </p:cNvPr>
                <p:cNvSpPr/>
                <p:nvPr/>
              </p:nvSpPr>
              <p:spPr bwMode="auto">
                <a:xfrm>
                  <a:off x="6242487"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9" name="Rectangle 188">
                  <a:extLst>
                    <a:ext uri="{FF2B5EF4-FFF2-40B4-BE49-F238E27FC236}">
                      <a16:creationId xmlns:a16="http://schemas.microsoft.com/office/drawing/2014/main" id="{D7CD25C7-C3D9-4EDA-B015-94E244272049}"/>
                    </a:ext>
                  </a:extLst>
                </p:cNvPr>
                <p:cNvSpPr/>
                <p:nvPr/>
              </p:nvSpPr>
              <p:spPr bwMode="auto">
                <a:xfrm>
                  <a:off x="556992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E1B83A8B-AF9C-4000-835D-775D4AB6DD73}"/>
                    </a:ext>
                  </a:extLst>
                </p:cNvPr>
                <p:cNvSpPr/>
                <p:nvPr/>
              </p:nvSpPr>
              <p:spPr bwMode="auto">
                <a:xfrm>
                  <a:off x="5898565" y="4207476"/>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Rectangle 190">
                  <a:extLst>
                    <a:ext uri="{FF2B5EF4-FFF2-40B4-BE49-F238E27FC236}">
                      <a16:creationId xmlns:a16="http://schemas.microsoft.com/office/drawing/2014/main" id="{675ED517-4320-410D-BB18-AE407592D8DA}"/>
                    </a:ext>
                  </a:extLst>
                </p:cNvPr>
                <p:cNvSpPr/>
                <p:nvPr/>
              </p:nvSpPr>
              <p:spPr bwMode="auto">
                <a:xfrm>
                  <a:off x="624248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Rectangle 191">
                  <a:extLst>
                    <a:ext uri="{FF2B5EF4-FFF2-40B4-BE49-F238E27FC236}">
                      <a16:creationId xmlns:a16="http://schemas.microsoft.com/office/drawing/2014/main" id="{C5628871-2678-4280-8965-B61282CF0F52}"/>
                    </a:ext>
                  </a:extLst>
                </p:cNvPr>
                <p:cNvSpPr/>
                <p:nvPr/>
              </p:nvSpPr>
              <p:spPr bwMode="auto">
                <a:xfrm>
                  <a:off x="556992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6E7ED892-31C3-4CC1-B5A0-0D1B278C677C}"/>
                    </a:ext>
                  </a:extLst>
                </p:cNvPr>
                <p:cNvSpPr/>
                <p:nvPr/>
              </p:nvSpPr>
              <p:spPr bwMode="auto">
                <a:xfrm>
                  <a:off x="5898565"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1929063B-18E1-46AC-8075-3B48905B981E}"/>
                    </a:ext>
                  </a:extLst>
                </p:cNvPr>
                <p:cNvSpPr/>
                <p:nvPr/>
              </p:nvSpPr>
              <p:spPr bwMode="auto">
                <a:xfrm>
                  <a:off x="624248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C35035FC-05CC-43EA-8384-D58B8F50BF49}"/>
                    </a:ext>
                  </a:extLst>
                </p:cNvPr>
                <p:cNvSpPr/>
                <p:nvPr/>
              </p:nvSpPr>
              <p:spPr bwMode="auto">
                <a:xfrm>
                  <a:off x="5840730" y="4152900"/>
                  <a:ext cx="685800" cy="674369"/>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96" name="Group 195">
                  <a:extLst>
                    <a:ext uri="{FF2B5EF4-FFF2-40B4-BE49-F238E27FC236}">
                      <a16:creationId xmlns:a16="http://schemas.microsoft.com/office/drawing/2014/main" id="{ABBA5E6C-C9A1-4383-9920-4E30CF652DEE}"/>
                    </a:ext>
                  </a:extLst>
                </p:cNvPr>
                <p:cNvGrpSpPr/>
                <p:nvPr/>
              </p:nvGrpSpPr>
              <p:grpSpPr>
                <a:xfrm>
                  <a:off x="6124197" y="4318516"/>
                  <a:ext cx="108973" cy="337516"/>
                  <a:chOff x="6124189" y="4318516"/>
                  <a:chExt cx="118300" cy="337516"/>
                </a:xfrm>
              </p:grpSpPr>
              <p:cxnSp>
                <p:nvCxnSpPr>
                  <p:cNvPr id="200" name="Straight Connector 199">
                    <a:extLst>
                      <a:ext uri="{FF2B5EF4-FFF2-40B4-BE49-F238E27FC236}">
                        <a16:creationId xmlns:a16="http://schemas.microsoft.com/office/drawing/2014/main" id="{2CF6C0D2-03C9-4006-A530-ECE44F0D7D1B}"/>
                      </a:ext>
                    </a:extLst>
                  </p:cNvPr>
                  <p:cNvCxnSpPr>
                    <a:cxnSpLocks/>
                    <a:stCxn id="190" idx="3"/>
                    <a:endCxn id="191" idx="1"/>
                  </p:cNvCxnSpPr>
                  <p:nvPr/>
                </p:nvCxnSpPr>
                <p:spPr>
                  <a:xfrm>
                    <a:off x="6124189" y="4318516"/>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201" name="Straight Connector 200">
                    <a:extLst>
                      <a:ext uri="{FF2B5EF4-FFF2-40B4-BE49-F238E27FC236}">
                        <a16:creationId xmlns:a16="http://schemas.microsoft.com/office/drawing/2014/main" id="{37DA67A8-8B05-45EE-A3BA-60524B42ACE9}"/>
                      </a:ext>
                    </a:extLst>
                  </p:cNvPr>
                  <p:cNvCxnSpPr>
                    <a:cxnSpLocks/>
                    <a:stCxn id="193" idx="3"/>
                    <a:endCxn id="194" idx="1"/>
                  </p:cNvCxnSpPr>
                  <p:nvPr/>
                </p:nvCxnSpPr>
                <p:spPr>
                  <a:xfrm>
                    <a:off x="6124189" y="4656032"/>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cxnSp>
              <p:nvCxnSpPr>
                <p:cNvPr id="197" name="Straight Connector 196">
                  <a:extLst>
                    <a:ext uri="{FF2B5EF4-FFF2-40B4-BE49-F238E27FC236}">
                      <a16:creationId xmlns:a16="http://schemas.microsoft.com/office/drawing/2014/main" id="{84BB9609-D7D4-4970-8CC6-15D6AB22E975}"/>
                    </a:ext>
                  </a:extLst>
                </p:cNvPr>
                <p:cNvCxnSpPr>
                  <a:cxnSpLocks/>
                  <a:stCxn id="190" idx="2"/>
                  <a:endCxn id="193" idx="0"/>
                </p:cNvCxnSpPr>
                <p:nvPr/>
              </p:nvCxnSpPr>
              <p:spPr>
                <a:xfrm>
                  <a:off x="6011377"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98" name="Straight Connector 197">
                  <a:extLst>
                    <a:ext uri="{FF2B5EF4-FFF2-40B4-BE49-F238E27FC236}">
                      <a16:creationId xmlns:a16="http://schemas.microsoft.com/office/drawing/2014/main" id="{1D2FDF99-3FCA-4759-A48C-C5E7D3BFCF1A}"/>
                    </a:ext>
                  </a:extLst>
                </p:cNvPr>
                <p:cNvCxnSpPr>
                  <a:cxnSpLocks/>
                </p:cNvCxnSpPr>
                <p:nvPr/>
              </p:nvCxnSpPr>
              <p:spPr>
                <a:xfrm>
                  <a:off x="6355299"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99" name="Straight Connector 198">
                  <a:extLst>
                    <a:ext uri="{FF2B5EF4-FFF2-40B4-BE49-F238E27FC236}">
                      <a16:creationId xmlns:a16="http://schemas.microsoft.com/office/drawing/2014/main" id="{9719EB41-67B9-4E95-B722-2598A9BE05CB}"/>
                    </a:ext>
                  </a:extLst>
                </p:cNvPr>
                <p:cNvCxnSpPr>
                  <a:cxnSpLocks/>
                </p:cNvCxnSpPr>
                <p:nvPr/>
              </p:nvCxnSpPr>
              <p:spPr>
                <a:xfrm flipH="1">
                  <a:off x="6126481" y="4429125"/>
                  <a:ext cx="110489" cy="11620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grpSp>
            <p:nvGrpSpPr>
              <p:cNvPr id="145" name="Group 144">
                <a:extLst>
                  <a:ext uri="{FF2B5EF4-FFF2-40B4-BE49-F238E27FC236}">
                    <a16:creationId xmlns:a16="http://schemas.microsoft.com/office/drawing/2014/main" id="{2B751192-83D6-4D6A-9CAA-7D86879ADEB4}"/>
                  </a:ext>
                </a:extLst>
              </p:cNvPr>
              <p:cNvGrpSpPr/>
              <p:nvPr/>
            </p:nvGrpSpPr>
            <p:grpSpPr>
              <a:xfrm>
                <a:off x="5703853" y="3200400"/>
                <a:ext cx="863303" cy="878977"/>
                <a:chOff x="5703853" y="3200400"/>
                <a:chExt cx="863303" cy="878977"/>
              </a:xfrm>
            </p:grpSpPr>
            <p:cxnSp>
              <p:nvCxnSpPr>
                <p:cNvPr id="172" name="Straight Connector 171">
                  <a:extLst>
                    <a:ext uri="{FF2B5EF4-FFF2-40B4-BE49-F238E27FC236}">
                      <a16:creationId xmlns:a16="http://schemas.microsoft.com/office/drawing/2014/main" id="{3A3F5701-EA58-4F6A-A8BD-5B146AAE909D}"/>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73" name="Straight Connector 172">
                  <a:extLst>
                    <a:ext uri="{FF2B5EF4-FFF2-40B4-BE49-F238E27FC236}">
                      <a16:creationId xmlns:a16="http://schemas.microsoft.com/office/drawing/2014/main" id="{DEB57506-AE76-49FE-89C8-B405BCF8DD4D}"/>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74" name="Straight Connector 173">
                  <a:extLst>
                    <a:ext uri="{FF2B5EF4-FFF2-40B4-BE49-F238E27FC236}">
                      <a16:creationId xmlns:a16="http://schemas.microsoft.com/office/drawing/2014/main" id="{BB4D4E59-B243-47E5-AFD9-5726684B1464}"/>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81" name="Straight Connector 180">
                  <a:extLst>
                    <a:ext uri="{FF2B5EF4-FFF2-40B4-BE49-F238E27FC236}">
                      <a16:creationId xmlns:a16="http://schemas.microsoft.com/office/drawing/2014/main" id="{B871D6E5-EE5D-447C-A041-28956B3ED0EE}"/>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85" name="Straight Connector 184">
                  <a:extLst>
                    <a:ext uri="{FF2B5EF4-FFF2-40B4-BE49-F238E27FC236}">
                      <a16:creationId xmlns:a16="http://schemas.microsoft.com/office/drawing/2014/main" id="{52709879-6F1A-4DCA-957C-F08C0200EBF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6" name="Group 145">
                <a:extLst>
                  <a:ext uri="{FF2B5EF4-FFF2-40B4-BE49-F238E27FC236}">
                    <a16:creationId xmlns:a16="http://schemas.microsoft.com/office/drawing/2014/main" id="{695DF99D-B032-403F-8F10-1B0FA575A94B}"/>
                  </a:ext>
                </a:extLst>
              </p:cNvPr>
              <p:cNvGrpSpPr/>
              <p:nvPr/>
            </p:nvGrpSpPr>
            <p:grpSpPr>
              <a:xfrm>
                <a:off x="7294695" y="3200400"/>
                <a:ext cx="863303" cy="878977"/>
                <a:chOff x="5703853" y="3200400"/>
                <a:chExt cx="863303" cy="878977"/>
              </a:xfrm>
            </p:grpSpPr>
            <p:cxnSp>
              <p:nvCxnSpPr>
                <p:cNvPr id="167" name="Straight Connector 166">
                  <a:extLst>
                    <a:ext uri="{FF2B5EF4-FFF2-40B4-BE49-F238E27FC236}">
                      <a16:creationId xmlns:a16="http://schemas.microsoft.com/office/drawing/2014/main" id="{2448849A-079F-4611-9FE6-EDEECE6E9FB6}"/>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68" name="Straight Connector 167">
                  <a:extLst>
                    <a:ext uri="{FF2B5EF4-FFF2-40B4-BE49-F238E27FC236}">
                      <a16:creationId xmlns:a16="http://schemas.microsoft.com/office/drawing/2014/main" id="{7DA35258-95B5-4185-BC22-F251C9E1938F}"/>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69" name="Straight Connector 168">
                  <a:extLst>
                    <a:ext uri="{FF2B5EF4-FFF2-40B4-BE49-F238E27FC236}">
                      <a16:creationId xmlns:a16="http://schemas.microsoft.com/office/drawing/2014/main" id="{D22BCDF8-6BC3-4417-B331-0413893312D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70" name="Straight Connector 169">
                  <a:extLst>
                    <a:ext uri="{FF2B5EF4-FFF2-40B4-BE49-F238E27FC236}">
                      <a16:creationId xmlns:a16="http://schemas.microsoft.com/office/drawing/2014/main" id="{412685A2-F6B7-46AF-B0D8-E44022546E01}"/>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71" name="Straight Connector 170">
                  <a:extLst>
                    <a:ext uri="{FF2B5EF4-FFF2-40B4-BE49-F238E27FC236}">
                      <a16:creationId xmlns:a16="http://schemas.microsoft.com/office/drawing/2014/main" id="{CC7254C9-D5BA-4A3E-8F3E-653F0E6F6362}"/>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7" name="Group 146">
                <a:extLst>
                  <a:ext uri="{FF2B5EF4-FFF2-40B4-BE49-F238E27FC236}">
                    <a16:creationId xmlns:a16="http://schemas.microsoft.com/office/drawing/2014/main" id="{6CD18F83-4CCB-4E46-A205-E841FD4C6DCA}"/>
                  </a:ext>
                </a:extLst>
              </p:cNvPr>
              <p:cNvGrpSpPr/>
              <p:nvPr/>
            </p:nvGrpSpPr>
            <p:grpSpPr>
              <a:xfrm>
                <a:off x="7294695" y="4772549"/>
                <a:ext cx="863303" cy="878977"/>
                <a:chOff x="5703853" y="3200400"/>
                <a:chExt cx="863303" cy="878977"/>
              </a:xfrm>
            </p:grpSpPr>
            <p:cxnSp>
              <p:nvCxnSpPr>
                <p:cNvPr id="155" name="Straight Connector 154">
                  <a:extLst>
                    <a:ext uri="{FF2B5EF4-FFF2-40B4-BE49-F238E27FC236}">
                      <a16:creationId xmlns:a16="http://schemas.microsoft.com/office/drawing/2014/main" id="{A6856720-0542-4AD1-9270-FDF5D77A054F}"/>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56" name="Straight Connector 155">
                  <a:extLst>
                    <a:ext uri="{FF2B5EF4-FFF2-40B4-BE49-F238E27FC236}">
                      <a16:creationId xmlns:a16="http://schemas.microsoft.com/office/drawing/2014/main" id="{7057032D-838B-4546-806B-AF9ACDB85A34}"/>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57" name="Straight Connector 156">
                  <a:extLst>
                    <a:ext uri="{FF2B5EF4-FFF2-40B4-BE49-F238E27FC236}">
                      <a16:creationId xmlns:a16="http://schemas.microsoft.com/office/drawing/2014/main" id="{EBF2CE14-4AA1-4B95-BE45-1CB5A14D64F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58" name="Straight Connector 157">
                  <a:extLst>
                    <a:ext uri="{FF2B5EF4-FFF2-40B4-BE49-F238E27FC236}">
                      <a16:creationId xmlns:a16="http://schemas.microsoft.com/office/drawing/2014/main" id="{2EA8D98F-17D8-46FC-BC26-61382E834FD6}"/>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59" name="Straight Connector 158">
                  <a:extLst>
                    <a:ext uri="{FF2B5EF4-FFF2-40B4-BE49-F238E27FC236}">
                      <a16:creationId xmlns:a16="http://schemas.microsoft.com/office/drawing/2014/main" id="{D464F92B-9447-4B88-920A-ADED7563E6D2}"/>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8" name="Group 147">
                <a:extLst>
                  <a:ext uri="{FF2B5EF4-FFF2-40B4-BE49-F238E27FC236}">
                    <a16:creationId xmlns:a16="http://schemas.microsoft.com/office/drawing/2014/main" id="{7014B6ED-9693-4ADA-8525-F63F3E7C296A}"/>
                  </a:ext>
                </a:extLst>
              </p:cNvPr>
              <p:cNvGrpSpPr/>
              <p:nvPr/>
            </p:nvGrpSpPr>
            <p:grpSpPr>
              <a:xfrm>
                <a:off x="5703853" y="4772549"/>
                <a:ext cx="863303" cy="878977"/>
                <a:chOff x="5703853" y="3200400"/>
                <a:chExt cx="863303" cy="878977"/>
              </a:xfrm>
            </p:grpSpPr>
            <p:cxnSp>
              <p:nvCxnSpPr>
                <p:cNvPr id="149" name="Straight Connector 148">
                  <a:extLst>
                    <a:ext uri="{FF2B5EF4-FFF2-40B4-BE49-F238E27FC236}">
                      <a16:creationId xmlns:a16="http://schemas.microsoft.com/office/drawing/2014/main" id="{ED8F2CD7-A769-40B2-9711-773276CA4302}"/>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50" name="Straight Connector 149">
                  <a:extLst>
                    <a:ext uri="{FF2B5EF4-FFF2-40B4-BE49-F238E27FC236}">
                      <a16:creationId xmlns:a16="http://schemas.microsoft.com/office/drawing/2014/main" id="{815991BA-1A5C-47A1-B052-F749E6E22FBE}"/>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51" name="Straight Connector 150">
                  <a:extLst>
                    <a:ext uri="{FF2B5EF4-FFF2-40B4-BE49-F238E27FC236}">
                      <a16:creationId xmlns:a16="http://schemas.microsoft.com/office/drawing/2014/main" id="{1D84005C-AC1E-4664-8364-77A69EFCE83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53" name="Straight Connector 152">
                  <a:extLst>
                    <a:ext uri="{FF2B5EF4-FFF2-40B4-BE49-F238E27FC236}">
                      <a16:creationId xmlns:a16="http://schemas.microsoft.com/office/drawing/2014/main" id="{9AFB68EC-44B7-4CC9-B788-08394E20860A}"/>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54" name="Straight Connector 153">
                  <a:extLst>
                    <a:ext uri="{FF2B5EF4-FFF2-40B4-BE49-F238E27FC236}">
                      <a16:creationId xmlns:a16="http://schemas.microsoft.com/office/drawing/2014/main" id="{11340AF2-CC22-4F9D-B6F3-41D4129955F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sp>
          <p:nvSpPr>
            <p:cNvPr id="231" name="Rectangle: Rounded Corners 230">
              <a:extLst>
                <a:ext uri="{FF2B5EF4-FFF2-40B4-BE49-F238E27FC236}">
                  <a16:creationId xmlns:a16="http://schemas.microsoft.com/office/drawing/2014/main" id="{E4C83E6E-D90F-4CDE-9E99-37639088AE2D}"/>
                </a:ext>
              </a:extLst>
            </p:cNvPr>
            <p:cNvSpPr/>
            <p:nvPr/>
          </p:nvSpPr>
          <p:spPr bwMode="auto">
            <a:xfrm>
              <a:off x="4773366" y="3221680"/>
              <a:ext cx="2601859" cy="1914608"/>
            </a:xfrm>
            <a:prstGeom prst="roundRect">
              <a:avLst>
                <a:gd name="adj" fmla="val 4248"/>
              </a:avLst>
            </a:prstGeom>
            <a:noFill/>
            <a:ln w="19050">
              <a:solidFill>
                <a:schemeClr val="tx1"/>
              </a:solidFill>
              <a:headEnd type="none" w="med" len="med"/>
              <a:tailEnd type="none" w="med" len="med"/>
            </a:ln>
            <a:effectLst/>
            <a:extLst>
              <a:ext uri="{909E8E84-426E-40DD-AFC4-6F175D3DCCD1}">
                <a14:hiddenFill xmlns:a14="http://schemas.microsoft.com/office/drawing/2010/main">
                  <a:no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E401808F-0BFB-4FF2-96FD-09489E02B61C}"/>
                </a:ext>
              </a:extLst>
            </p:cNvPr>
            <p:cNvSpPr/>
            <p:nvPr/>
          </p:nvSpPr>
          <p:spPr>
            <a:xfrm>
              <a:off x="4352178" y="5393625"/>
              <a:ext cx="3385296" cy="221599"/>
            </a:xfrm>
            <a:prstGeom prst="rect">
              <a:avLst/>
            </a:prstGeom>
            <a:noFill/>
            <a:ln w="1905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rain and evaluate model</a:t>
              </a:r>
            </a:p>
          </p:txBody>
        </p:sp>
      </p:grpSp>
      <p:grpSp>
        <p:nvGrpSpPr>
          <p:cNvPr id="21" name="Group 20">
            <a:extLst>
              <a:ext uri="{FF2B5EF4-FFF2-40B4-BE49-F238E27FC236}">
                <a16:creationId xmlns:a16="http://schemas.microsoft.com/office/drawing/2014/main" id="{D85869F4-F9CC-46E2-B88D-264416530A20}"/>
              </a:ext>
            </a:extLst>
          </p:cNvPr>
          <p:cNvGrpSpPr/>
          <p:nvPr/>
        </p:nvGrpSpPr>
        <p:grpSpPr>
          <a:xfrm>
            <a:off x="7631207" y="2754955"/>
            <a:ext cx="3385296" cy="2393544"/>
            <a:chOff x="7631207" y="3221680"/>
            <a:chExt cx="3385296" cy="2393544"/>
          </a:xfrm>
        </p:grpSpPr>
        <p:sp>
          <p:nvSpPr>
            <p:cNvPr id="406" name="Rectangle 405">
              <a:extLst>
                <a:ext uri="{FF2B5EF4-FFF2-40B4-BE49-F238E27FC236}">
                  <a16:creationId xmlns:a16="http://schemas.microsoft.com/office/drawing/2014/main" id="{ED4D2BC8-66C6-490F-BF7F-C41196EF18F6}"/>
                </a:ext>
              </a:extLst>
            </p:cNvPr>
            <p:cNvSpPr/>
            <p:nvPr/>
          </p:nvSpPr>
          <p:spPr bwMode="auto">
            <a:xfrm>
              <a:off x="8329368" y="3787202"/>
              <a:ext cx="737666" cy="707198"/>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7" name="Rectangle 406">
              <a:extLst>
                <a:ext uri="{FF2B5EF4-FFF2-40B4-BE49-F238E27FC236}">
                  <a16:creationId xmlns:a16="http://schemas.microsoft.com/office/drawing/2014/main" id="{AF540179-D0BA-4D21-9886-119779DCEFA5}"/>
                </a:ext>
              </a:extLst>
            </p:cNvPr>
            <p:cNvSpPr/>
            <p:nvPr/>
          </p:nvSpPr>
          <p:spPr bwMode="auto">
            <a:xfrm>
              <a:off x="8505051" y="3412008"/>
              <a:ext cx="318889" cy="31388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8" name="Rectangle 407">
              <a:extLst>
                <a:ext uri="{FF2B5EF4-FFF2-40B4-BE49-F238E27FC236}">
                  <a16:creationId xmlns:a16="http://schemas.microsoft.com/office/drawing/2014/main" id="{8C211C44-D06B-4759-8E8D-D62F4753320F}"/>
                </a:ext>
              </a:extLst>
            </p:cNvPr>
            <p:cNvSpPr/>
            <p:nvPr/>
          </p:nvSpPr>
          <p:spPr bwMode="auto">
            <a:xfrm>
              <a:off x="8408388" y="3926900"/>
              <a:ext cx="512214" cy="504169"/>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9" name="Rectangle 408">
              <a:extLst>
                <a:ext uri="{FF2B5EF4-FFF2-40B4-BE49-F238E27FC236}">
                  <a16:creationId xmlns:a16="http://schemas.microsoft.com/office/drawing/2014/main" id="{C4384E1B-A29D-4EDF-B777-F3849C110867}"/>
                </a:ext>
              </a:extLst>
            </p:cNvPr>
            <p:cNvSpPr/>
            <p:nvPr/>
          </p:nvSpPr>
          <p:spPr bwMode="auto">
            <a:xfrm>
              <a:off x="8505051" y="4622434"/>
              <a:ext cx="318889" cy="31388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410" name="Group 409">
              <a:extLst>
                <a:ext uri="{FF2B5EF4-FFF2-40B4-BE49-F238E27FC236}">
                  <a16:creationId xmlns:a16="http://schemas.microsoft.com/office/drawing/2014/main" id="{BE15B085-EF73-4EFB-AB8E-1433E9EF2AC3}"/>
                </a:ext>
              </a:extLst>
            </p:cNvPr>
            <p:cNvGrpSpPr/>
            <p:nvPr/>
          </p:nvGrpSpPr>
          <p:grpSpPr>
            <a:xfrm>
              <a:off x="8732246" y="3352649"/>
              <a:ext cx="213251" cy="214202"/>
              <a:chOff x="8249239" y="3289079"/>
              <a:chExt cx="224644" cy="225646"/>
            </a:xfrm>
          </p:grpSpPr>
          <p:sp>
            <p:nvSpPr>
              <p:cNvPr id="436" name="Oval 435">
                <a:extLst>
                  <a:ext uri="{FF2B5EF4-FFF2-40B4-BE49-F238E27FC236}">
                    <a16:creationId xmlns:a16="http://schemas.microsoft.com/office/drawing/2014/main" id="{F22C095E-8464-4F50-8D67-62856B039E3F}"/>
                  </a:ext>
                </a:extLst>
              </p:cNvPr>
              <p:cNvSpPr/>
              <p:nvPr/>
            </p:nvSpPr>
            <p:spPr bwMode="auto">
              <a:xfrm>
                <a:off x="8249239" y="3289079"/>
                <a:ext cx="224644" cy="225646"/>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437" name="Group 436">
                <a:extLst>
                  <a:ext uri="{FF2B5EF4-FFF2-40B4-BE49-F238E27FC236}">
                    <a16:creationId xmlns:a16="http://schemas.microsoft.com/office/drawing/2014/main" id="{89EEE772-A58C-49FE-90FD-E581DA6FA08A}"/>
                  </a:ext>
                </a:extLst>
              </p:cNvPr>
              <p:cNvGrpSpPr/>
              <p:nvPr/>
            </p:nvGrpSpPr>
            <p:grpSpPr>
              <a:xfrm>
                <a:off x="8296216" y="3353896"/>
                <a:ext cx="130690" cy="96012"/>
                <a:chOff x="7899400" y="5481285"/>
                <a:chExt cx="1943100" cy="1427515"/>
              </a:xfrm>
            </p:grpSpPr>
            <p:sp>
              <p:nvSpPr>
                <p:cNvPr id="438" name="Freeform: Shape 437">
                  <a:extLst>
                    <a:ext uri="{FF2B5EF4-FFF2-40B4-BE49-F238E27FC236}">
                      <a16:creationId xmlns:a16="http://schemas.microsoft.com/office/drawing/2014/main" id="{10355AAB-F20C-402C-8AC3-985B6BDCD258}"/>
                    </a:ext>
                  </a:extLst>
                </p:cNvPr>
                <p:cNvSpPr/>
                <p:nvPr/>
              </p:nvSpPr>
              <p:spPr bwMode="auto">
                <a:xfrm>
                  <a:off x="7899400" y="5488940"/>
                  <a:ext cx="858520" cy="1419860"/>
                </a:xfrm>
                <a:custGeom>
                  <a:avLst/>
                  <a:gdLst>
                    <a:gd name="connsiteX0" fmla="*/ 0 w 889000"/>
                    <a:gd name="connsiteY0" fmla="*/ 0 h 1417320"/>
                    <a:gd name="connsiteX1" fmla="*/ 889000 w 889000"/>
                    <a:gd name="connsiteY1" fmla="*/ 0 h 1417320"/>
                    <a:gd name="connsiteX2" fmla="*/ 284480 w 889000"/>
                    <a:gd name="connsiteY2" fmla="*/ 1417320 h 1417320"/>
                    <a:gd name="connsiteX0" fmla="*/ 0 w 889000"/>
                    <a:gd name="connsiteY0" fmla="*/ 0 h 1417320"/>
                    <a:gd name="connsiteX1" fmla="*/ 889000 w 889000"/>
                    <a:gd name="connsiteY1" fmla="*/ 0 h 1417320"/>
                    <a:gd name="connsiteX2" fmla="*/ 284480 w 889000"/>
                    <a:gd name="connsiteY2" fmla="*/ 1417320 h 1417320"/>
                    <a:gd name="connsiteX0" fmla="*/ 0 w 858520"/>
                    <a:gd name="connsiteY0" fmla="*/ 2540 h 1419860"/>
                    <a:gd name="connsiteX1" fmla="*/ 858520 w 858520"/>
                    <a:gd name="connsiteY1" fmla="*/ 0 h 1419860"/>
                    <a:gd name="connsiteX2" fmla="*/ 284480 w 858520"/>
                    <a:gd name="connsiteY2" fmla="*/ 1419860 h 1419860"/>
                    <a:gd name="connsiteX0" fmla="*/ 0 w 858520"/>
                    <a:gd name="connsiteY0" fmla="*/ 2540 h 1419860"/>
                    <a:gd name="connsiteX1" fmla="*/ 858520 w 858520"/>
                    <a:gd name="connsiteY1" fmla="*/ 0 h 1419860"/>
                    <a:gd name="connsiteX2" fmla="*/ 284480 w 858520"/>
                    <a:gd name="connsiteY2" fmla="*/ 1419860 h 1419860"/>
                  </a:gdLst>
                  <a:ahLst/>
                  <a:cxnLst>
                    <a:cxn ang="0">
                      <a:pos x="connsiteX0" y="connsiteY0"/>
                    </a:cxn>
                    <a:cxn ang="0">
                      <a:pos x="connsiteX1" y="connsiteY1"/>
                    </a:cxn>
                    <a:cxn ang="0">
                      <a:pos x="connsiteX2" y="connsiteY2"/>
                    </a:cxn>
                  </a:cxnLst>
                  <a:rect l="l" t="t" r="r" b="b"/>
                  <a:pathLst>
                    <a:path w="858520" h="1419860">
                      <a:moveTo>
                        <a:pt x="0" y="2540"/>
                      </a:moveTo>
                      <a:lnTo>
                        <a:pt x="858520" y="0"/>
                      </a:lnTo>
                      <a:cubicBezTo>
                        <a:pt x="641773" y="373380"/>
                        <a:pt x="440267" y="723900"/>
                        <a:pt x="284480" y="1419860"/>
                      </a:cubicBez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9" name="Oval 300">
                  <a:extLst>
                    <a:ext uri="{FF2B5EF4-FFF2-40B4-BE49-F238E27FC236}">
                      <a16:creationId xmlns:a16="http://schemas.microsoft.com/office/drawing/2014/main" id="{00D4CF4A-AFF1-4063-B535-E07F93722C74}"/>
                    </a:ext>
                  </a:extLst>
                </p:cNvPr>
                <p:cNvSpPr/>
                <p:nvPr/>
              </p:nvSpPr>
              <p:spPr bwMode="auto">
                <a:xfrm>
                  <a:off x="9037320" y="5481285"/>
                  <a:ext cx="805180" cy="1419934"/>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7E3CF73E-AF51-4523-9732-2B4836690539}"/>
                </a:ext>
              </a:extLst>
            </p:cNvPr>
            <p:cNvGrpSpPr/>
            <p:nvPr/>
          </p:nvGrpSpPr>
          <p:grpSpPr>
            <a:xfrm>
              <a:off x="8803628" y="3830183"/>
              <a:ext cx="218291" cy="219266"/>
              <a:chOff x="8889458" y="4017170"/>
              <a:chExt cx="229954" cy="230980"/>
            </a:xfrm>
          </p:grpSpPr>
          <p:sp>
            <p:nvSpPr>
              <p:cNvPr id="431" name="Oval 430">
                <a:extLst>
                  <a:ext uri="{FF2B5EF4-FFF2-40B4-BE49-F238E27FC236}">
                    <a16:creationId xmlns:a16="http://schemas.microsoft.com/office/drawing/2014/main" id="{DC71966B-42B7-4883-8FDD-DFD2835A2509}"/>
                  </a:ext>
                </a:extLst>
              </p:cNvPr>
              <p:cNvSpPr/>
              <p:nvPr/>
            </p:nvSpPr>
            <p:spPr bwMode="auto">
              <a:xfrm>
                <a:off x="8889458" y="4017170"/>
                <a:ext cx="229954" cy="230980"/>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432" name="Group 431">
                <a:extLst>
                  <a:ext uri="{FF2B5EF4-FFF2-40B4-BE49-F238E27FC236}">
                    <a16:creationId xmlns:a16="http://schemas.microsoft.com/office/drawing/2014/main" id="{EA26C655-1339-4D23-84E2-09C61A06614F}"/>
                  </a:ext>
                </a:extLst>
              </p:cNvPr>
              <p:cNvGrpSpPr/>
              <p:nvPr/>
            </p:nvGrpSpPr>
            <p:grpSpPr>
              <a:xfrm>
                <a:off x="8921625" y="4084320"/>
                <a:ext cx="167083" cy="86359"/>
                <a:chOff x="8917347" y="4011404"/>
                <a:chExt cx="308158" cy="159275"/>
              </a:xfrm>
            </p:grpSpPr>
            <p:sp>
              <p:nvSpPr>
                <p:cNvPr id="433" name="Freeform: Shape 432">
                  <a:extLst>
                    <a:ext uri="{FF2B5EF4-FFF2-40B4-BE49-F238E27FC236}">
                      <a16:creationId xmlns:a16="http://schemas.microsoft.com/office/drawing/2014/main" id="{9C9A6D6A-6B58-4D55-A0B8-D8BBFC2C75E3}"/>
                    </a:ext>
                  </a:extLst>
                </p:cNvPr>
                <p:cNvSpPr/>
                <p:nvPr/>
              </p:nvSpPr>
              <p:spPr bwMode="auto">
                <a:xfrm>
                  <a:off x="8917347" y="4013639"/>
                  <a:ext cx="45719" cy="152222"/>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4" name="Oval 300">
                  <a:extLst>
                    <a:ext uri="{FF2B5EF4-FFF2-40B4-BE49-F238E27FC236}">
                      <a16:creationId xmlns:a16="http://schemas.microsoft.com/office/drawing/2014/main" id="{E9BA3C4F-6C42-4687-95E4-5A94F5082AAA}"/>
                    </a:ext>
                  </a:extLst>
                </p:cNvPr>
                <p:cNvSpPr/>
                <p:nvPr/>
              </p:nvSpPr>
              <p:spPr bwMode="auto">
                <a:xfrm>
                  <a:off x="9003968" y="4011404"/>
                  <a:ext cx="90317"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Oval 300">
                  <a:extLst>
                    <a:ext uri="{FF2B5EF4-FFF2-40B4-BE49-F238E27FC236}">
                      <a16:creationId xmlns:a16="http://schemas.microsoft.com/office/drawing/2014/main" id="{0EC4EFA6-5F29-4787-8180-59BFA92AAC13}"/>
                    </a:ext>
                  </a:extLst>
                </p:cNvPr>
                <p:cNvSpPr/>
                <p:nvPr/>
              </p:nvSpPr>
              <p:spPr bwMode="auto">
                <a:xfrm>
                  <a:off x="9135187" y="4011404"/>
                  <a:ext cx="90318"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412" name="Oval 411">
              <a:extLst>
                <a:ext uri="{FF2B5EF4-FFF2-40B4-BE49-F238E27FC236}">
                  <a16:creationId xmlns:a16="http://schemas.microsoft.com/office/drawing/2014/main" id="{8BCE01AE-13E0-4211-8E67-964E6C6FB3AE}"/>
                </a:ext>
              </a:extLst>
            </p:cNvPr>
            <p:cNvSpPr/>
            <p:nvPr/>
          </p:nvSpPr>
          <p:spPr bwMode="auto">
            <a:xfrm>
              <a:off x="8732246" y="4535858"/>
              <a:ext cx="213251" cy="214202"/>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413" name="Oval 300">
              <a:extLst>
                <a:ext uri="{FF2B5EF4-FFF2-40B4-BE49-F238E27FC236}">
                  <a16:creationId xmlns:a16="http://schemas.microsoft.com/office/drawing/2014/main" id="{687DF784-7794-4681-8209-451EADA0B034}"/>
                </a:ext>
              </a:extLst>
            </p:cNvPr>
            <p:cNvSpPr/>
            <p:nvPr/>
          </p:nvSpPr>
          <p:spPr bwMode="auto">
            <a:xfrm>
              <a:off x="8849494" y="4597387"/>
              <a:ext cx="51408" cy="90658"/>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4" name="Group 413">
              <a:extLst>
                <a:ext uri="{FF2B5EF4-FFF2-40B4-BE49-F238E27FC236}">
                  <a16:creationId xmlns:a16="http://schemas.microsoft.com/office/drawing/2014/main" id="{5E34C3BE-3047-44E9-A2D0-04A21B9554E0}"/>
                </a:ext>
              </a:extLst>
            </p:cNvPr>
            <p:cNvGrpSpPr/>
            <p:nvPr/>
          </p:nvGrpSpPr>
          <p:grpSpPr>
            <a:xfrm>
              <a:off x="9932940" y="3562713"/>
              <a:ext cx="318889" cy="1232546"/>
              <a:chOff x="9823847" y="3441395"/>
              <a:chExt cx="335926" cy="1298395"/>
            </a:xfrm>
          </p:grpSpPr>
          <p:sp>
            <p:nvSpPr>
              <p:cNvPr id="428" name="Rectangle 427">
                <a:extLst>
                  <a:ext uri="{FF2B5EF4-FFF2-40B4-BE49-F238E27FC236}">
                    <a16:creationId xmlns:a16="http://schemas.microsoft.com/office/drawing/2014/main" id="{04D367D7-4A45-471C-9DBD-EE631B8ABBA7}"/>
                  </a:ext>
                </a:extLst>
              </p:cNvPr>
              <p:cNvSpPr/>
              <p:nvPr/>
            </p:nvSpPr>
            <p:spPr bwMode="auto">
              <a:xfrm>
                <a:off x="9823847" y="3441395"/>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A</a:t>
                </a:r>
              </a:p>
            </p:txBody>
          </p:sp>
          <p:sp>
            <p:nvSpPr>
              <p:cNvPr id="429" name="Rectangle 428">
                <a:extLst>
                  <a:ext uri="{FF2B5EF4-FFF2-40B4-BE49-F238E27FC236}">
                    <a16:creationId xmlns:a16="http://schemas.microsoft.com/office/drawing/2014/main" id="{6E797753-833B-4D3E-A1BF-6B9BDA8D9517}"/>
                  </a:ext>
                </a:extLst>
              </p:cNvPr>
              <p:cNvSpPr/>
              <p:nvPr/>
            </p:nvSpPr>
            <p:spPr bwMode="auto">
              <a:xfrm>
                <a:off x="9823847" y="3925264"/>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B</a:t>
                </a:r>
              </a:p>
            </p:txBody>
          </p:sp>
          <p:sp>
            <p:nvSpPr>
              <p:cNvPr id="430" name="Rectangle 429">
                <a:extLst>
                  <a:ext uri="{FF2B5EF4-FFF2-40B4-BE49-F238E27FC236}">
                    <a16:creationId xmlns:a16="http://schemas.microsoft.com/office/drawing/2014/main" id="{F8F945D7-7082-4976-B743-91F7359A11E7}"/>
                  </a:ext>
                </a:extLst>
              </p:cNvPr>
              <p:cNvSpPr/>
              <p:nvPr/>
            </p:nvSpPr>
            <p:spPr bwMode="auto">
              <a:xfrm>
                <a:off x="9823847" y="4409140"/>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C</a:t>
                </a:r>
              </a:p>
            </p:txBody>
          </p:sp>
        </p:grpSp>
        <p:sp>
          <p:nvSpPr>
            <p:cNvPr id="419" name="Freeform: Shape 418">
              <a:extLst>
                <a:ext uri="{FF2B5EF4-FFF2-40B4-BE49-F238E27FC236}">
                  <a16:creationId xmlns:a16="http://schemas.microsoft.com/office/drawing/2014/main" id="{E0E4B9DE-C9FB-4CB4-8EB1-F48CB1FD7060}"/>
                </a:ext>
              </a:extLst>
            </p:cNvPr>
            <p:cNvSpPr/>
            <p:nvPr/>
          </p:nvSpPr>
          <p:spPr bwMode="auto">
            <a:xfrm>
              <a:off x="8773031" y="4597170"/>
              <a:ext cx="52690" cy="93393"/>
            </a:xfrm>
            <a:custGeom>
              <a:avLst/>
              <a:gdLst>
                <a:gd name="connsiteX0" fmla="*/ 329946 w 659892"/>
                <a:gd name="connsiteY0" fmla="*/ 544830 h 1169670"/>
                <a:gd name="connsiteX1" fmla="*/ 659892 w 659892"/>
                <a:gd name="connsiteY1" fmla="*/ 857250 h 1169670"/>
                <a:gd name="connsiteX2" fmla="*/ 329946 w 659892"/>
                <a:gd name="connsiteY2" fmla="*/ 1169670 h 1169670"/>
                <a:gd name="connsiteX3" fmla="*/ 0 w 659892"/>
                <a:gd name="connsiteY3" fmla="*/ 857250 h 1169670"/>
                <a:gd name="connsiteX4" fmla="*/ 329946 w 659892"/>
                <a:gd name="connsiteY4" fmla="*/ 544830 h 1169670"/>
                <a:gd name="connsiteX5" fmla="*/ 329946 w 659892"/>
                <a:gd name="connsiteY5" fmla="*/ 0 h 1169670"/>
                <a:gd name="connsiteX6" fmla="*/ 610362 w 659892"/>
                <a:gd name="connsiteY6" fmla="*/ 270510 h 1169670"/>
                <a:gd name="connsiteX7" fmla="*/ 329946 w 659892"/>
                <a:gd name="connsiteY7" fmla="*/ 541020 h 1169670"/>
                <a:gd name="connsiteX8" fmla="*/ 49530 w 659892"/>
                <a:gd name="connsiteY8" fmla="*/ 270510 h 1169670"/>
                <a:gd name="connsiteX9" fmla="*/ 329946 w 659892"/>
                <a:gd name="connsiteY9" fmla="*/ 0 h 11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892" h="1169670">
                  <a:moveTo>
                    <a:pt x="329946" y="544830"/>
                  </a:moveTo>
                  <a:cubicBezTo>
                    <a:pt x="512170" y="544830"/>
                    <a:pt x="659892" y="684705"/>
                    <a:pt x="659892" y="857250"/>
                  </a:cubicBezTo>
                  <a:cubicBezTo>
                    <a:pt x="659892" y="1029795"/>
                    <a:pt x="512170" y="1169670"/>
                    <a:pt x="329946" y="1169670"/>
                  </a:cubicBezTo>
                  <a:cubicBezTo>
                    <a:pt x="147722" y="1169670"/>
                    <a:pt x="0" y="1029795"/>
                    <a:pt x="0" y="857250"/>
                  </a:cubicBezTo>
                  <a:cubicBezTo>
                    <a:pt x="0" y="684705"/>
                    <a:pt x="147722" y="544830"/>
                    <a:pt x="329946" y="544830"/>
                  </a:cubicBezTo>
                  <a:close/>
                  <a:moveTo>
                    <a:pt x="329946" y="0"/>
                  </a:moveTo>
                  <a:cubicBezTo>
                    <a:pt x="484815" y="0"/>
                    <a:pt x="610362" y="121111"/>
                    <a:pt x="610362" y="270510"/>
                  </a:cubicBezTo>
                  <a:cubicBezTo>
                    <a:pt x="610362" y="419909"/>
                    <a:pt x="484815" y="541020"/>
                    <a:pt x="329946" y="541020"/>
                  </a:cubicBezTo>
                  <a:cubicBezTo>
                    <a:pt x="175077" y="541020"/>
                    <a:pt x="49530" y="419909"/>
                    <a:pt x="49530" y="270510"/>
                  </a:cubicBezTo>
                  <a:cubicBezTo>
                    <a:pt x="49530" y="121111"/>
                    <a:pt x="175077" y="0"/>
                    <a:pt x="329946" y="0"/>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735ED476-B71A-46BB-BE37-45CFC9B042D4}"/>
                </a:ext>
              </a:extLst>
            </p:cNvPr>
            <p:cNvSpPr/>
            <p:nvPr/>
          </p:nvSpPr>
          <p:spPr bwMode="auto">
            <a:xfrm>
              <a:off x="8525684" y="4061692"/>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DB3E461-94D8-4A11-8633-9AB995BFFB3F}"/>
                </a:ext>
              </a:extLst>
            </p:cNvPr>
            <p:cNvSpPr/>
            <p:nvPr/>
          </p:nvSpPr>
          <p:spPr bwMode="auto">
            <a:xfrm>
              <a:off x="8726695" y="4061692"/>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Rectangle 178">
              <a:extLst>
                <a:ext uri="{FF2B5EF4-FFF2-40B4-BE49-F238E27FC236}">
                  <a16:creationId xmlns:a16="http://schemas.microsoft.com/office/drawing/2014/main" id="{771E5CC8-0079-4065-BA16-0F08532B8832}"/>
                </a:ext>
              </a:extLst>
            </p:cNvPr>
            <p:cNvSpPr/>
            <p:nvPr/>
          </p:nvSpPr>
          <p:spPr bwMode="auto">
            <a:xfrm>
              <a:off x="8726105" y="4235255"/>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Rectangle 179">
              <a:extLst>
                <a:ext uri="{FF2B5EF4-FFF2-40B4-BE49-F238E27FC236}">
                  <a16:creationId xmlns:a16="http://schemas.microsoft.com/office/drawing/2014/main" id="{5DBD1FC2-9771-4EA7-8D61-2E6FEBEBF344}"/>
                </a:ext>
              </a:extLst>
            </p:cNvPr>
            <p:cNvSpPr/>
            <p:nvPr/>
          </p:nvSpPr>
          <p:spPr bwMode="auto">
            <a:xfrm>
              <a:off x="8525683" y="4235255"/>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53147D66-15FC-438B-887D-E301BD8698E3}"/>
                </a:ext>
              </a:extLst>
            </p:cNvPr>
            <p:cNvCxnSpPr>
              <a:cxnSpLocks/>
              <a:stCxn id="6" idx="2"/>
              <a:endCxn id="180" idx="0"/>
            </p:cNvCxnSpPr>
            <p:nvPr/>
          </p:nvCxnSpPr>
          <p:spPr>
            <a:xfrm flipH="1">
              <a:off x="8567247" y="4144819"/>
              <a:ext cx="1" cy="90436"/>
            </a:xfrm>
            <a:prstGeom prst="line">
              <a:avLst/>
            </a:prstGeom>
            <a:noFill/>
            <a:ln w="19050" cap="flat" cmpd="sng" algn="ctr">
              <a:solidFill>
                <a:schemeClr val="bg1">
                  <a:lumMod val="8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57CDD8E6-A575-42E5-8ED2-9512B55C2ACB}"/>
                </a:ext>
              </a:extLst>
            </p:cNvPr>
            <p:cNvCxnSpPr>
              <a:stCxn id="180" idx="3"/>
              <a:endCxn id="179" idx="1"/>
            </p:cNvCxnSpPr>
            <p:nvPr/>
          </p:nvCxnSpPr>
          <p:spPr>
            <a:xfrm>
              <a:off x="8608810" y="4276819"/>
              <a:ext cx="117295" cy="0"/>
            </a:xfrm>
            <a:prstGeom prst="line">
              <a:avLst/>
            </a:prstGeom>
            <a:noFill/>
            <a:ln w="19050" cap="flat" cmpd="sng" algn="ctr">
              <a:solidFill>
                <a:schemeClr val="bg1">
                  <a:lumMod val="85000"/>
                </a:schemeClr>
              </a:solidFill>
              <a:prstDash val="solid"/>
              <a:headEnd type="none"/>
              <a:tailEnd type="none"/>
            </a:ln>
            <a:effectLst/>
          </p:spPr>
        </p:cxnSp>
        <p:cxnSp>
          <p:nvCxnSpPr>
            <p:cNvPr id="20" name="Straight Connector 19">
              <a:extLst>
                <a:ext uri="{FF2B5EF4-FFF2-40B4-BE49-F238E27FC236}">
                  <a16:creationId xmlns:a16="http://schemas.microsoft.com/office/drawing/2014/main" id="{5EFF4C5F-4868-4058-9DF5-C1C39888883E}"/>
                </a:ext>
              </a:extLst>
            </p:cNvPr>
            <p:cNvCxnSpPr>
              <a:stCxn id="179" idx="0"/>
              <a:endCxn id="178" idx="2"/>
            </p:cNvCxnSpPr>
            <p:nvPr/>
          </p:nvCxnSpPr>
          <p:spPr>
            <a:xfrm flipV="1">
              <a:off x="8767669" y="4144819"/>
              <a:ext cx="590" cy="90436"/>
            </a:xfrm>
            <a:prstGeom prst="line">
              <a:avLst/>
            </a:prstGeom>
            <a:noFill/>
            <a:ln w="19050" cap="flat" cmpd="sng" algn="ctr">
              <a:solidFill>
                <a:schemeClr val="bg1">
                  <a:lumMod val="85000"/>
                </a:schemeClr>
              </a:solidFill>
              <a:prstDash val="solid"/>
              <a:headEnd type="none"/>
              <a:tailEnd type="none"/>
            </a:ln>
            <a:effectLst/>
          </p:spPr>
        </p:cxnSp>
        <p:cxnSp>
          <p:nvCxnSpPr>
            <p:cNvPr id="22" name="Straight Connector 21">
              <a:extLst>
                <a:ext uri="{FF2B5EF4-FFF2-40B4-BE49-F238E27FC236}">
                  <a16:creationId xmlns:a16="http://schemas.microsoft.com/office/drawing/2014/main" id="{416188F1-EB20-4D49-B1CE-58C649A8716F}"/>
                </a:ext>
              </a:extLst>
            </p:cNvPr>
            <p:cNvCxnSpPr>
              <a:stCxn id="178" idx="1"/>
              <a:endCxn id="6" idx="3"/>
            </p:cNvCxnSpPr>
            <p:nvPr/>
          </p:nvCxnSpPr>
          <p:spPr>
            <a:xfrm flipH="1">
              <a:off x="8608811" y="4103256"/>
              <a:ext cx="117884" cy="0"/>
            </a:xfrm>
            <a:prstGeom prst="line">
              <a:avLst/>
            </a:prstGeom>
            <a:noFill/>
            <a:ln w="19050" cap="flat" cmpd="sng" algn="ctr">
              <a:solidFill>
                <a:schemeClr val="bg1">
                  <a:lumMod val="85000"/>
                </a:schemeClr>
              </a:solidFill>
              <a:prstDash val="solid"/>
              <a:headEnd type="none"/>
              <a:tailEnd type="none"/>
            </a:ln>
            <a:effectLst/>
          </p:spPr>
        </p:cxnSp>
        <p:cxnSp>
          <p:nvCxnSpPr>
            <p:cNvPr id="28" name="Straight Connector 27">
              <a:extLst>
                <a:ext uri="{FF2B5EF4-FFF2-40B4-BE49-F238E27FC236}">
                  <a16:creationId xmlns:a16="http://schemas.microsoft.com/office/drawing/2014/main" id="{EC72812E-CEA5-4424-8CC9-2FEF70630667}"/>
                </a:ext>
              </a:extLst>
            </p:cNvPr>
            <p:cNvCxnSpPr/>
            <p:nvPr/>
          </p:nvCxnSpPr>
          <p:spPr>
            <a:xfrm flipH="1">
              <a:off x="8600693" y="4120356"/>
              <a:ext cx="137645" cy="137645"/>
            </a:xfrm>
            <a:prstGeom prst="line">
              <a:avLst/>
            </a:prstGeom>
            <a:noFill/>
            <a:ln w="19050" cap="flat" cmpd="sng" algn="ctr">
              <a:solidFill>
                <a:schemeClr val="bg1">
                  <a:lumMod val="85000"/>
                </a:schemeClr>
              </a:solidFill>
              <a:prstDash val="solid"/>
              <a:headEnd type="none"/>
              <a:tailEnd type="none"/>
            </a:ln>
            <a:effectLst/>
          </p:spPr>
        </p:cxnSp>
        <p:grpSp>
          <p:nvGrpSpPr>
            <p:cNvPr id="26" name="Group 25">
              <a:extLst>
                <a:ext uri="{FF2B5EF4-FFF2-40B4-BE49-F238E27FC236}">
                  <a16:creationId xmlns:a16="http://schemas.microsoft.com/office/drawing/2014/main" id="{AEBEFDDA-CD80-4375-A36C-22EF9FE0BD31}"/>
                </a:ext>
              </a:extLst>
            </p:cNvPr>
            <p:cNvGrpSpPr/>
            <p:nvPr/>
          </p:nvGrpSpPr>
          <p:grpSpPr>
            <a:xfrm>
              <a:off x="9155430" y="3738656"/>
              <a:ext cx="667650" cy="911702"/>
              <a:chOff x="9155430" y="3738656"/>
              <a:chExt cx="785922" cy="911702"/>
            </a:xfrm>
          </p:grpSpPr>
          <p:cxnSp>
            <p:nvCxnSpPr>
              <p:cNvPr id="11" name="Straight Arrow Connector 10">
                <a:extLst>
                  <a:ext uri="{FF2B5EF4-FFF2-40B4-BE49-F238E27FC236}">
                    <a16:creationId xmlns:a16="http://schemas.microsoft.com/office/drawing/2014/main" id="{9235AEDB-CFDB-410E-8113-7EF230744511}"/>
                  </a:ext>
                </a:extLst>
              </p:cNvPr>
              <p:cNvCxnSpPr>
                <a:cxnSpLocks/>
              </p:cNvCxnSpPr>
              <p:nvPr/>
            </p:nvCxnSpPr>
            <p:spPr>
              <a:xfrm>
                <a:off x="9155430" y="4187645"/>
                <a:ext cx="785922" cy="0"/>
              </a:xfrm>
              <a:prstGeom prst="straightConnector1">
                <a:avLst/>
              </a:prstGeom>
              <a:noFill/>
              <a:ln w="19050" cap="flat" cmpd="sng" algn="ctr">
                <a:solidFill>
                  <a:schemeClr val="bg1">
                    <a:lumMod val="85000"/>
                  </a:schemeClr>
                </a:solidFill>
                <a:prstDash val="solid"/>
                <a:headEnd type="none"/>
                <a:tailEnd type="arrow"/>
              </a:ln>
              <a:effectLst/>
            </p:spPr>
          </p:cxnSp>
          <p:cxnSp>
            <p:nvCxnSpPr>
              <p:cNvPr id="15" name="Connector: Elbow 14">
                <a:extLst>
                  <a:ext uri="{FF2B5EF4-FFF2-40B4-BE49-F238E27FC236}">
                    <a16:creationId xmlns:a16="http://schemas.microsoft.com/office/drawing/2014/main" id="{9FC9C536-1DEA-4294-A1B9-66F3DAB29C66}"/>
                  </a:ext>
                </a:extLst>
              </p:cNvPr>
              <p:cNvCxnSpPr/>
              <p:nvPr/>
            </p:nvCxnSpPr>
            <p:spPr>
              <a:xfrm>
                <a:off x="9476173" y="4189178"/>
                <a:ext cx="461447" cy="461180"/>
              </a:xfrm>
              <a:prstGeom prst="bentConnector3">
                <a:avLst>
                  <a:gd name="adj1" fmla="val 1471"/>
                </a:avLst>
              </a:prstGeom>
              <a:noFill/>
              <a:ln w="19050" cap="flat" cmpd="sng" algn="ctr">
                <a:solidFill>
                  <a:schemeClr val="bg1">
                    <a:lumMod val="85000"/>
                  </a:schemeClr>
                </a:solidFill>
                <a:prstDash val="solid"/>
                <a:headEnd type="none"/>
                <a:tailEnd type="arrow"/>
              </a:ln>
              <a:effectLst/>
            </p:spPr>
          </p:cxnSp>
          <p:cxnSp>
            <p:nvCxnSpPr>
              <p:cNvPr id="183" name="Connector: Elbow 182">
                <a:extLst>
                  <a:ext uri="{FF2B5EF4-FFF2-40B4-BE49-F238E27FC236}">
                    <a16:creationId xmlns:a16="http://schemas.microsoft.com/office/drawing/2014/main" id="{E21399B1-93C8-40F3-8AF8-5E130D08E003}"/>
                  </a:ext>
                </a:extLst>
              </p:cNvPr>
              <p:cNvCxnSpPr>
                <a:cxnSpLocks/>
              </p:cNvCxnSpPr>
              <p:nvPr/>
            </p:nvCxnSpPr>
            <p:spPr>
              <a:xfrm flipV="1">
                <a:off x="9476173" y="3738656"/>
                <a:ext cx="461447" cy="448989"/>
              </a:xfrm>
              <a:prstGeom prst="bentConnector3">
                <a:avLst>
                  <a:gd name="adj1" fmla="val 1471"/>
                </a:avLst>
              </a:prstGeom>
              <a:noFill/>
              <a:ln w="19050" cap="flat" cmpd="sng" algn="ctr">
                <a:solidFill>
                  <a:schemeClr val="bg1">
                    <a:lumMod val="85000"/>
                  </a:schemeClr>
                </a:solidFill>
                <a:prstDash val="solid"/>
                <a:headEnd type="none"/>
                <a:tailEnd type="arrow"/>
              </a:ln>
              <a:effectLst/>
            </p:spPr>
          </p:cxnSp>
        </p:grpSp>
        <p:sp>
          <p:nvSpPr>
            <p:cNvPr id="405" name="Rectangle: Rounded Corners 404">
              <a:extLst>
                <a:ext uri="{FF2B5EF4-FFF2-40B4-BE49-F238E27FC236}">
                  <a16:creationId xmlns:a16="http://schemas.microsoft.com/office/drawing/2014/main" id="{737A4015-185D-41F2-A104-B42D948E2948}"/>
                </a:ext>
              </a:extLst>
            </p:cNvPr>
            <p:cNvSpPr/>
            <p:nvPr/>
          </p:nvSpPr>
          <p:spPr bwMode="auto">
            <a:xfrm>
              <a:off x="7976200" y="3221680"/>
              <a:ext cx="2601859" cy="1914608"/>
            </a:xfrm>
            <a:prstGeom prst="roundRect">
              <a:avLst>
                <a:gd name="adj" fmla="val 424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7167E0AA-5FDB-40C2-BDC0-4DF6B66CB4B8}"/>
                </a:ext>
              </a:extLst>
            </p:cNvPr>
            <p:cNvSpPr/>
            <p:nvPr/>
          </p:nvSpPr>
          <p:spPr>
            <a:xfrm>
              <a:off x="7631207" y="5393625"/>
              <a:ext cx="3385296" cy="221599"/>
            </a:xfrm>
            <a:prstGeom prst="rect">
              <a:avLst/>
            </a:prstGeom>
            <a:noFill/>
            <a:ln w="1905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and manage</a:t>
              </a:r>
            </a:p>
          </p:txBody>
        </p:sp>
      </p:grpSp>
      <p:sp>
        <p:nvSpPr>
          <p:cNvPr id="254" name="Rectangle 253" hidden="1">
            <a:extLst>
              <a:ext uri="{FF2B5EF4-FFF2-40B4-BE49-F238E27FC236}">
                <a16:creationId xmlns:a16="http://schemas.microsoft.com/office/drawing/2014/main" id="{F82B4BA9-8058-4D17-ABBE-3B36A46F0342}"/>
              </a:ext>
            </a:extLst>
          </p:cNvPr>
          <p:cNvSpPr/>
          <p:nvPr/>
        </p:nvSpPr>
        <p:spPr bwMode="auto">
          <a:xfrm>
            <a:off x="819150" y="5148499"/>
            <a:ext cx="10458450" cy="12427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lnSpc>
                <a:spcPct val="90000"/>
              </a:lnSpc>
              <a:spcBef>
                <a:spcPct val="0"/>
              </a:spcBef>
              <a:spcAft>
                <a:spcPct val="0"/>
              </a:spcAft>
              <a:buFont typeface="Arial" panose="020B0604020202020204" pitchFamily="34" charset="0"/>
              <a:buChar char="•"/>
            </a:pP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441A36C1-D94C-43E7-8845-107DA8EEB9A1}"/>
              </a:ext>
            </a:extLst>
          </p:cNvPr>
          <p:cNvGrpSpPr/>
          <p:nvPr/>
        </p:nvGrpSpPr>
        <p:grpSpPr>
          <a:xfrm>
            <a:off x="1502261" y="5243721"/>
            <a:ext cx="9079979" cy="914400"/>
            <a:chOff x="1502261" y="5243721"/>
            <a:chExt cx="9079979" cy="914400"/>
          </a:xfrm>
        </p:grpSpPr>
        <p:cxnSp>
          <p:nvCxnSpPr>
            <p:cNvPr id="203" name="Straight Connector 202">
              <a:extLst>
                <a:ext uri="{FF2B5EF4-FFF2-40B4-BE49-F238E27FC236}">
                  <a16:creationId xmlns:a16="http://schemas.microsoft.com/office/drawing/2014/main" id="{C6F3F6EA-A5CD-4A28-B265-7F153A37A9D9}"/>
                </a:ext>
              </a:extLst>
            </p:cNvPr>
            <p:cNvCxnSpPr>
              <a:cxnSpLocks/>
            </p:cNvCxnSpPr>
            <p:nvPr/>
          </p:nvCxnSpPr>
          <p:spPr>
            <a:xfrm>
              <a:off x="1502261" y="5243721"/>
              <a:ext cx="2606040"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30567C3-A56B-4301-ACAB-C9B7DAFE8B44}"/>
                </a:ext>
              </a:extLst>
            </p:cNvPr>
            <p:cNvCxnSpPr>
              <a:cxnSpLocks/>
            </p:cNvCxnSpPr>
            <p:nvPr/>
          </p:nvCxnSpPr>
          <p:spPr>
            <a:xfrm>
              <a:off x="7976200" y="5243721"/>
              <a:ext cx="2606040"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Rectangle 245">
              <a:extLst>
                <a:ext uri="{FF2B5EF4-FFF2-40B4-BE49-F238E27FC236}">
                  <a16:creationId xmlns:a16="http://schemas.microsoft.com/office/drawing/2014/main" id="{AD10C3DD-7798-4E2F-9E26-40335984ADED}"/>
                </a:ext>
              </a:extLst>
            </p:cNvPr>
            <p:cNvSpPr/>
            <p:nvPr/>
          </p:nvSpPr>
          <p:spPr bwMode="auto">
            <a:xfrm>
              <a:off x="2254196" y="5784074"/>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spcAft>
                  <a:spcPts val="200"/>
                </a:spcAft>
              </a:pPr>
              <a:r>
                <a:rPr lang="en-US" sz="1400" dirty="0">
                  <a:solidFill>
                    <a:schemeClr val="tx1"/>
                  </a:solidFill>
                  <a:latin typeface="Segoe UI" panose="020B0502040204020203" pitchFamily="34" charset="0"/>
                  <a:cs typeface="Segoe UI" panose="020B0502040204020203" pitchFamily="34" charset="0"/>
                </a:rPr>
                <a:t>Azure </a:t>
              </a:r>
              <a:r>
                <a:rPr lang="en-US" sz="1400" dirty="0" err="1">
                  <a:solidFill>
                    <a:schemeClr val="tx1"/>
                  </a:solidFill>
                  <a:latin typeface="Segoe UI" panose="020B0502040204020203" pitchFamily="34" charset="0"/>
                  <a:cs typeface="Segoe UI" panose="020B0502040204020203" pitchFamily="34" charset="0"/>
                </a:rPr>
                <a:t>databricks</a:t>
              </a:r>
              <a:endParaRPr lang="en-US" sz="1400" dirty="0">
                <a:solidFill>
                  <a:schemeClr val="tx1"/>
                </a:solidFill>
                <a:latin typeface="Segoe UI" panose="020B0502040204020203" pitchFamily="34" charset="0"/>
                <a:cs typeface="Segoe UI" panose="020B0502040204020203" pitchFamily="34" charset="0"/>
              </a:endParaRPr>
            </a:p>
          </p:txBody>
        </p:sp>
        <p:sp>
          <p:nvSpPr>
            <p:cNvPr id="233" name="Rectangle 232">
              <a:extLst>
                <a:ext uri="{FF2B5EF4-FFF2-40B4-BE49-F238E27FC236}">
                  <a16:creationId xmlns:a16="http://schemas.microsoft.com/office/drawing/2014/main" id="{C2453641-AE74-4FA5-B804-1B11769C5247}"/>
                </a:ext>
              </a:extLst>
            </p:cNvPr>
            <p:cNvSpPr/>
            <p:nvPr/>
          </p:nvSpPr>
          <p:spPr bwMode="auto">
            <a:xfrm>
              <a:off x="2244956" y="5402323"/>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data factory</a:t>
              </a:r>
            </a:p>
          </p:txBody>
        </p:sp>
        <p:cxnSp>
          <p:nvCxnSpPr>
            <p:cNvPr id="206" name="Straight Connector 205">
              <a:extLst>
                <a:ext uri="{FF2B5EF4-FFF2-40B4-BE49-F238E27FC236}">
                  <a16:creationId xmlns:a16="http://schemas.microsoft.com/office/drawing/2014/main" id="{4978822C-5E69-4264-B788-AEA7783CA85A}"/>
                </a:ext>
              </a:extLst>
            </p:cNvPr>
            <p:cNvCxnSpPr>
              <a:cxnSpLocks/>
            </p:cNvCxnSpPr>
            <p:nvPr/>
          </p:nvCxnSpPr>
          <p:spPr>
            <a:xfrm>
              <a:off x="4405312" y="5243721"/>
              <a:ext cx="0" cy="914400"/>
            </a:xfrm>
            <a:prstGeom prst="line">
              <a:avLst/>
            </a:prstGeom>
            <a:ln w="19050">
              <a:solidFill>
                <a:schemeClr val="bg1">
                  <a:lumMod val="75000"/>
                </a:schemeClr>
              </a:solidFill>
              <a:headEnd type="arrow" w="lg" len="med"/>
              <a:tailEnd type="none" w="sm" len="sm"/>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0A886E3-67D2-4CAC-8226-7E2CB58DB275}"/>
                </a:ext>
              </a:extLst>
            </p:cNvPr>
            <p:cNvCxnSpPr>
              <a:cxnSpLocks/>
            </p:cNvCxnSpPr>
            <p:nvPr/>
          </p:nvCxnSpPr>
          <p:spPr>
            <a:xfrm>
              <a:off x="7684340" y="5243721"/>
              <a:ext cx="0" cy="914400"/>
            </a:xfrm>
            <a:prstGeom prst="line">
              <a:avLst/>
            </a:prstGeom>
            <a:ln w="19050">
              <a:solidFill>
                <a:schemeClr val="bg1">
                  <a:lumMod val="75000"/>
                </a:schemeClr>
              </a:solidFill>
              <a:headEnd type="arrow" w="lg" len="med"/>
              <a:tailEnd type="none" w="sm" len="sm"/>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53B68BF2-F628-49A1-BCF2-62503BA83582}"/>
                </a:ext>
              </a:extLst>
            </p:cNvPr>
            <p:cNvSpPr/>
            <p:nvPr/>
          </p:nvSpPr>
          <p:spPr bwMode="auto">
            <a:xfrm>
              <a:off x="5492693" y="5593199"/>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cs typeface="Segoe UI" panose="020B0502040204020203" pitchFamily="34" charset="0"/>
                </a:rPr>
                <a:t>databricks</a:t>
              </a: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endParaRPr>
            </a:p>
          </p:txBody>
        </p:sp>
        <p:sp>
          <p:nvSpPr>
            <p:cNvPr id="216" name="Rectangle 215">
              <a:extLst>
                <a:ext uri="{FF2B5EF4-FFF2-40B4-BE49-F238E27FC236}">
                  <a16:creationId xmlns:a16="http://schemas.microsoft.com/office/drawing/2014/main" id="{331CA0E4-11C0-4161-A991-0036C7BE9813}"/>
                </a:ext>
              </a:extLst>
            </p:cNvPr>
            <p:cNvSpPr/>
            <p:nvPr/>
          </p:nvSpPr>
          <p:spPr bwMode="auto">
            <a:xfrm>
              <a:off x="8772770" y="5784074"/>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cs typeface="Segoe UI" panose="020B0502040204020203" pitchFamily="34" charset="0"/>
                </a:rPr>
                <a:t>databricks</a:t>
              </a: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endParaRPr>
            </a:p>
          </p:txBody>
        </p:sp>
        <p:sp>
          <p:nvSpPr>
            <p:cNvPr id="213" name="Rectangle 212">
              <a:extLst>
                <a:ext uri="{FF2B5EF4-FFF2-40B4-BE49-F238E27FC236}">
                  <a16:creationId xmlns:a16="http://schemas.microsoft.com/office/drawing/2014/main" id="{CF0849B4-CF1C-47E4-A0D5-8D97AB895154}"/>
                </a:ext>
              </a:extLst>
            </p:cNvPr>
            <p:cNvSpPr/>
            <p:nvPr/>
          </p:nvSpPr>
          <p:spPr bwMode="auto">
            <a:xfrm>
              <a:off x="8771681" y="5402323"/>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ML services</a:t>
              </a:r>
            </a:p>
          </p:txBody>
        </p:sp>
        <p:pic>
          <p:nvPicPr>
            <p:cNvPr id="214" name="Picture 213">
              <a:extLst>
                <a:ext uri="{FF2B5EF4-FFF2-40B4-BE49-F238E27FC236}">
                  <a16:creationId xmlns:a16="http://schemas.microsoft.com/office/drawing/2014/main" id="{514F8785-756D-4C41-ABB2-26484D7E9B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92160" y="5405069"/>
              <a:ext cx="219472" cy="256049"/>
            </a:xfrm>
            <a:prstGeom prst="rect">
              <a:avLst/>
            </a:prstGeom>
          </p:spPr>
        </p:pic>
        <p:cxnSp>
          <p:nvCxnSpPr>
            <p:cNvPr id="253" name="Straight Connector 252">
              <a:extLst>
                <a:ext uri="{FF2B5EF4-FFF2-40B4-BE49-F238E27FC236}">
                  <a16:creationId xmlns:a16="http://schemas.microsoft.com/office/drawing/2014/main" id="{571D815A-E9EA-468A-8A97-1E8919AFD982}"/>
                </a:ext>
              </a:extLst>
            </p:cNvPr>
            <p:cNvCxnSpPr>
              <a:cxnSpLocks/>
            </p:cNvCxnSpPr>
            <p:nvPr/>
          </p:nvCxnSpPr>
          <p:spPr>
            <a:xfrm>
              <a:off x="4773366" y="5243721"/>
              <a:ext cx="2601859"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56" name="Group 140">
              <a:extLst>
                <a:ext uri="{FF2B5EF4-FFF2-40B4-BE49-F238E27FC236}">
                  <a16:creationId xmlns:a16="http://schemas.microsoft.com/office/drawing/2014/main" id="{EDA1FB2F-2BC9-428F-ABC6-01937CAFB02B}"/>
                </a:ext>
              </a:extLst>
            </p:cNvPr>
            <p:cNvGrpSpPr>
              <a:grpSpLocks noChangeAspect="1"/>
            </p:cNvGrpSpPr>
            <p:nvPr/>
          </p:nvGrpSpPr>
          <p:grpSpPr bwMode="auto">
            <a:xfrm>
              <a:off x="1887143" y="5386343"/>
              <a:ext cx="238440" cy="223639"/>
              <a:chOff x="1369" y="3008"/>
              <a:chExt cx="435" cy="408"/>
            </a:xfrm>
            <a:solidFill>
              <a:schemeClr val="tx1"/>
            </a:solidFill>
          </p:grpSpPr>
          <p:sp>
            <p:nvSpPr>
              <p:cNvPr id="257" name="Freeform 141">
                <a:extLst>
                  <a:ext uri="{FF2B5EF4-FFF2-40B4-BE49-F238E27FC236}">
                    <a16:creationId xmlns:a16="http://schemas.microsoft.com/office/drawing/2014/main" id="{E871E870-3637-47EC-A8CE-93CEABB62833}"/>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258" name="Freeform 142">
                <a:extLst>
                  <a:ext uri="{FF2B5EF4-FFF2-40B4-BE49-F238E27FC236}">
                    <a16:creationId xmlns:a16="http://schemas.microsoft.com/office/drawing/2014/main" id="{0059ABA0-29D3-469C-AE68-0439F03CE191}"/>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59" name="Freeform 143">
                <a:extLst>
                  <a:ext uri="{FF2B5EF4-FFF2-40B4-BE49-F238E27FC236}">
                    <a16:creationId xmlns:a16="http://schemas.microsoft.com/office/drawing/2014/main" id="{EDD5EF46-B80F-41F8-8FC7-8F49C243F621}"/>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60" name="Freeform 144">
                <a:extLst>
                  <a:ext uri="{FF2B5EF4-FFF2-40B4-BE49-F238E27FC236}">
                    <a16:creationId xmlns:a16="http://schemas.microsoft.com/office/drawing/2014/main" id="{D129D5D3-26BB-4507-8144-3C4490BBC808}"/>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202" name="Picture 201">
              <a:extLst>
                <a:ext uri="{FF2B5EF4-FFF2-40B4-BE49-F238E27FC236}">
                  <a16:creationId xmlns:a16="http://schemas.microsoft.com/office/drawing/2014/main" id="{9561C747-EDA0-485D-B715-43CA7376643F}"/>
                </a:ext>
              </a:extLst>
            </p:cNvPr>
            <p:cNvPicPr>
              <a:picLocks noChangeAspect="1"/>
            </p:cNvPicPr>
            <p:nvPr/>
          </p:nvPicPr>
          <p:blipFill>
            <a:blip r:embed="rId4"/>
            <a:stretch>
              <a:fillRect/>
            </a:stretch>
          </p:blipFill>
          <p:spPr>
            <a:xfrm>
              <a:off x="1879551" y="5760914"/>
              <a:ext cx="264226" cy="238604"/>
            </a:xfrm>
            <a:prstGeom prst="rect">
              <a:avLst/>
            </a:prstGeom>
          </p:spPr>
        </p:pic>
        <p:pic>
          <p:nvPicPr>
            <p:cNvPr id="204" name="Picture 203">
              <a:extLst>
                <a:ext uri="{FF2B5EF4-FFF2-40B4-BE49-F238E27FC236}">
                  <a16:creationId xmlns:a16="http://schemas.microsoft.com/office/drawing/2014/main" id="{C61A2EC3-E217-4E45-B5D9-0D6D9C5686C7}"/>
                </a:ext>
              </a:extLst>
            </p:cNvPr>
            <p:cNvPicPr>
              <a:picLocks noChangeAspect="1"/>
            </p:cNvPicPr>
            <p:nvPr/>
          </p:nvPicPr>
          <p:blipFill>
            <a:blip r:embed="rId4"/>
            <a:stretch>
              <a:fillRect/>
            </a:stretch>
          </p:blipFill>
          <p:spPr>
            <a:xfrm>
              <a:off x="5113132" y="5599050"/>
              <a:ext cx="264226" cy="238604"/>
            </a:xfrm>
            <a:prstGeom prst="rect">
              <a:avLst/>
            </a:prstGeom>
          </p:spPr>
        </p:pic>
        <p:pic>
          <p:nvPicPr>
            <p:cNvPr id="205" name="Picture 204">
              <a:extLst>
                <a:ext uri="{FF2B5EF4-FFF2-40B4-BE49-F238E27FC236}">
                  <a16:creationId xmlns:a16="http://schemas.microsoft.com/office/drawing/2014/main" id="{6265E241-35F6-44B8-9F3A-E09AF8213983}"/>
                </a:ext>
              </a:extLst>
            </p:cNvPr>
            <p:cNvPicPr>
              <a:picLocks noChangeAspect="1"/>
            </p:cNvPicPr>
            <p:nvPr/>
          </p:nvPicPr>
          <p:blipFill>
            <a:blip r:embed="rId4"/>
            <a:stretch>
              <a:fillRect/>
            </a:stretch>
          </p:blipFill>
          <p:spPr>
            <a:xfrm>
              <a:off x="8369783" y="5760914"/>
              <a:ext cx="264226" cy="238604"/>
            </a:xfrm>
            <a:prstGeom prst="rect">
              <a:avLst/>
            </a:prstGeom>
          </p:spPr>
        </p:pic>
      </p:grpSp>
    </p:spTree>
    <p:extLst>
      <p:ext uri="{BB962C8B-B14F-4D97-AF65-F5344CB8AC3E}">
        <p14:creationId xmlns:p14="http://schemas.microsoft.com/office/powerpoint/2010/main" val="241630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left)">
                                      <p:cBhvr>
                                        <p:cTn id="26" dur="500"/>
                                        <p:tgtEl>
                                          <p:spTgt spid="5"/>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xit" presetSubtype="0" fill="hold" grpId="0" nodeType="withEffect">
                                  <p:stCondLst>
                                    <p:cond delay="0"/>
                                  </p:stCondLst>
                                  <p:childTnLst>
                                    <p:animEffect transition="out" filter="fade">
                                      <p:cBhvr>
                                        <p:cTn id="32" dur="500"/>
                                        <p:tgtEl>
                                          <p:spTgt spid="254"/>
                                        </p:tgtEl>
                                      </p:cBhvr>
                                    </p:animEffect>
                                    <p:set>
                                      <p:cBhvr>
                                        <p:cTn id="33" dur="1" fill="hold">
                                          <p:stCondLst>
                                            <p:cond delay="499"/>
                                          </p:stCondLst>
                                        </p:cTn>
                                        <p:tgtEl>
                                          <p:spTgt spid="254"/>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5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542E81-D372-4D98-9E5E-A1C53AF2D9DB}"/>
              </a:ext>
            </a:extLst>
          </p:cNvPr>
          <p:cNvSpPr>
            <a:spLocks noGrp="1"/>
          </p:cNvSpPr>
          <p:nvPr>
            <p:ph type="title"/>
          </p:nvPr>
        </p:nvSpPr>
        <p:spPr/>
        <p:txBody>
          <a:bodyPr vert="horz" wrap="square" lIns="0" tIns="164592" rIns="0" bIns="0" rtlCol="0" anchor="t">
            <a:noAutofit/>
          </a:bodyPr>
          <a:lstStyle/>
          <a:p>
            <a:r>
              <a:rPr lang="en-US" spc="-150" dirty="0"/>
              <a:t>Collect and prepare all of your data at scale</a:t>
            </a:r>
            <a:endParaRPr lang="en-IN" spc="-150" dirty="0"/>
          </a:p>
        </p:txBody>
      </p:sp>
      <p:grpSp>
        <p:nvGrpSpPr>
          <p:cNvPr id="147" name="Group 146">
            <a:extLst>
              <a:ext uri="{FF2B5EF4-FFF2-40B4-BE49-F238E27FC236}">
                <a16:creationId xmlns:a16="http://schemas.microsoft.com/office/drawing/2014/main" id="{C1446AB5-2AE2-4E53-AB54-7EE4F9FBCAD1}"/>
              </a:ext>
            </a:extLst>
          </p:cNvPr>
          <p:cNvGrpSpPr/>
          <p:nvPr/>
        </p:nvGrpSpPr>
        <p:grpSpPr>
          <a:xfrm>
            <a:off x="1845789" y="2371762"/>
            <a:ext cx="988664" cy="895920"/>
            <a:chOff x="3306405" y="4434840"/>
            <a:chExt cx="1171702" cy="1061784"/>
          </a:xfrm>
        </p:grpSpPr>
        <p:sp>
          <p:nvSpPr>
            <p:cNvPr id="279" name="Database_EFC7" title="Icon of a cylinder">
              <a:extLst>
                <a:ext uri="{FF2B5EF4-FFF2-40B4-BE49-F238E27FC236}">
                  <a16:creationId xmlns:a16="http://schemas.microsoft.com/office/drawing/2014/main" id="{07C1623C-AAED-41C3-AD24-34B2405FA867}"/>
                </a:ext>
              </a:extLst>
            </p:cNvPr>
            <p:cNvSpPr>
              <a:spLocks noChangeAspect="1" noEditPoints="1"/>
            </p:cNvSpPr>
            <p:nvPr/>
          </p:nvSpPr>
          <p:spPr bwMode="auto">
            <a:xfrm>
              <a:off x="3733975" y="4759992"/>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0" name="Database_EFC7" title="Icon of a cylinder">
              <a:extLst>
                <a:ext uri="{FF2B5EF4-FFF2-40B4-BE49-F238E27FC236}">
                  <a16:creationId xmlns:a16="http://schemas.microsoft.com/office/drawing/2014/main" id="{278C459C-F8A9-4921-99C4-13F5623043AD}"/>
                </a:ext>
              </a:extLst>
            </p:cNvPr>
            <p:cNvSpPr>
              <a:spLocks noChangeAspect="1" noEditPoints="1"/>
            </p:cNvSpPr>
            <p:nvPr/>
          </p:nvSpPr>
          <p:spPr bwMode="auto">
            <a:xfrm>
              <a:off x="330640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1" name="Database_EFC7" title="Icon of a cylinder">
              <a:extLst>
                <a:ext uri="{FF2B5EF4-FFF2-40B4-BE49-F238E27FC236}">
                  <a16:creationId xmlns:a16="http://schemas.microsoft.com/office/drawing/2014/main" id="{5AC4CDF8-52CE-4BC8-B79A-44E46AB3FB05}"/>
                </a:ext>
              </a:extLst>
            </p:cNvPr>
            <p:cNvSpPr>
              <a:spLocks noChangeAspect="1" noEditPoints="1"/>
            </p:cNvSpPr>
            <p:nvPr/>
          </p:nvSpPr>
          <p:spPr bwMode="auto">
            <a:xfrm>
              <a:off x="330640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2" name="Database_EFC7" title="Icon of a cylinder">
              <a:extLst>
                <a:ext uri="{FF2B5EF4-FFF2-40B4-BE49-F238E27FC236}">
                  <a16:creationId xmlns:a16="http://schemas.microsoft.com/office/drawing/2014/main" id="{7BCEA1C9-6D81-42E5-983F-5DE7B43EF974}"/>
                </a:ext>
              </a:extLst>
            </p:cNvPr>
            <p:cNvSpPr>
              <a:spLocks noChangeAspect="1" noEditPoints="1"/>
            </p:cNvSpPr>
            <p:nvPr/>
          </p:nvSpPr>
          <p:spPr bwMode="auto">
            <a:xfrm>
              <a:off x="424747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3" name="Database_EFC7" title="Icon of a cylinder">
              <a:extLst>
                <a:ext uri="{FF2B5EF4-FFF2-40B4-BE49-F238E27FC236}">
                  <a16:creationId xmlns:a16="http://schemas.microsoft.com/office/drawing/2014/main" id="{2C2A94BF-7684-4AE6-866D-E5F48D6AC1E4}"/>
                </a:ext>
              </a:extLst>
            </p:cNvPr>
            <p:cNvSpPr>
              <a:spLocks noChangeAspect="1" noEditPoints="1"/>
            </p:cNvSpPr>
            <p:nvPr/>
          </p:nvSpPr>
          <p:spPr bwMode="auto">
            <a:xfrm>
              <a:off x="424747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84" name="Straight Connector 283">
              <a:extLst>
                <a:ext uri="{FF2B5EF4-FFF2-40B4-BE49-F238E27FC236}">
                  <a16:creationId xmlns:a16="http://schemas.microsoft.com/office/drawing/2014/main" id="{BBBCE256-CFF0-431B-85DE-E5F2F6671804}"/>
                </a:ext>
              </a:extLst>
            </p:cNvPr>
            <p:cNvCxnSpPr>
              <a:stCxn id="281" idx="1"/>
              <a:endCxn id="279" idx="4"/>
            </p:cNvCxnSpPr>
            <p:nvPr/>
          </p:nvCxnSpPr>
          <p:spPr>
            <a:xfrm flipV="1">
              <a:off x="3537037" y="5108187"/>
              <a:ext cx="196938" cy="1462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885B1A04-55AF-494F-B2BA-3900707F4586}"/>
                </a:ext>
              </a:extLst>
            </p:cNvPr>
            <p:cNvCxnSpPr>
              <a:cxnSpLocks/>
            </p:cNvCxnSpPr>
            <p:nvPr/>
          </p:nvCxnSpPr>
          <p:spPr>
            <a:xfrm flipH="1" flipV="1">
              <a:off x="4050537" y="5108187"/>
              <a:ext cx="196938" cy="1462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40D6D357-F2D9-4052-859C-9961BECB789A}"/>
                </a:ext>
              </a:extLst>
            </p:cNvPr>
            <p:cNvCxnSpPr>
              <a:cxnSpLocks/>
              <a:stCxn id="279" idx="10"/>
              <a:endCxn id="280" idx="2"/>
            </p:cNvCxnSpPr>
            <p:nvPr/>
          </p:nvCxnSpPr>
          <p:spPr>
            <a:xfrm flipH="1" flipV="1">
              <a:off x="3537037" y="4688518"/>
              <a:ext cx="196938" cy="13475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DFC8B00-3776-4D2B-87BD-D243BDB06082}"/>
                </a:ext>
              </a:extLst>
            </p:cNvPr>
            <p:cNvCxnSpPr>
              <a:cxnSpLocks/>
              <a:stCxn id="282" idx="4"/>
              <a:endCxn id="279" idx="12"/>
            </p:cNvCxnSpPr>
            <p:nvPr/>
          </p:nvCxnSpPr>
          <p:spPr>
            <a:xfrm flipH="1">
              <a:off x="4050537" y="4688518"/>
              <a:ext cx="196938" cy="13475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9" name="Rectangle: Rounded Corners 148">
            <a:extLst>
              <a:ext uri="{FF2B5EF4-FFF2-40B4-BE49-F238E27FC236}">
                <a16:creationId xmlns:a16="http://schemas.microsoft.com/office/drawing/2014/main" id="{53885BBE-6CEA-4BE8-8634-A719E33881C7}"/>
              </a:ext>
            </a:extLst>
          </p:cNvPr>
          <p:cNvSpPr/>
          <p:nvPr/>
        </p:nvSpPr>
        <p:spPr bwMode="auto">
          <a:xfrm>
            <a:off x="997593"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mj-lt"/>
                <a:ea typeface="Segoe UI" pitchFamily="34" charset="0"/>
                <a:cs typeface="Segoe UI" pitchFamily="34" charset="0"/>
              </a:rPr>
              <a:t>Ingest</a:t>
            </a:r>
          </a:p>
        </p:txBody>
      </p:sp>
      <p:sp>
        <p:nvSpPr>
          <p:cNvPr id="271" name="Oval 270">
            <a:extLst>
              <a:ext uri="{FF2B5EF4-FFF2-40B4-BE49-F238E27FC236}">
                <a16:creationId xmlns:a16="http://schemas.microsoft.com/office/drawing/2014/main" id="{184C067F-CABE-4944-8BD9-1D677198277C}"/>
              </a:ext>
            </a:extLst>
          </p:cNvPr>
          <p:cNvSpPr/>
          <p:nvPr/>
        </p:nvSpPr>
        <p:spPr bwMode="auto">
          <a:xfrm>
            <a:off x="411852"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72" name="TextBox 271">
            <a:extLst>
              <a:ext uri="{FF2B5EF4-FFF2-40B4-BE49-F238E27FC236}">
                <a16:creationId xmlns:a16="http://schemas.microsoft.com/office/drawing/2014/main" id="{C824A23B-E86B-4FD3-A3F4-0974567FF628}"/>
              </a:ext>
            </a:extLst>
          </p:cNvPr>
          <p:cNvSpPr txBox="1"/>
          <p:nvPr/>
        </p:nvSpPr>
        <p:spPr>
          <a:xfrm>
            <a:off x="634999" y="1950818"/>
            <a:ext cx="695885"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zure data factory</a:t>
            </a:r>
          </a:p>
        </p:txBody>
      </p:sp>
      <p:cxnSp>
        <p:nvCxnSpPr>
          <p:cNvPr id="153" name="Straight Arrow Connector 152">
            <a:extLst>
              <a:ext uri="{FF2B5EF4-FFF2-40B4-BE49-F238E27FC236}">
                <a16:creationId xmlns:a16="http://schemas.microsoft.com/office/drawing/2014/main" id="{FE749798-DE55-4611-8E4A-3AABFA804090}"/>
              </a:ext>
            </a:extLst>
          </p:cNvPr>
          <p:cNvCxnSpPr>
            <a:cxnSpLocks/>
          </p:cNvCxnSpPr>
          <p:nvPr/>
        </p:nvCxnSpPr>
        <p:spPr>
          <a:xfrm>
            <a:off x="3868627" y="2906485"/>
            <a:ext cx="926382" cy="0"/>
          </a:xfrm>
          <a:prstGeom prst="straightConnector1">
            <a:avLst/>
          </a:prstGeom>
          <a:ln w="1905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263AB4B-260F-4F0C-AB28-5FDD169C3169}"/>
              </a:ext>
            </a:extLst>
          </p:cNvPr>
          <p:cNvCxnSpPr>
            <a:cxnSpLocks/>
          </p:cNvCxnSpPr>
          <p:nvPr/>
        </p:nvCxnSpPr>
        <p:spPr>
          <a:xfrm>
            <a:off x="7832932" y="2906485"/>
            <a:ext cx="1099975" cy="0"/>
          </a:xfrm>
          <a:prstGeom prst="straightConnector1">
            <a:avLst/>
          </a:prstGeom>
          <a:ln w="1905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50" name="Rectangle: Rounded Corners 149">
            <a:extLst>
              <a:ext uri="{FF2B5EF4-FFF2-40B4-BE49-F238E27FC236}">
                <a16:creationId xmlns:a16="http://schemas.microsoft.com/office/drawing/2014/main" id="{7B7EF2D1-AFD4-4E9B-B340-A17626B3A395}"/>
              </a:ext>
            </a:extLst>
          </p:cNvPr>
          <p:cNvSpPr/>
          <p:nvPr/>
        </p:nvSpPr>
        <p:spPr bwMode="auto">
          <a:xfrm>
            <a:off x="5023890"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dirty="0">
                <a:solidFill>
                  <a:schemeClr val="tx2"/>
                </a:solidFill>
                <a:latin typeface="+mj-lt"/>
                <a:cs typeface="Segoe UI" pitchFamily="34" charset="0"/>
              </a:rPr>
              <a:t>Store</a:t>
            </a:r>
          </a:p>
        </p:txBody>
      </p:sp>
      <p:sp>
        <p:nvSpPr>
          <p:cNvPr id="261" name="Oval 260">
            <a:extLst>
              <a:ext uri="{FF2B5EF4-FFF2-40B4-BE49-F238E27FC236}">
                <a16:creationId xmlns:a16="http://schemas.microsoft.com/office/drawing/2014/main" id="{7D555F06-A926-426F-A615-04CC7878FEE2}"/>
              </a:ext>
            </a:extLst>
          </p:cNvPr>
          <p:cNvSpPr/>
          <p:nvPr/>
        </p:nvSpPr>
        <p:spPr bwMode="auto">
          <a:xfrm>
            <a:off x="4433004"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62" name="TextBox 261">
            <a:extLst>
              <a:ext uri="{FF2B5EF4-FFF2-40B4-BE49-F238E27FC236}">
                <a16:creationId xmlns:a16="http://schemas.microsoft.com/office/drawing/2014/main" id="{4D647CE5-3775-4DF9-B11E-E0F4599D4311}"/>
              </a:ext>
            </a:extLst>
          </p:cNvPr>
          <p:cNvSpPr txBox="1"/>
          <p:nvPr/>
        </p:nvSpPr>
        <p:spPr>
          <a:xfrm>
            <a:off x="4609031" y="1950818"/>
            <a:ext cx="790124"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zure blob storage</a:t>
            </a:r>
          </a:p>
        </p:txBody>
      </p:sp>
      <p:grpSp>
        <p:nvGrpSpPr>
          <p:cNvPr id="164" name="Group 163">
            <a:extLst>
              <a:ext uri="{FF2B5EF4-FFF2-40B4-BE49-F238E27FC236}">
                <a16:creationId xmlns:a16="http://schemas.microsoft.com/office/drawing/2014/main" id="{DDD4DA47-A7BF-4F22-B3BC-F80B5087C72D}"/>
              </a:ext>
            </a:extLst>
          </p:cNvPr>
          <p:cNvGrpSpPr/>
          <p:nvPr/>
        </p:nvGrpSpPr>
        <p:grpSpPr>
          <a:xfrm>
            <a:off x="5924173" y="2394924"/>
            <a:ext cx="884489" cy="940581"/>
            <a:chOff x="5767893" y="2805287"/>
            <a:chExt cx="731968" cy="778386"/>
          </a:xfrm>
        </p:grpSpPr>
        <p:sp>
          <p:nvSpPr>
            <p:cNvPr id="215" name="Freeform: Shape 214">
              <a:extLst>
                <a:ext uri="{FF2B5EF4-FFF2-40B4-BE49-F238E27FC236}">
                  <a16:creationId xmlns:a16="http://schemas.microsoft.com/office/drawing/2014/main" id="{9BC9AC3B-2C2E-420E-8430-CCCA85C8D664}"/>
                </a:ext>
              </a:extLst>
            </p:cNvPr>
            <p:cNvSpPr/>
            <p:nvPr/>
          </p:nvSpPr>
          <p:spPr>
            <a:xfrm>
              <a:off x="5767893" y="3104793"/>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6F7624E8-E5C2-4C6B-81BD-9A198181B216}"/>
                </a:ext>
              </a:extLst>
            </p:cNvPr>
            <p:cNvSpPr/>
            <p:nvPr/>
          </p:nvSpPr>
          <p:spPr>
            <a:xfrm>
              <a:off x="5767893" y="3360361"/>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17" name="Group 216">
              <a:extLst>
                <a:ext uri="{FF2B5EF4-FFF2-40B4-BE49-F238E27FC236}">
                  <a16:creationId xmlns:a16="http://schemas.microsoft.com/office/drawing/2014/main" id="{58EFD31B-3811-4797-82F7-1ED1B26F263D}"/>
                </a:ext>
              </a:extLst>
            </p:cNvPr>
            <p:cNvGrpSpPr/>
            <p:nvPr/>
          </p:nvGrpSpPr>
          <p:grpSpPr>
            <a:xfrm>
              <a:off x="5868383" y="2951972"/>
              <a:ext cx="526026" cy="124063"/>
              <a:chOff x="5868383" y="2934827"/>
              <a:chExt cx="526026" cy="124063"/>
            </a:xfrm>
          </p:grpSpPr>
          <p:sp>
            <p:nvSpPr>
              <p:cNvPr id="236" name="Freeform: Shape 235">
                <a:extLst>
                  <a:ext uri="{FF2B5EF4-FFF2-40B4-BE49-F238E27FC236}">
                    <a16:creationId xmlns:a16="http://schemas.microsoft.com/office/drawing/2014/main" id="{80FB5EC8-E6D1-4B2A-9C21-60A72A3F5A6D}"/>
                  </a:ext>
                </a:extLst>
              </p:cNvPr>
              <p:cNvSpPr/>
              <p:nvPr/>
            </p:nvSpPr>
            <p:spPr>
              <a:xfrm>
                <a:off x="5868383"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2EF4DA5-795A-425B-99D3-EDF90E5D57FF}"/>
                  </a:ext>
                </a:extLst>
              </p:cNvPr>
              <p:cNvSpPr/>
              <p:nvPr/>
            </p:nvSpPr>
            <p:spPr>
              <a:xfrm>
                <a:off x="6058200"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CC6CF5B6-41BD-435D-AF43-5447DD33602C}"/>
                  </a:ext>
                </a:extLst>
              </p:cNvPr>
              <p:cNvSpPr/>
              <p:nvPr/>
            </p:nvSpPr>
            <p:spPr>
              <a:xfrm>
                <a:off x="6246774"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EC94D900-0345-450D-9E4C-14584EC3B862}"/>
                  </a:ext>
                </a:extLst>
              </p:cNvPr>
              <p:cNvSpPr/>
              <p:nvPr/>
            </p:nvSpPr>
            <p:spPr>
              <a:xfrm>
                <a:off x="5929174"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0A55C991-9A27-4116-9C90-4189D30BA710}"/>
                  </a:ext>
                </a:extLst>
              </p:cNvPr>
              <p:cNvSpPr/>
              <p:nvPr/>
            </p:nvSpPr>
            <p:spPr>
              <a:xfrm>
                <a:off x="6120231" y="29348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F22C0F84-EA36-45A1-A175-0E2374710958}"/>
                  </a:ext>
                </a:extLst>
              </p:cNvPr>
              <p:cNvSpPr/>
              <p:nvPr/>
            </p:nvSpPr>
            <p:spPr>
              <a:xfrm>
                <a:off x="6307565"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18" name="Freeform: Shape 217">
              <a:extLst>
                <a:ext uri="{FF2B5EF4-FFF2-40B4-BE49-F238E27FC236}">
                  <a16:creationId xmlns:a16="http://schemas.microsoft.com/office/drawing/2014/main" id="{1A94F9B4-E50D-4BDE-B07C-92912A745008}"/>
                </a:ext>
              </a:extLst>
            </p:cNvPr>
            <p:cNvSpPr/>
            <p:nvPr/>
          </p:nvSpPr>
          <p:spPr>
            <a:xfrm>
              <a:off x="5868383"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869B54BE-B847-4FFC-A4E5-1A07500BB723}"/>
                </a:ext>
              </a:extLst>
            </p:cNvPr>
            <p:cNvSpPr/>
            <p:nvPr/>
          </p:nvSpPr>
          <p:spPr>
            <a:xfrm>
              <a:off x="6058200"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9829C64F-3BB6-4C0A-B99F-7CD21675E31E}"/>
                </a:ext>
              </a:extLst>
            </p:cNvPr>
            <p:cNvSpPr/>
            <p:nvPr/>
          </p:nvSpPr>
          <p:spPr>
            <a:xfrm>
              <a:off x="6246774"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9668B3CE-01AE-41C3-986D-ED5AAE922BAE}"/>
                </a:ext>
              </a:extLst>
            </p:cNvPr>
            <p:cNvSpPr/>
            <p:nvPr/>
          </p:nvSpPr>
          <p:spPr>
            <a:xfrm>
              <a:off x="5929174"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7993F209-F206-43C6-A400-8095CA932D30}"/>
                </a:ext>
              </a:extLst>
            </p:cNvPr>
            <p:cNvSpPr/>
            <p:nvPr/>
          </p:nvSpPr>
          <p:spPr>
            <a:xfrm>
              <a:off x="6120231" y="34112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1"/>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904AA746-2C04-4E5E-9B0D-C0B5E74A4A8A}"/>
                </a:ext>
              </a:extLst>
            </p:cNvPr>
            <p:cNvSpPr/>
            <p:nvPr/>
          </p:nvSpPr>
          <p:spPr>
            <a:xfrm>
              <a:off x="6307565"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D916B062-7D1E-4F7A-A35F-3AA49B8A273D}"/>
                </a:ext>
              </a:extLst>
            </p:cNvPr>
            <p:cNvSpPr/>
            <p:nvPr/>
          </p:nvSpPr>
          <p:spPr>
            <a:xfrm>
              <a:off x="598996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E45D6407-C614-412D-B651-DDFCD15A7057}"/>
                </a:ext>
              </a:extLst>
            </p:cNvPr>
            <p:cNvSpPr/>
            <p:nvPr/>
          </p:nvSpPr>
          <p:spPr>
            <a:xfrm>
              <a:off x="618970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4F1C5E9D-7441-47FE-8521-B251D428DD65}"/>
                </a:ext>
              </a:extLst>
            </p:cNvPr>
            <p:cNvSpPr/>
            <p:nvPr/>
          </p:nvSpPr>
          <p:spPr>
            <a:xfrm>
              <a:off x="5854737"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8642"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8642" y="106591"/>
                    <a:pt x="71428" y="91674"/>
                    <a:pt x="71428" y="75690"/>
                  </a:cubicBezTo>
                  <a:lnTo>
                    <a:pt x="71428"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C729ECF9-2730-471E-B999-B175F9CDF16D}"/>
                </a:ext>
              </a:extLst>
            </p:cNvPr>
            <p:cNvSpPr/>
            <p:nvPr/>
          </p:nvSpPr>
          <p:spPr>
            <a:xfrm>
              <a:off x="6055717" y="3151937"/>
              <a:ext cx="86844" cy="136469"/>
            </a:xfrm>
            <a:custGeom>
              <a:avLst/>
              <a:gdLst>
                <a:gd name="connsiteX0" fmla="*/ 70363 w 74588"/>
                <a:gd name="connsiteY0" fmla="*/ 75690 h 117210"/>
                <a:gd name="connsiteX1" fmla="*/ 70363 w 74588"/>
                <a:gd name="connsiteY1" fmla="*/ 40527 h 117210"/>
                <a:gd name="connsiteX2" fmla="*/ 40527 w 74588"/>
                <a:gd name="connsiteY2" fmla="*/ 11758 h 117210"/>
                <a:gd name="connsiteX3" fmla="*/ 40527 w 74588"/>
                <a:gd name="connsiteY3" fmla="*/ 11758 h 117210"/>
                <a:gd name="connsiteX4" fmla="*/ 11758 w 74588"/>
                <a:gd name="connsiteY4" fmla="*/ 40527 h 117210"/>
                <a:gd name="connsiteX5" fmla="*/ 11758 w 74588"/>
                <a:gd name="connsiteY5" fmla="*/ 75690 h 117210"/>
                <a:gd name="connsiteX6" fmla="*/ 40527 w 74588"/>
                <a:gd name="connsiteY6" fmla="*/ 106591 h 117210"/>
                <a:gd name="connsiteX7" fmla="*/ 40527 w 74588"/>
                <a:gd name="connsiteY7" fmla="*/ 106591 h 117210"/>
                <a:gd name="connsiteX8" fmla="*/ 70363 w 74588"/>
                <a:gd name="connsiteY8" fmla="*/ 75690 h 117210"/>
                <a:gd name="connsiteX9" fmla="*/ 70363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0363" y="75690"/>
                  </a:moveTo>
                  <a:cubicBezTo>
                    <a:pt x="70363" y="40527"/>
                    <a:pt x="70363" y="40527"/>
                    <a:pt x="70363" y="40527"/>
                  </a:cubicBezTo>
                  <a:cubicBezTo>
                    <a:pt x="70363" y="25610"/>
                    <a:pt x="57576" y="11758"/>
                    <a:pt x="40527" y="11758"/>
                  </a:cubicBezTo>
                  <a:lnTo>
                    <a:pt x="40527" y="11758"/>
                  </a:lnTo>
                  <a:cubicBezTo>
                    <a:pt x="25610" y="11758"/>
                    <a:pt x="11758" y="25610"/>
                    <a:pt x="11758" y="40527"/>
                  </a:cubicBezTo>
                  <a:cubicBezTo>
                    <a:pt x="11758" y="75690"/>
                    <a:pt x="11758" y="75690"/>
                    <a:pt x="11758" y="75690"/>
                  </a:cubicBezTo>
                  <a:cubicBezTo>
                    <a:pt x="11758" y="90608"/>
                    <a:pt x="24544" y="106591"/>
                    <a:pt x="40527" y="106591"/>
                  </a:cubicBezTo>
                  <a:lnTo>
                    <a:pt x="40527" y="106591"/>
                  </a:lnTo>
                  <a:cubicBezTo>
                    <a:pt x="57576" y="106591"/>
                    <a:pt x="70363" y="91674"/>
                    <a:pt x="70363" y="75690"/>
                  </a:cubicBezTo>
                  <a:lnTo>
                    <a:pt x="70363"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E8671EEB-1C5E-4070-AA34-2FDAEBC06346}"/>
                </a:ext>
              </a:extLst>
            </p:cNvPr>
            <p:cNvSpPr/>
            <p:nvPr/>
          </p:nvSpPr>
          <p:spPr>
            <a:xfrm>
              <a:off x="6256699"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6511"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6511" y="106591"/>
                    <a:pt x="71428" y="91674"/>
                    <a:pt x="71428" y="75690"/>
                  </a:cubicBezTo>
                  <a:lnTo>
                    <a:pt x="71428"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3981CE02-E749-4BD3-91C7-0B1C107C8366}"/>
                </a:ext>
              </a:extLst>
            </p:cNvPr>
            <p:cNvSpPr/>
            <p:nvPr/>
          </p:nvSpPr>
          <p:spPr>
            <a:xfrm>
              <a:off x="6391927"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30" name="Group 229">
              <a:extLst>
                <a:ext uri="{FF2B5EF4-FFF2-40B4-BE49-F238E27FC236}">
                  <a16:creationId xmlns:a16="http://schemas.microsoft.com/office/drawing/2014/main" id="{09E6F9A3-F848-46A6-8473-8D30823FDE3A}"/>
                </a:ext>
              </a:extLst>
            </p:cNvPr>
            <p:cNvGrpSpPr/>
            <p:nvPr/>
          </p:nvGrpSpPr>
          <p:grpSpPr>
            <a:xfrm>
              <a:off x="5902673" y="2805287"/>
              <a:ext cx="465235" cy="124063"/>
              <a:chOff x="5868383" y="2805287"/>
              <a:chExt cx="465235" cy="124063"/>
            </a:xfrm>
          </p:grpSpPr>
          <p:sp>
            <p:nvSpPr>
              <p:cNvPr id="231" name="Freeform: Shape 230">
                <a:extLst>
                  <a:ext uri="{FF2B5EF4-FFF2-40B4-BE49-F238E27FC236}">
                    <a16:creationId xmlns:a16="http://schemas.microsoft.com/office/drawing/2014/main" id="{FC7DCD40-E9C5-4C07-81D4-ED4437D5F87C}"/>
                  </a:ext>
                </a:extLst>
              </p:cNvPr>
              <p:cNvSpPr/>
              <p:nvPr/>
            </p:nvSpPr>
            <p:spPr>
              <a:xfrm flipH="1">
                <a:off x="6179779"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42FCDF25-D95D-46CC-BA74-1AB69C3647D1}"/>
                  </a:ext>
                </a:extLst>
              </p:cNvPr>
              <p:cNvSpPr/>
              <p:nvPr/>
            </p:nvSpPr>
            <p:spPr>
              <a:xfrm flipH="1">
                <a:off x="5991205"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F892856F-1BAF-420E-9C06-473C6760D445}"/>
                  </a:ext>
                </a:extLst>
              </p:cNvPr>
              <p:cNvSpPr/>
              <p:nvPr/>
            </p:nvSpPr>
            <p:spPr>
              <a:xfrm flipH="1">
                <a:off x="6246774"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0F67F8E7-44C3-4C4B-BF8E-1C33B0A6E389}"/>
                  </a:ext>
                </a:extLst>
              </p:cNvPr>
              <p:cNvSpPr/>
              <p:nvPr/>
            </p:nvSpPr>
            <p:spPr>
              <a:xfrm flipH="1">
                <a:off x="6055717" y="280528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4BC6713-21F3-4C66-B5A9-C8CB59E58BE7}"/>
                  </a:ext>
                </a:extLst>
              </p:cNvPr>
              <p:cNvSpPr/>
              <p:nvPr/>
            </p:nvSpPr>
            <p:spPr>
              <a:xfrm flipH="1">
                <a:off x="5868383"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51" name="Rectangle: Rounded Corners 150">
            <a:extLst>
              <a:ext uri="{FF2B5EF4-FFF2-40B4-BE49-F238E27FC236}">
                <a16:creationId xmlns:a16="http://schemas.microsoft.com/office/drawing/2014/main" id="{C5E7CC7F-B112-4EA3-AF93-3A90B66BA7ED}"/>
              </a:ext>
            </a:extLst>
          </p:cNvPr>
          <p:cNvSpPr/>
          <p:nvPr/>
        </p:nvSpPr>
        <p:spPr bwMode="auto">
          <a:xfrm>
            <a:off x="9049744"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dirty="0">
                <a:solidFill>
                  <a:schemeClr val="tx2"/>
                </a:solidFill>
                <a:latin typeface="+mj-lt"/>
                <a:cs typeface="Segoe UI" pitchFamily="34" charset="0"/>
              </a:rPr>
              <a:t>Understand and transform</a:t>
            </a:r>
          </a:p>
        </p:txBody>
      </p:sp>
      <p:sp>
        <p:nvSpPr>
          <p:cNvPr id="252" name="Oval 251">
            <a:extLst>
              <a:ext uri="{FF2B5EF4-FFF2-40B4-BE49-F238E27FC236}">
                <a16:creationId xmlns:a16="http://schemas.microsoft.com/office/drawing/2014/main" id="{1289E748-0344-40DB-BCB4-E01F326A5F79}"/>
              </a:ext>
            </a:extLst>
          </p:cNvPr>
          <p:cNvSpPr/>
          <p:nvPr/>
        </p:nvSpPr>
        <p:spPr bwMode="auto">
          <a:xfrm>
            <a:off x="8459300"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53" name="TextBox 252">
            <a:extLst>
              <a:ext uri="{FF2B5EF4-FFF2-40B4-BE49-F238E27FC236}">
                <a16:creationId xmlns:a16="http://schemas.microsoft.com/office/drawing/2014/main" id="{4DFE7DEA-B59A-4BFB-8CBE-869337E60A65}"/>
              </a:ext>
            </a:extLst>
          </p:cNvPr>
          <p:cNvSpPr txBox="1"/>
          <p:nvPr/>
        </p:nvSpPr>
        <p:spPr>
          <a:xfrm>
            <a:off x="8595263" y="1950818"/>
            <a:ext cx="870253" cy="246221"/>
          </a:xfrm>
          <a:prstGeom prst="rect">
            <a:avLst/>
          </a:prstGeom>
        </p:spPr>
        <p:txBody>
          <a:bodyPr wrap="square" lIns="0" tIns="0" rIns="0" bIns="0">
            <a:spAutoFit/>
          </a:bodyPr>
          <a:lstStyle>
            <a:defPPr>
              <a:defRPr lang="en-US"/>
            </a:defPPr>
            <a:lvl1pPr marR="0" lvl="0" indent="0" algn="ctr" defTabSz="950973" fontAlgn="auto">
              <a:lnSpc>
                <a:spcPct val="100000"/>
              </a:lnSpc>
              <a:spcBef>
                <a:spcPts val="0"/>
              </a:spcBef>
              <a:spcAft>
                <a:spcPts val="0"/>
              </a:spcAft>
              <a:buClrTx/>
              <a:buSzTx/>
              <a:buFontTx/>
              <a:buNone/>
              <a:tabLst/>
              <a:defRPr kumimoji="0" sz="800" b="0" i="0" u="none" strike="noStrike" kern="0" cap="none" spc="0" normalizeH="0" baseline="0">
                <a:ln>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defRPr>
            </a:lvl1pPr>
          </a:lstStyle>
          <a:p>
            <a:r>
              <a:rPr lang="en-US" dirty="0">
                <a:solidFill>
                  <a:schemeClr val="tx1"/>
                </a:solidFill>
              </a:rPr>
              <a:t>Azure </a:t>
            </a:r>
          </a:p>
          <a:p>
            <a:r>
              <a:rPr lang="en-US" dirty="0">
                <a:solidFill>
                  <a:schemeClr val="tx1"/>
                </a:solidFill>
              </a:rPr>
              <a:t>Databricks</a:t>
            </a:r>
          </a:p>
        </p:txBody>
      </p:sp>
      <p:grpSp>
        <p:nvGrpSpPr>
          <p:cNvPr id="15" name="Group 14">
            <a:extLst>
              <a:ext uri="{FF2B5EF4-FFF2-40B4-BE49-F238E27FC236}">
                <a16:creationId xmlns:a16="http://schemas.microsoft.com/office/drawing/2014/main" id="{3D74B628-AFED-4E80-8261-C75BB9C85245}"/>
              </a:ext>
            </a:extLst>
          </p:cNvPr>
          <p:cNvGrpSpPr/>
          <p:nvPr/>
        </p:nvGrpSpPr>
        <p:grpSpPr>
          <a:xfrm>
            <a:off x="9990416" y="2394924"/>
            <a:ext cx="803711" cy="882116"/>
            <a:chOff x="1441254" y="3281759"/>
            <a:chExt cx="837104" cy="918766"/>
          </a:xfrm>
        </p:grpSpPr>
        <p:sp>
          <p:nvSpPr>
            <p:cNvPr id="288" name="Freeform: Shape 287">
              <a:extLst>
                <a:ext uri="{FF2B5EF4-FFF2-40B4-BE49-F238E27FC236}">
                  <a16:creationId xmlns:a16="http://schemas.microsoft.com/office/drawing/2014/main" id="{63738B0E-BB07-4ED4-B875-02E28DD95991}"/>
                </a:ext>
              </a:extLst>
            </p:cNvPr>
            <p:cNvSpPr/>
            <p:nvPr/>
          </p:nvSpPr>
          <p:spPr>
            <a:xfrm>
              <a:off x="1441254" y="3281759"/>
              <a:ext cx="837104" cy="918766"/>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5BB8CF13-E502-44C1-98CE-C965C7C87A6B}"/>
                </a:ext>
              </a:extLst>
            </p:cNvPr>
            <p:cNvSpPr/>
            <p:nvPr/>
          </p:nvSpPr>
          <p:spPr>
            <a:xfrm>
              <a:off x="1441254" y="3357303"/>
              <a:ext cx="837104" cy="2041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D8C4894D-96F0-4CF6-848E-E2EB44A3783E}"/>
                </a:ext>
              </a:extLst>
            </p:cNvPr>
            <p:cNvSpPr/>
            <p:nvPr/>
          </p:nvSpPr>
          <p:spPr>
            <a:xfrm>
              <a:off x="2129315"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B098C7CC-6215-4A6A-B544-EE7C49C81FA2}"/>
                </a:ext>
              </a:extLst>
            </p:cNvPr>
            <p:cNvSpPr/>
            <p:nvPr/>
          </p:nvSpPr>
          <p:spPr>
            <a:xfrm>
              <a:off x="2170150"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2" name="Freeform: Shape 291">
              <a:extLst>
                <a:ext uri="{FF2B5EF4-FFF2-40B4-BE49-F238E27FC236}">
                  <a16:creationId xmlns:a16="http://schemas.microsoft.com/office/drawing/2014/main" id="{497A56E2-292D-4213-B567-C4EC09B07A15}"/>
                </a:ext>
              </a:extLst>
            </p:cNvPr>
            <p:cNvSpPr/>
            <p:nvPr/>
          </p:nvSpPr>
          <p:spPr>
            <a:xfrm>
              <a:off x="2211001" y="3316467"/>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3" name="Freeform: Shape 292">
              <a:extLst>
                <a:ext uri="{FF2B5EF4-FFF2-40B4-BE49-F238E27FC236}">
                  <a16:creationId xmlns:a16="http://schemas.microsoft.com/office/drawing/2014/main" id="{8CC9A4EB-8A90-46E1-B7A5-4A521233319D}"/>
                </a:ext>
              </a:extLst>
            </p:cNvPr>
            <p:cNvSpPr/>
            <p:nvPr/>
          </p:nvSpPr>
          <p:spPr>
            <a:xfrm>
              <a:off x="1498437" y="3690178"/>
              <a:ext cx="714602" cy="440929"/>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4" name="Freeform: Shape 293">
              <a:extLst>
                <a:ext uri="{FF2B5EF4-FFF2-40B4-BE49-F238E27FC236}">
                  <a16:creationId xmlns:a16="http://schemas.microsoft.com/office/drawing/2014/main" id="{A20F06F8-58F6-49D5-8EF7-0869A224C6C9}"/>
                </a:ext>
              </a:extLst>
            </p:cNvPr>
            <p:cNvSpPr/>
            <p:nvPr/>
          </p:nvSpPr>
          <p:spPr>
            <a:xfrm>
              <a:off x="1516812" y="3396118"/>
              <a:ext cx="714600" cy="224589"/>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5" name="Freeform: Shape 294">
              <a:extLst>
                <a:ext uri="{FF2B5EF4-FFF2-40B4-BE49-F238E27FC236}">
                  <a16:creationId xmlns:a16="http://schemas.microsoft.com/office/drawing/2014/main" id="{4FAB642E-749A-467F-A6E1-30F523338532}"/>
                </a:ext>
              </a:extLst>
            </p:cNvPr>
            <p:cNvSpPr/>
            <p:nvPr/>
          </p:nvSpPr>
          <p:spPr>
            <a:xfrm>
              <a:off x="1494367" y="3555370"/>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E94D3B1E-A464-4332-AAD2-0AC261C8CBB7}"/>
                </a:ext>
              </a:extLst>
            </p:cNvPr>
            <p:cNvSpPr/>
            <p:nvPr/>
          </p:nvSpPr>
          <p:spPr>
            <a:xfrm>
              <a:off x="1547452"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C302A75C-FAB6-4C0B-A647-DEF28F5D4CEE}"/>
                </a:ext>
              </a:extLst>
            </p:cNvPr>
            <p:cNvSpPr/>
            <p:nvPr/>
          </p:nvSpPr>
          <p:spPr>
            <a:xfrm>
              <a:off x="1614828"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A939BC5C-E750-4047-BBD4-7DD748C07386}"/>
                </a:ext>
              </a:extLst>
            </p:cNvPr>
            <p:cNvSpPr/>
            <p:nvPr/>
          </p:nvSpPr>
          <p:spPr>
            <a:xfrm>
              <a:off x="168220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E1CC32B3-73F7-4A61-959A-E1BE3FF66E46}"/>
                </a:ext>
              </a:extLst>
            </p:cNvPr>
            <p:cNvSpPr/>
            <p:nvPr/>
          </p:nvSpPr>
          <p:spPr>
            <a:xfrm>
              <a:off x="174958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9857CCF2-1368-494B-A0A3-1ACA494A7C4C}"/>
                </a:ext>
              </a:extLst>
            </p:cNvPr>
            <p:cNvSpPr/>
            <p:nvPr/>
          </p:nvSpPr>
          <p:spPr>
            <a:xfrm>
              <a:off x="1816960"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5F2DF29A-CEF2-4E56-A444-21BE03A7E7BC}"/>
                </a:ext>
              </a:extLst>
            </p:cNvPr>
            <p:cNvSpPr/>
            <p:nvPr/>
          </p:nvSpPr>
          <p:spPr>
            <a:xfrm>
              <a:off x="1882295"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CF60E280-74AB-4329-9AF6-4664E5C93CED}"/>
                </a:ext>
              </a:extLst>
            </p:cNvPr>
            <p:cNvSpPr/>
            <p:nvPr/>
          </p:nvSpPr>
          <p:spPr>
            <a:xfrm>
              <a:off x="1949671"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6D58D5AD-CED6-475A-ADC5-1CFD62A2F915}"/>
                </a:ext>
              </a:extLst>
            </p:cNvPr>
            <p:cNvSpPr/>
            <p:nvPr/>
          </p:nvSpPr>
          <p:spPr>
            <a:xfrm>
              <a:off x="2017047"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F6AD9A32-98C8-4CB3-81D2-9804134E5DE2}"/>
                </a:ext>
              </a:extLst>
            </p:cNvPr>
            <p:cNvSpPr/>
            <p:nvPr/>
          </p:nvSpPr>
          <p:spPr>
            <a:xfrm>
              <a:off x="2084425" y="3596245"/>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822A010-68C4-4F3B-B5D5-CE31A7751C1C}"/>
                </a:ext>
              </a:extLst>
            </p:cNvPr>
            <p:cNvSpPr/>
            <p:nvPr/>
          </p:nvSpPr>
          <p:spPr>
            <a:xfrm>
              <a:off x="2151812" y="3596243"/>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C30973BC-020D-4DCD-9A7A-BC1AF30109B4}"/>
                </a:ext>
              </a:extLst>
            </p:cNvPr>
            <p:cNvSpPr/>
            <p:nvPr/>
          </p:nvSpPr>
          <p:spPr>
            <a:xfrm>
              <a:off x="1494416" y="3512555"/>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4AE03ED4-9537-4198-8257-BA168FD50947}"/>
                </a:ext>
              </a:extLst>
            </p:cNvPr>
            <p:cNvSpPr/>
            <p:nvPr/>
          </p:nvSpPr>
          <p:spPr>
            <a:xfrm>
              <a:off x="1494442" y="3469666"/>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B3DABE8E-4CF9-4D5C-9758-7D1F5DA7D340}"/>
                </a:ext>
              </a:extLst>
            </p:cNvPr>
            <p:cNvSpPr/>
            <p:nvPr/>
          </p:nvSpPr>
          <p:spPr>
            <a:xfrm>
              <a:off x="1494390" y="3426687"/>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09" name="Straight Connector 308">
              <a:extLst>
                <a:ext uri="{FF2B5EF4-FFF2-40B4-BE49-F238E27FC236}">
                  <a16:creationId xmlns:a16="http://schemas.microsoft.com/office/drawing/2014/main" id="{4CD9FEE4-CB8F-42AF-991F-8919D6D8E39D}"/>
                </a:ext>
              </a:extLst>
            </p:cNvPr>
            <p:cNvCxnSpPr>
              <a:cxnSpLocks/>
            </p:cNvCxnSpPr>
            <p:nvPr/>
          </p:nvCxnSpPr>
          <p:spPr>
            <a:xfrm>
              <a:off x="1567869" y="3744714"/>
              <a:ext cx="76031" cy="0"/>
            </a:xfrm>
            <a:prstGeom prst="line">
              <a:avLst/>
            </a:prstGeom>
            <a:noFill/>
            <a:ln w="19050" cap="flat" cmpd="sng" algn="ctr">
              <a:solidFill>
                <a:schemeClr val="tx1"/>
              </a:solidFill>
              <a:prstDash val="solid"/>
              <a:headEnd type="none"/>
              <a:tailEnd type="none"/>
            </a:ln>
            <a:effectLst/>
          </p:spPr>
        </p:cxnSp>
        <p:cxnSp>
          <p:nvCxnSpPr>
            <p:cNvPr id="310" name="Straight Connector 309">
              <a:extLst>
                <a:ext uri="{FF2B5EF4-FFF2-40B4-BE49-F238E27FC236}">
                  <a16:creationId xmlns:a16="http://schemas.microsoft.com/office/drawing/2014/main" id="{F023A4FA-7CFD-4566-92FD-877CE9956FAA}"/>
                </a:ext>
              </a:extLst>
            </p:cNvPr>
            <p:cNvCxnSpPr>
              <a:cxnSpLocks/>
            </p:cNvCxnSpPr>
            <p:nvPr/>
          </p:nvCxnSpPr>
          <p:spPr>
            <a:xfrm>
              <a:off x="1567869" y="3806458"/>
              <a:ext cx="148824" cy="0"/>
            </a:xfrm>
            <a:prstGeom prst="line">
              <a:avLst/>
            </a:prstGeom>
            <a:noFill/>
            <a:ln w="19050" cap="flat" cmpd="sng" algn="ctr">
              <a:solidFill>
                <a:schemeClr val="tx1"/>
              </a:solidFill>
              <a:prstDash val="solid"/>
              <a:headEnd type="none"/>
              <a:tailEnd type="none"/>
            </a:ln>
            <a:effectLst/>
          </p:spPr>
        </p:cxnSp>
        <p:cxnSp>
          <p:nvCxnSpPr>
            <p:cNvPr id="311" name="Straight Connector 310">
              <a:extLst>
                <a:ext uri="{FF2B5EF4-FFF2-40B4-BE49-F238E27FC236}">
                  <a16:creationId xmlns:a16="http://schemas.microsoft.com/office/drawing/2014/main" id="{F91A879D-2417-439F-BD22-FFEED37DA614}"/>
                </a:ext>
              </a:extLst>
            </p:cNvPr>
            <p:cNvCxnSpPr>
              <a:cxnSpLocks/>
            </p:cNvCxnSpPr>
            <p:nvPr/>
          </p:nvCxnSpPr>
          <p:spPr>
            <a:xfrm>
              <a:off x="1727354" y="3806458"/>
              <a:ext cx="89063" cy="0"/>
            </a:xfrm>
            <a:prstGeom prst="line">
              <a:avLst/>
            </a:prstGeom>
            <a:noFill/>
            <a:ln w="19050" cap="flat" cmpd="sng" algn="ctr">
              <a:solidFill>
                <a:schemeClr val="tx1"/>
              </a:solidFill>
              <a:prstDash val="solid"/>
              <a:headEnd type="none"/>
              <a:tailEnd type="none"/>
            </a:ln>
            <a:effectLst/>
          </p:spPr>
        </p:cxnSp>
        <p:cxnSp>
          <p:nvCxnSpPr>
            <p:cNvPr id="312" name="Straight Connector 311">
              <a:extLst>
                <a:ext uri="{FF2B5EF4-FFF2-40B4-BE49-F238E27FC236}">
                  <a16:creationId xmlns:a16="http://schemas.microsoft.com/office/drawing/2014/main" id="{B0703DA5-A173-404F-900E-4E531C3C63B3}"/>
                </a:ext>
              </a:extLst>
            </p:cNvPr>
            <p:cNvCxnSpPr>
              <a:cxnSpLocks/>
            </p:cNvCxnSpPr>
            <p:nvPr/>
          </p:nvCxnSpPr>
          <p:spPr>
            <a:xfrm>
              <a:off x="1567869" y="3852324"/>
              <a:ext cx="218515" cy="0"/>
            </a:xfrm>
            <a:prstGeom prst="line">
              <a:avLst/>
            </a:prstGeom>
            <a:noFill/>
            <a:ln w="19050" cap="flat" cmpd="sng" algn="ctr">
              <a:solidFill>
                <a:schemeClr val="tx1"/>
              </a:solidFill>
              <a:prstDash val="solid"/>
              <a:headEnd type="none"/>
              <a:tailEnd type="none"/>
            </a:ln>
            <a:effectLst/>
          </p:spPr>
        </p:cxnSp>
        <p:cxnSp>
          <p:nvCxnSpPr>
            <p:cNvPr id="313" name="Straight Connector 312">
              <a:extLst>
                <a:ext uri="{FF2B5EF4-FFF2-40B4-BE49-F238E27FC236}">
                  <a16:creationId xmlns:a16="http://schemas.microsoft.com/office/drawing/2014/main" id="{D7DFF880-D123-4FC0-9EA6-4E8F0E2B2C2C}"/>
                </a:ext>
              </a:extLst>
            </p:cNvPr>
            <p:cNvCxnSpPr>
              <a:cxnSpLocks/>
            </p:cNvCxnSpPr>
            <p:nvPr/>
          </p:nvCxnSpPr>
          <p:spPr>
            <a:xfrm>
              <a:off x="1835153" y="3852324"/>
              <a:ext cx="89063" cy="0"/>
            </a:xfrm>
            <a:prstGeom prst="line">
              <a:avLst/>
            </a:prstGeom>
            <a:noFill/>
            <a:ln w="19050" cap="flat" cmpd="sng" algn="ctr">
              <a:solidFill>
                <a:schemeClr val="tx1"/>
              </a:solidFill>
              <a:prstDash val="solid"/>
              <a:headEnd type="none"/>
              <a:tailEnd type="none"/>
            </a:ln>
            <a:effectLst/>
          </p:spPr>
        </p:cxnSp>
        <p:cxnSp>
          <p:nvCxnSpPr>
            <p:cNvPr id="314" name="Straight Connector 313">
              <a:extLst>
                <a:ext uri="{FF2B5EF4-FFF2-40B4-BE49-F238E27FC236}">
                  <a16:creationId xmlns:a16="http://schemas.microsoft.com/office/drawing/2014/main" id="{9D10EE4B-F618-4EDF-BAFC-6634EB8CFD5F}"/>
                </a:ext>
              </a:extLst>
            </p:cNvPr>
            <p:cNvCxnSpPr>
              <a:cxnSpLocks/>
            </p:cNvCxnSpPr>
            <p:nvPr/>
          </p:nvCxnSpPr>
          <p:spPr>
            <a:xfrm>
              <a:off x="1567869" y="3914067"/>
              <a:ext cx="90099" cy="0"/>
            </a:xfrm>
            <a:prstGeom prst="line">
              <a:avLst/>
            </a:prstGeom>
            <a:noFill/>
            <a:ln w="19050" cap="flat" cmpd="sng" algn="ctr">
              <a:solidFill>
                <a:schemeClr val="tx1"/>
              </a:solidFill>
              <a:prstDash val="solid"/>
              <a:headEnd type="none"/>
              <a:tailEnd type="none"/>
            </a:ln>
            <a:effectLst/>
          </p:spPr>
        </p:cxnSp>
        <p:cxnSp>
          <p:nvCxnSpPr>
            <p:cNvPr id="315" name="Straight Connector 314">
              <a:extLst>
                <a:ext uri="{FF2B5EF4-FFF2-40B4-BE49-F238E27FC236}">
                  <a16:creationId xmlns:a16="http://schemas.microsoft.com/office/drawing/2014/main" id="{6370109F-116F-4A23-BBE4-315B892809D1}"/>
                </a:ext>
              </a:extLst>
            </p:cNvPr>
            <p:cNvCxnSpPr>
              <a:cxnSpLocks/>
            </p:cNvCxnSpPr>
            <p:nvPr/>
          </p:nvCxnSpPr>
          <p:spPr>
            <a:xfrm>
              <a:off x="1668324" y="3914067"/>
              <a:ext cx="213478" cy="0"/>
            </a:xfrm>
            <a:prstGeom prst="line">
              <a:avLst/>
            </a:prstGeom>
            <a:noFill/>
            <a:ln w="19050" cap="flat" cmpd="sng" algn="ctr">
              <a:solidFill>
                <a:schemeClr val="tx1"/>
              </a:solidFill>
              <a:prstDash val="solid"/>
              <a:headEnd type="none"/>
              <a:tailEnd type="none"/>
            </a:ln>
            <a:effectLst/>
          </p:spPr>
        </p:cxnSp>
        <p:cxnSp>
          <p:nvCxnSpPr>
            <p:cNvPr id="316" name="Straight Connector 315">
              <a:extLst>
                <a:ext uri="{FF2B5EF4-FFF2-40B4-BE49-F238E27FC236}">
                  <a16:creationId xmlns:a16="http://schemas.microsoft.com/office/drawing/2014/main" id="{EBB100EE-FD10-47BD-B9CB-F47D7890EAF0}"/>
                </a:ext>
              </a:extLst>
            </p:cNvPr>
            <p:cNvCxnSpPr>
              <a:cxnSpLocks/>
            </p:cNvCxnSpPr>
            <p:nvPr/>
          </p:nvCxnSpPr>
          <p:spPr>
            <a:xfrm flipV="1">
              <a:off x="1567869" y="4079894"/>
              <a:ext cx="148824" cy="0"/>
            </a:xfrm>
            <a:prstGeom prst="line">
              <a:avLst/>
            </a:prstGeom>
            <a:noFill/>
            <a:ln w="19050" cap="flat" cmpd="sng" algn="ctr">
              <a:solidFill>
                <a:schemeClr val="tx1"/>
              </a:solidFill>
              <a:prstDash val="solid"/>
              <a:headEnd type="none"/>
              <a:tailEnd type="none"/>
            </a:ln>
            <a:effectLst/>
          </p:spPr>
        </p:cxnSp>
        <p:cxnSp>
          <p:nvCxnSpPr>
            <p:cNvPr id="317" name="Straight Connector 316">
              <a:extLst>
                <a:ext uri="{FF2B5EF4-FFF2-40B4-BE49-F238E27FC236}">
                  <a16:creationId xmlns:a16="http://schemas.microsoft.com/office/drawing/2014/main" id="{6E8EF0D8-F72C-4FF7-8E9E-874A8232B1AC}"/>
                </a:ext>
              </a:extLst>
            </p:cNvPr>
            <p:cNvCxnSpPr>
              <a:cxnSpLocks/>
            </p:cNvCxnSpPr>
            <p:nvPr/>
          </p:nvCxnSpPr>
          <p:spPr>
            <a:xfrm flipV="1">
              <a:off x="1727354" y="4079894"/>
              <a:ext cx="89063" cy="0"/>
            </a:xfrm>
            <a:prstGeom prst="line">
              <a:avLst/>
            </a:prstGeom>
            <a:noFill/>
            <a:ln w="19050" cap="flat" cmpd="sng" algn="ctr">
              <a:solidFill>
                <a:schemeClr val="tx1"/>
              </a:solidFill>
              <a:prstDash val="solid"/>
              <a:headEnd type="none"/>
              <a:tailEnd type="none"/>
            </a:ln>
            <a:effectLst/>
          </p:spPr>
        </p:cxnSp>
        <p:cxnSp>
          <p:nvCxnSpPr>
            <p:cNvPr id="318" name="Straight Connector 317">
              <a:extLst>
                <a:ext uri="{FF2B5EF4-FFF2-40B4-BE49-F238E27FC236}">
                  <a16:creationId xmlns:a16="http://schemas.microsoft.com/office/drawing/2014/main" id="{1AEA065F-C502-4D27-99A1-6E946A6F961B}"/>
                </a:ext>
              </a:extLst>
            </p:cNvPr>
            <p:cNvCxnSpPr>
              <a:cxnSpLocks/>
            </p:cNvCxnSpPr>
            <p:nvPr/>
          </p:nvCxnSpPr>
          <p:spPr>
            <a:xfrm flipV="1">
              <a:off x="1567869" y="4034027"/>
              <a:ext cx="218515" cy="0"/>
            </a:xfrm>
            <a:prstGeom prst="line">
              <a:avLst/>
            </a:prstGeom>
            <a:noFill/>
            <a:ln w="19050" cap="flat" cmpd="sng" algn="ctr">
              <a:solidFill>
                <a:schemeClr val="tx1"/>
              </a:solidFill>
              <a:prstDash val="solid"/>
              <a:headEnd type="none"/>
              <a:tailEnd type="none"/>
            </a:ln>
            <a:effectLst/>
          </p:spPr>
        </p:cxnSp>
        <p:cxnSp>
          <p:nvCxnSpPr>
            <p:cNvPr id="319" name="Straight Connector 318">
              <a:extLst>
                <a:ext uri="{FF2B5EF4-FFF2-40B4-BE49-F238E27FC236}">
                  <a16:creationId xmlns:a16="http://schemas.microsoft.com/office/drawing/2014/main" id="{75D2E2B1-3977-46AB-A871-A9D865C750B5}"/>
                </a:ext>
              </a:extLst>
            </p:cNvPr>
            <p:cNvCxnSpPr>
              <a:cxnSpLocks/>
            </p:cNvCxnSpPr>
            <p:nvPr/>
          </p:nvCxnSpPr>
          <p:spPr>
            <a:xfrm flipV="1">
              <a:off x="1818897" y="4034027"/>
              <a:ext cx="89063" cy="0"/>
            </a:xfrm>
            <a:prstGeom prst="line">
              <a:avLst/>
            </a:prstGeom>
            <a:noFill/>
            <a:ln w="19050" cap="flat" cmpd="sng" algn="ctr">
              <a:solidFill>
                <a:schemeClr val="tx1"/>
              </a:solidFill>
              <a:prstDash val="solid"/>
              <a:headEnd type="none"/>
              <a:tailEnd type="none"/>
            </a:ln>
            <a:effectLst/>
          </p:spPr>
        </p:cxnSp>
        <p:cxnSp>
          <p:nvCxnSpPr>
            <p:cNvPr id="320" name="Straight Connector 319">
              <a:extLst>
                <a:ext uri="{FF2B5EF4-FFF2-40B4-BE49-F238E27FC236}">
                  <a16:creationId xmlns:a16="http://schemas.microsoft.com/office/drawing/2014/main" id="{FB79038B-CF4A-424C-9AFB-A66AF1E0926E}"/>
                </a:ext>
              </a:extLst>
            </p:cNvPr>
            <p:cNvCxnSpPr>
              <a:cxnSpLocks/>
            </p:cNvCxnSpPr>
            <p:nvPr/>
          </p:nvCxnSpPr>
          <p:spPr>
            <a:xfrm flipV="1">
              <a:off x="1627197" y="3972283"/>
              <a:ext cx="90099" cy="0"/>
            </a:xfrm>
            <a:prstGeom prst="line">
              <a:avLst/>
            </a:prstGeom>
            <a:noFill/>
            <a:ln w="19050" cap="flat" cmpd="sng" algn="ctr">
              <a:solidFill>
                <a:schemeClr val="tx1"/>
              </a:solidFill>
              <a:prstDash val="solid"/>
              <a:headEnd type="none"/>
              <a:tailEnd type="none"/>
            </a:ln>
            <a:effectLst/>
          </p:spPr>
        </p:cxnSp>
        <p:cxnSp>
          <p:nvCxnSpPr>
            <p:cNvPr id="321" name="Straight Connector 320">
              <a:extLst>
                <a:ext uri="{FF2B5EF4-FFF2-40B4-BE49-F238E27FC236}">
                  <a16:creationId xmlns:a16="http://schemas.microsoft.com/office/drawing/2014/main" id="{E020A02F-C39B-4C39-9C45-46BC425D6765}"/>
                </a:ext>
              </a:extLst>
            </p:cNvPr>
            <p:cNvCxnSpPr>
              <a:cxnSpLocks/>
            </p:cNvCxnSpPr>
            <p:nvPr/>
          </p:nvCxnSpPr>
          <p:spPr>
            <a:xfrm flipV="1">
              <a:off x="1740047" y="3972283"/>
              <a:ext cx="213478" cy="0"/>
            </a:xfrm>
            <a:prstGeom prst="line">
              <a:avLst/>
            </a:prstGeom>
            <a:noFill/>
            <a:ln w="19050" cap="flat" cmpd="sng" algn="ctr">
              <a:solidFill>
                <a:schemeClr val="tx1"/>
              </a:solidFill>
              <a:prstDash val="solid"/>
              <a:headEnd type="none"/>
              <a:tailEnd type="none"/>
            </a:ln>
            <a:effectLst/>
          </p:spPr>
        </p:cxnSp>
        <p:cxnSp>
          <p:nvCxnSpPr>
            <p:cNvPr id="322" name="Straight Connector 321">
              <a:extLst>
                <a:ext uri="{FF2B5EF4-FFF2-40B4-BE49-F238E27FC236}">
                  <a16:creationId xmlns:a16="http://schemas.microsoft.com/office/drawing/2014/main" id="{9AC133B1-F289-46FD-8D36-35E7CF37EFC7}"/>
                </a:ext>
              </a:extLst>
            </p:cNvPr>
            <p:cNvCxnSpPr>
              <a:cxnSpLocks/>
            </p:cNvCxnSpPr>
            <p:nvPr/>
          </p:nvCxnSpPr>
          <p:spPr>
            <a:xfrm>
              <a:off x="1916549" y="3914067"/>
              <a:ext cx="213478" cy="0"/>
            </a:xfrm>
            <a:prstGeom prst="line">
              <a:avLst/>
            </a:prstGeom>
            <a:noFill/>
            <a:ln w="19050" cap="flat" cmpd="sng" algn="ctr">
              <a:solidFill>
                <a:schemeClr val="tx1"/>
              </a:solidFill>
              <a:prstDash val="solid"/>
              <a:headEnd type="none"/>
              <a:tailEnd type="none"/>
            </a:ln>
            <a:effectLst/>
          </p:spPr>
        </p:cxnSp>
        <p:cxnSp>
          <p:nvCxnSpPr>
            <p:cNvPr id="323" name="Straight Connector 322">
              <a:extLst>
                <a:ext uri="{FF2B5EF4-FFF2-40B4-BE49-F238E27FC236}">
                  <a16:creationId xmlns:a16="http://schemas.microsoft.com/office/drawing/2014/main" id="{2FE8678B-B8DA-444D-A38F-0EA045A2A973}"/>
                </a:ext>
              </a:extLst>
            </p:cNvPr>
            <p:cNvCxnSpPr>
              <a:cxnSpLocks/>
            </p:cNvCxnSpPr>
            <p:nvPr/>
          </p:nvCxnSpPr>
          <p:spPr>
            <a:xfrm flipV="1">
              <a:off x="1935460" y="4034027"/>
              <a:ext cx="89063" cy="0"/>
            </a:xfrm>
            <a:prstGeom prst="line">
              <a:avLst/>
            </a:prstGeom>
            <a:noFill/>
            <a:ln w="19050" cap="flat" cmpd="sng" algn="ctr">
              <a:solidFill>
                <a:schemeClr val="tx1"/>
              </a:solidFill>
              <a:prstDash val="solid"/>
              <a:headEnd type="none"/>
              <a:tailEnd type="none"/>
            </a:ln>
            <a:effectLst/>
          </p:spPr>
        </p:cxnSp>
        <p:cxnSp>
          <p:nvCxnSpPr>
            <p:cNvPr id="324" name="Straight Connector 323">
              <a:extLst>
                <a:ext uri="{FF2B5EF4-FFF2-40B4-BE49-F238E27FC236}">
                  <a16:creationId xmlns:a16="http://schemas.microsoft.com/office/drawing/2014/main" id="{E0859690-CD3B-4475-863B-77BBEDB7837C}"/>
                </a:ext>
              </a:extLst>
            </p:cNvPr>
            <p:cNvCxnSpPr>
              <a:cxnSpLocks/>
            </p:cNvCxnSpPr>
            <p:nvPr/>
          </p:nvCxnSpPr>
          <p:spPr>
            <a:xfrm flipV="1">
              <a:off x="2050461" y="4034027"/>
              <a:ext cx="89063" cy="0"/>
            </a:xfrm>
            <a:prstGeom prst="line">
              <a:avLst/>
            </a:prstGeom>
            <a:noFill/>
            <a:ln w="19050" cap="flat" cmpd="sng" algn="ctr">
              <a:solidFill>
                <a:schemeClr val="tx1"/>
              </a:solidFill>
              <a:prstDash val="solid"/>
              <a:headEnd type="none"/>
              <a:tailEnd type="none"/>
            </a:ln>
            <a:effectLst/>
          </p:spPr>
        </p:cxnSp>
        <p:cxnSp>
          <p:nvCxnSpPr>
            <p:cNvPr id="325" name="Straight Connector 324">
              <a:extLst>
                <a:ext uri="{FF2B5EF4-FFF2-40B4-BE49-F238E27FC236}">
                  <a16:creationId xmlns:a16="http://schemas.microsoft.com/office/drawing/2014/main" id="{3DAC635B-DAB2-46A0-A34D-28EA1BF0AE68}"/>
                </a:ext>
              </a:extLst>
            </p:cNvPr>
            <p:cNvCxnSpPr>
              <a:cxnSpLocks/>
            </p:cNvCxnSpPr>
            <p:nvPr/>
          </p:nvCxnSpPr>
          <p:spPr>
            <a:xfrm>
              <a:off x="1964583" y="3806458"/>
              <a:ext cx="89063" cy="0"/>
            </a:xfrm>
            <a:prstGeom prst="line">
              <a:avLst/>
            </a:prstGeom>
            <a:noFill/>
            <a:ln w="19050" cap="flat" cmpd="sng" algn="ctr">
              <a:solidFill>
                <a:schemeClr val="tx1"/>
              </a:solidFill>
              <a:prstDash val="solid"/>
              <a:headEnd type="none"/>
              <a:tailEnd type="none"/>
            </a:ln>
            <a:effectLst/>
          </p:spPr>
        </p:cxnSp>
        <p:cxnSp>
          <p:nvCxnSpPr>
            <p:cNvPr id="326" name="Straight Connector 325">
              <a:extLst>
                <a:ext uri="{FF2B5EF4-FFF2-40B4-BE49-F238E27FC236}">
                  <a16:creationId xmlns:a16="http://schemas.microsoft.com/office/drawing/2014/main" id="{2C635655-ED53-45E1-9291-84563F4425CF}"/>
                </a:ext>
              </a:extLst>
            </p:cNvPr>
            <p:cNvCxnSpPr>
              <a:cxnSpLocks/>
            </p:cNvCxnSpPr>
            <p:nvPr/>
          </p:nvCxnSpPr>
          <p:spPr>
            <a:xfrm>
              <a:off x="1976458" y="3852324"/>
              <a:ext cx="163065" cy="0"/>
            </a:xfrm>
            <a:prstGeom prst="line">
              <a:avLst/>
            </a:prstGeom>
            <a:noFill/>
            <a:ln w="19050" cap="flat" cmpd="sng" algn="ctr">
              <a:solidFill>
                <a:schemeClr val="tx1"/>
              </a:solidFill>
              <a:prstDash val="solid"/>
              <a:headEnd type="none"/>
              <a:tailEnd type="none"/>
            </a:ln>
            <a:effectLst/>
          </p:spPr>
        </p:cxnSp>
        <p:sp>
          <p:nvSpPr>
            <p:cNvPr id="327" name="Freeform: Shape 326">
              <a:extLst>
                <a:ext uri="{FF2B5EF4-FFF2-40B4-BE49-F238E27FC236}">
                  <a16:creationId xmlns:a16="http://schemas.microsoft.com/office/drawing/2014/main" id="{61BB9725-2839-4E36-A289-C6D435BF6E7F}"/>
                </a:ext>
              </a:extLst>
            </p:cNvPr>
            <p:cNvSpPr/>
            <p:nvPr/>
          </p:nvSpPr>
          <p:spPr bwMode="auto">
            <a:xfrm>
              <a:off x="1565486" y="3454466"/>
              <a:ext cx="636270" cy="110490"/>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42" name="Rectangle 141">
            <a:extLst>
              <a:ext uri="{FF2B5EF4-FFF2-40B4-BE49-F238E27FC236}">
                <a16:creationId xmlns:a16="http://schemas.microsoft.com/office/drawing/2014/main" id="{5715CFE7-4C6C-4B81-8087-1B9B3B2DAF7E}"/>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open source technologi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ollaborate within team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Use ML (machine learning) on</a:t>
            </a:r>
            <a:br>
              <a:rPr lang="en-US" sz="1200" dirty="0">
                <a:solidFill>
                  <a:schemeClr val="tx1"/>
                </a:solidFill>
                <a:latin typeface="Segoe UI" panose="020B0502040204020203" pitchFamily="34" charset="0"/>
                <a:cs typeface="Segoe UI" panose="020B0502040204020203" pitchFamily="34" charset="0"/>
              </a:rPr>
            </a:br>
            <a:r>
              <a:rPr lang="en-US" sz="1200" dirty="0">
                <a:solidFill>
                  <a:schemeClr val="tx1"/>
                </a:solidFill>
                <a:latin typeface="Segoe UI" panose="020B0502040204020203" pitchFamily="34" charset="0"/>
                <a:cs typeface="Segoe UI" panose="020B0502040204020203" pitchFamily="34" charset="0"/>
              </a:rPr>
              <a:t>batch streams </a:t>
            </a:r>
          </a:p>
        </p:txBody>
      </p:sp>
      <p:sp>
        <p:nvSpPr>
          <p:cNvPr id="143" name="Rectangle 142">
            <a:extLst>
              <a:ext uri="{FF2B5EF4-FFF2-40B4-BE49-F238E27FC236}">
                <a16:creationId xmlns:a16="http://schemas.microsoft.com/office/drawing/2014/main" id="{FF15D4E7-4070-4217-9CDD-61DE463D1FE9}"/>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Build in the language of your choic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scale out topology</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Scale compute and storage separately</a:t>
            </a:r>
          </a:p>
        </p:txBody>
      </p:sp>
      <p:sp>
        <p:nvSpPr>
          <p:cNvPr id="144" name="Rectangle 143">
            <a:extLst>
              <a:ext uri="{FF2B5EF4-FFF2-40B4-BE49-F238E27FC236}">
                <a16:creationId xmlns:a16="http://schemas.microsoft.com/office/drawing/2014/main" id="{73F6D42B-71EB-4940-8AC4-F8AFCCCE4F13}"/>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tegrate with all of your data sources </a:t>
            </a:r>
          </a:p>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reate hybrid pipelines</a:t>
            </a:r>
          </a:p>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Orchestrate in a code-free environment</a:t>
            </a:r>
          </a:p>
        </p:txBody>
      </p:sp>
      <p:sp>
        <p:nvSpPr>
          <p:cNvPr id="145" name="Rectangle 144">
            <a:extLst>
              <a:ext uri="{FF2B5EF4-FFF2-40B4-BE49-F238E27FC236}">
                <a16:creationId xmlns:a16="http://schemas.microsoft.com/office/drawing/2014/main" id="{B90AD373-341C-456C-AFA1-D69F4C0BCF3A}"/>
              </a:ext>
            </a:extLst>
          </p:cNvPr>
          <p:cNvSpPr/>
          <p:nvPr/>
        </p:nvSpPr>
        <p:spPr bwMode="auto">
          <a:xfrm>
            <a:off x="4297823"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Leverage best-in-class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analytics capabilities</a:t>
            </a:r>
          </a:p>
        </p:txBody>
      </p:sp>
      <p:sp>
        <p:nvSpPr>
          <p:cNvPr id="146" name="Rectangle 145">
            <a:extLst>
              <a:ext uri="{FF2B5EF4-FFF2-40B4-BE49-F238E27FC236}">
                <a16:creationId xmlns:a16="http://schemas.microsoft.com/office/drawing/2014/main" id="{0A51C2F5-CAF4-4885-9114-69E3A120D098}"/>
              </a:ext>
            </a:extLst>
          </p:cNvPr>
          <p:cNvSpPr/>
          <p:nvPr/>
        </p:nvSpPr>
        <p:spPr bwMode="auto">
          <a:xfrm>
            <a:off x="8150035"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cale</a:t>
            </a: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dirty="0">
                <a:solidFill>
                  <a:srgbClr val="0078D7"/>
                </a:solidFill>
                <a:latin typeface="+mj-lt"/>
                <a:cs typeface="Segoe UI" panose="020B0502040204020203" pitchFamily="34" charset="0"/>
              </a:rPr>
              <a:t>without limits</a:t>
            </a:r>
            <a:endPar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endParaRPr>
          </a:p>
        </p:txBody>
      </p:sp>
      <p:sp>
        <p:nvSpPr>
          <p:cNvPr id="148" name="Rectangle 147">
            <a:extLst>
              <a:ext uri="{FF2B5EF4-FFF2-40B4-BE49-F238E27FC236}">
                <a16:creationId xmlns:a16="http://schemas.microsoft.com/office/drawing/2014/main" id="{3DDB9C7B-BAC9-4457-AAC2-95B77182F5E4}"/>
              </a:ext>
            </a:extLst>
          </p:cNvPr>
          <p:cNvSpPr/>
          <p:nvPr/>
        </p:nvSpPr>
        <p:spPr bwMode="auto">
          <a:xfrm>
            <a:off x="445612"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Connect to data </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from any source</a:t>
            </a:r>
          </a:p>
        </p:txBody>
      </p:sp>
      <p:sp>
        <p:nvSpPr>
          <p:cNvPr id="159" name="Oval 158">
            <a:extLst>
              <a:ext uri="{FF2B5EF4-FFF2-40B4-BE49-F238E27FC236}">
                <a16:creationId xmlns:a16="http://schemas.microsoft.com/office/drawing/2014/main" id="{DF14CD04-4377-4062-83E3-622838EAC6D8}"/>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5383B1C4-52F5-4671-946B-B64F00129523}"/>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9E7C6DA2-1458-405F-81B9-56EA34E9275B}"/>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 name="Group 22">
            <a:extLst>
              <a:ext uri="{FF2B5EF4-FFF2-40B4-BE49-F238E27FC236}">
                <a16:creationId xmlns:a16="http://schemas.microsoft.com/office/drawing/2014/main" id="{EAAA2B78-BCE8-4F67-9F98-3FDD2C7087CC}"/>
              </a:ext>
            </a:extLst>
          </p:cNvPr>
          <p:cNvGrpSpPr/>
          <p:nvPr/>
        </p:nvGrpSpPr>
        <p:grpSpPr>
          <a:xfrm>
            <a:off x="7239052" y="4762898"/>
            <a:ext cx="437016" cy="431700"/>
            <a:chOff x="7244320" y="3570691"/>
            <a:chExt cx="474740" cy="468966"/>
          </a:xfrm>
        </p:grpSpPr>
        <p:sp>
          <p:nvSpPr>
            <p:cNvPr id="161" name="Database_EFC7" title="Icon of a cylinder">
              <a:extLst>
                <a:ext uri="{FF2B5EF4-FFF2-40B4-BE49-F238E27FC236}">
                  <a16:creationId xmlns:a16="http://schemas.microsoft.com/office/drawing/2014/main" id="{EFFD8055-3226-47A6-BC94-2E3550910588}"/>
                </a:ext>
              </a:extLst>
            </p:cNvPr>
            <p:cNvSpPr>
              <a:spLocks noChangeAspect="1" noEditPoints="1"/>
            </p:cNvSpPr>
            <p:nvPr/>
          </p:nvSpPr>
          <p:spPr bwMode="auto">
            <a:xfrm>
              <a:off x="7345114" y="3680904"/>
              <a:ext cx="275999" cy="3587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 name="Graphic 161">
              <a:extLst>
                <a:ext uri="{FF2B5EF4-FFF2-40B4-BE49-F238E27FC236}">
                  <a16:creationId xmlns:a16="http://schemas.microsoft.com/office/drawing/2014/main" id="{EA69BBB5-D1E3-4B1B-B95E-B5BC109B0D85}"/>
                </a:ext>
              </a:extLst>
            </p:cNvPr>
            <p:cNvSpPr/>
            <p:nvPr/>
          </p:nvSpPr>
          <p:spPr>
            <a:xfrm flipH="1">
              <a:off x="7544666"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 name="Graphic 14">
              <a:extLst>
                <a:ext uri="{FF2B5EF4-FFF2-40B4-BE49-F238E27FC236}">
                  <a16:creationId xmlns:a16="http://schemas.microsoft.com/office/drawing/2014/main" id="{B05F737F-C1E1-411B-B02A-7489819D84BC}"/>
                </a:ext>
              </a:extLst>
            </p:cNvPr>
            <p:cNvSpPr/>
            <p:nvPr/>
          </p:nvSpPr>
          <p:spPr>
            <a:xfrm>
              <a:off x="7244320"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6" name="Group 25">
            <a:extLst>
              <a:ext uri="{FF2B5EF4-FFF2-40B4-BE49-F238E27FC236}">
                <a16:creationId xmlns:a16="http://schemas.microsoft.com/office/drawing/2014/main" id="{FF9DC708-7AD6-49F4-BCF3-0B3706D06F91}"/>
              </a:ext>
            </a:extLst>
          </p:cNvPr>
          <p:cNvGrpSpPr/>
          <p:nvPr/>
        </p:nvGrpSpPr>
        <p:grpSpPr>
          <a:xfrm>
            <a:off x="11109979" y="4788598"/>
            <a:ext cx="399058" cy="380300"/>
            <a:chOff x="11087574" y="3592831"/>
            <a:chExt cx="433506" cy="413128"/>
          </a:xfrm>
        </p:grpSpPr>
        <p:sp>
          <p:nvSpPr>
            <p:cNvPr id="21" name="Rectangle 20">
              <a:extLst>
                <a:ext uri="{FF2B5EF4-FFF2-40B4-BE49-F238E27FC236}">
                  <a16:creationId xmlns:a16="http://schemas.microsoft.com/office/drawing/2014/main" id="{2EC22866-882A-4436-8064-0AC4E913927B}"/>
                </a:ext>
              </a:extLst>
            </p:cNvPr>
            <p:cNvSpPr/>
            <p:nvPr/>
          </p:nvSpPr>
          <p:spPr bwMode="auto">
            <a:xfrm>
              <a:off x="11087575" y="3796449"/>
              <a:ext cx="205105" cy="20950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6A2EAE93-6590-495C-93C4-3AACD073C4B9}"/>
                </a:ext>
              </a:extLst>
            </p:cNvPr>
            <p:cNvSpPr/>
            <p:nvPr/>
          </p:nvSpPr>
          <p:spPr bwMode="auto">
            <a:xfrm>
              <a:off x="11087574" y="3701415"/>
              <a:ext cx="319565" cy="304543"/>
            </a:xfrm>
            <a:prstGeom prst="rect">
              <a:avLst/>
            </a:pr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6" name="Rectangle 165">
              <a:extLst>
                <a:ext uri="{FF2B5EF4-FFF2-40B4-BE49-F238E27FC236}">
                  <a16:creationId xmlns:a16="http://schemas.microsoft.com/office/drawing/2014/main" id="{F5A10CBE-DE61-48A6-AD1E-7D39AC1F1F09}"/>
                </a:ext>
              </a:extLst>
            </p:cNvPr>
            <p:cNvSpPr/>
            <p:nvPr/>
          </p:nvSpPr>
          <p:spPr bwMode="auto">
            <a:xfrm>
              <a:off x="11087574" y="3592831"/>
              <a:ext cx="433506" cy="413128"/>
            </a:xfrm>
            <a:prstGeom prst="rect">
              <a:avLst/>
            </a:pr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BF22B7A9-0D92-456D-9C6F-03CEE01FDF32}"/>
              </a:ext>
            </a:extLst>
          </p:cNvPr>
          <p:cNvGrpSpPr/>
          <p:nvPr/>
        </p:nvGrpSpPr>
        <p:grpSpPr>
          <a:xfrm>
            <a:off x="3366325" y="4777432"/>
            <a:ext cx="482408" cy="402632"/>
            <a:chOff x="3271948" y="5973954"/>
            <a:chExt cx="997991" cy="832953"/>
          </a:xfrm>
        </p:grpSpPr>
        <p:sp>
          <p:nvSpPr>
            <p:cNvPr id="156" name="plug" title="Icon of a power plug showing an A to B connection">
              <a:extLst>
                <a:ext uri="{FF2B5EF4-FFF2-40B4-BE49-F238E27FC236}">
                  <a16:creationId xmlns:a16="http://schemas.microsoft.com/office/drawing/2014/main" id="{BB744BD7-20FB-455F-91CC-ABA3A2B6FA3B}"/>
                </a:ext>
              </a:extLst>
            </p:cNvPr>
            <p:cNvSpPr>
              <a:spLocks noChangeAspect="1" noEditPoints="1"/>
            </p:cNvSpPr>
            <p:nvPr/>
          </p:nvSpPr>
          <p:spPr bwMode="auto">
            <a:xfrm>
              <a:off x="3563621" y="6179692"/>
              <a:ext cx="385871"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7" name="Database_EFC7" title="Icon of a cylinder">
              <a:extLst>
                <a:ext uri="{FF2B5EF4-FFF2-40B4-BE49-F238E27FC236}">
                  <a16:creationId xmlns:a16="http://schemas.microsoft.com/office/drawing/2014/main" id="{C4B77307-C273-4E81-B2AA-0C7B2D7D23B6}"/>
                </a:ext>
              </a:extLst>
            </p:cNvPr>
            <p:cNvSpPr>
              <a:spLocks noChangeAspect="1" noEditPoints="1"/>
            </p:cNvSpPr>
            <p:nvPr/>
          </p:nvSpPr>
          <p:spPr bwMode="auto">
            <a:xfrm>
              <a:off x="3953376" y="5973954"/>
              <a:ext cx="316563"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8" name="Copy_E8C8" title="Icon of two documents stacked together">
              <a:extLst>
                <a:ext uri="{FF2B5EF4-FFF2-40B4-BE49-F238E27FC236}">
                  <a16:creationId xmlns:a16="http://schemas.microsoft.com/office/drawing/2014/main" id="{2F1C3310-692D-4230-8801-CF462EA13ED9}"/>
                </a:ext>
              </a:extLst>
            </p:cNvPr>
            <p:cNvSpPr>
              <a:spLocks noChangeAspect="1" noEditPoints="1"/>
            </p:cNvSpPr>
            <p:nvPr/>
          </p:nvSpPr>
          <p:spPr bwMode="auto">
            <a:xfrm>
              <a:off x="3271948" y="6441147"/>
              <a:ext cx="317035" cy="365760"/>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8" name="Group 140">
            <a:extLst>
              <a:ext uri="{FF2B5EF4-FFF2-40B4-BE49-F238E27FC236}">
                <a16:creationId xmlns:a16="http://schemas.microsoft.com/office/drawing/2014/main" id="{9BE321D8-0182-4E8F-B9A8-7ABFE943F77E}"/>
              </a:ext>
            </a:extLst>
          </p:cNvPr>
          <p:cNvGrpSpPr>
            <a:grpSpLocks noChangeAspect="1"/>
          </p:cNvGrpSpPr>
          <p:nvPr/>
        </p:nvGrpSpPr>
        <p:grpSpPr bwMode="auto">
          <a:xfrm>
            <a:off x="723481" y="1384834"/>
            <a:ext cx="502061" cy="470898"/>
            <a:chOff x="1369" y="3008"/>
            <a:chExt cx="435" cy="408"/>
          </a:xfrm>
          <a:solidFill>
            <a:schemeClr val="tx1"/>
          </a:solidFill>
        </p:grpSpPr>
        <p:sp>
          <p:nvSpPr>
            <p:cNvPr id="139" name="Freeform 141">
              <a:extLst>
                <a:ext uri="{FF2B5EF4-FFF2-40B4-BE49-F238E27FC236}">
                  <a16:creationId xmlns:a16="http://schemas.microsoft.com/office/drawing/2014/main" id="{FBFC50AB-DBDE-4463-881C-8934BDEEF6A6}"/>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40" name="Freeform 142">
              <a:extLst>
                <a:ext uri="{FF2B5EF4-FFF2-40B4-BE49-F238E27FC236}">
                  <a16:creationId xmlns:a16="http://schemas.microsoft.com/office/drawing/2014/main" id="{E17B9684-15EA-4BE6-A0C7-E4D043D15BB1}"/>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41" name="Freeform 143">
              <a:extLst>
                <a:ext uri="{FF2B5EF4-FFF2-40B4-BE49-F238E27FC236}">
                  <a16:creationId xmlns:a16="http://schemas.microsoft.com/office/drawing/2014/main" id="{A9248B72-8F02-4155-B42F-5C560C13DE53}"/>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52" name="Freeform 144">
              <a:extLst>
                <a:ext uri="{FF2B5EF4-FFF2-40B4-BE49-F238E27FC236}">
                  <a16:creationId xmlns:a16="http://schemas.microsoft.com/office/drawing/2014/main" id="{42EEF8EA-6F07-40E8-B5C9-48311703580B}"/>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179" name="Group 35">
            <a:extLst>
              <a:ext uri="{FF2B5EF4-FFF2-40B4-BE49-F238E27FC236}">
                <a16:creationId xmlns:a16="http://schemas.microsoft.com/office/drawing/2014/main" id="{2A66B4A0-772B-4ED4-BE51-435BC6BD7F5F}"/>
              </a:ext>
            </a:extLst>
          </p:cNvPr>
          <p:cNvGrpSpPr>
            <a:grpSpLocks noChangeAspect="1"/>
          </p:cNvGrpSpPr>
          <p:nvPr/>
        </p:nvGrpSpPr>
        <p:grpSpPr bwMode="auto">
          <a:xfrm>
            <a:off x="4721965" y="1436908"/>
            <a:ext cx="569224" cy="451639"/>
            <a:chOff x="4478" y="483"/>
            <a:chExt cx="426" cy="338"/>
          </a:xfrm>
          <a:solidFill>
            <a:schemeClr val="tx1"/>
          </a:solidFill>
        </p:grpSpPr>
        <p:sp>
          <p:nvSpPr>
            <p:cNvPr id="180" name="Freeform 36">
              <a:extLst>
                <a:ext uri="{FF2B5EF4-FFF2-40B4-BE49-F238E27FC236}">
                  <a16:creationId xmlns:a16="http://schemas.microsoft.com/office/drawing/2014/main" id="{5BF8530B-A4BA-4C30-B174-A4995855C0A0}"/>
                </a:ext>
              </a:extLst>
            </p:cNvPr>
            <p:cNvSpPr>
              <a:spLocks noEditPoints="1"/>
            </p:cNvSpPr>
            <p:nvPr/>
          </p:nvSpPr>
          <p:spPr bwMode="auto">
            <a:xfrm>
              <a:off x="4478" y="483"/>
              <a:ext cx="426"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3" y="228"/>
                    <a:pt x="0" y="214"/>
                    <a:pt x="0" y="198"/>
                  </a:cubicBezTo>
                  <a:cubicBezTo>
                    <a:pt x="0" y="30"/>
                    <a:pt x="0" y="30"/>
                    <a:pt x="0" y="30"/>
                  </a:cubicBezTo>
                  <a:cubicBezTo>
                    <a:pt x="0" y="13"/>
                    <a:pt x="13" y="0"/>
                    <a:pt x="30" y="0"/>
                  </a:cubicBezTo>
                  <a:cubicBezTo>
                    <a:pt x="258" y="0"/>
                    <a:pt x="258" y="0"/>
                    <a:pt x="258" y="0"/>
                  </a:cubicBezTo>
                  <a:cubicBezTo>
                    <a:pt x="274" y="0"/>
                    <a:pt x="288" y="13"/>
                    <a:pt x="288" y="30"/>
                  </a:cubicBezTo>
                  <a:cubicBezTo>
                    <a:pt x="288" y="198"/>
                    <a:pt x="288" y="198"/>
                    <a:pt x="288" y="198"/>
                  </a:cubicBezTo>
                  <a:cubicBezTo>
                    <a:pt x="288" y="214"/>
                    <a:pt x="274" y="228"/>
                    <a:pt x="258" y="228"/>
                  </a:cubicBezTo>
                  <a:close/>
                  <a:moveTo>
                    <a:pt x="30" y="12"/>
                  </a:moveTo>
                  <a:cubicBezTo>
                    <a:pt x="20" y="12"/>
                    <a:pt x="12" y="20"/>
                    <a:pt x="12" y="30"/>
                  </a:cubicBezTo>
                  <a:cubicBezTo>
                    <a:pt x="12" y="198"/>
                    <a:pt x="12" y="198"/>
                    <a:pt x="12" y="198"/>
                  </a:cubicBezTo>
                  <a:cubicBezTo>
                    <a:pt x="12" y="208"/>
                    <a:pt x="20"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1" name="Freeform 37">
              <a:extLst>
                <a:ext uri="{FF2B5EF4-FFF2-40B4-BE49-F238E27FC236}">
                  <a16:creationId xmlns:a16="http://schemas.microsoft.com/office/drawing/2014/main" id="{F3291B91-34C1-4014-9728-95D0C6FCAD4E}"/>
                </a:ext>
              </a:extLst>
            </p:cNvPr>
            <p:cNvSpPr>
              <a:spLocks/>
            </p:cNvSpPr>
            <p:nvPr/>
          </p:nvSpPr>
          <p:spPr bwMode="auto">
            <a:xfrm>
              <a:off x="4478" y="572"/>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9"/>
                    <a:pt x="0" y="6"/>
                  </a:cubicBezTo>
                  <a:cubicBezTo>
                    <a:pt x="0" y="2"/>
                    <a:pt x="2" y="0"/>
                    <a:pt x="6" y="0"/>
                  </a:cubicBezTo>
                  <a:cubicBezTo>
                    <a:pt x="282" y="0"/>
                    <a:pt x="282" y="0"/>
                    <a:pt x="282" y="0"/>
                  </a:cubicBezTo>
                  <a:cubicBezTo>
                    <a:pt x="285" y="0"/>
                    <a:pt x="288" y="2"/>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5" name="Freeform 41">
              <a:extLst>
                <a:ext uri="{FF2B5EF4-FFF2-40B4-BE49-F238E27FC236}">
                  <a16:creationId xmlns:a16="http://schemas.microsoft.com/office/drawing/2014/main" id="{FEA41622-DDB5-480A-A022-85A268F85C3A}"/>
                </a:ext>
              </a:extLst>
            </p:cNvPr>
            <p:cNvSpPr>
              <a:spLocks noEditPoints="1"/>
            </p:cNvSpPr>
            <p:nvPr/>
          </p:nvSpPr>
          <p:spPr bwMode="auto">
            <a:xfrm>
              <a:off x="4549"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6" name="Freeform 42">
              <a:extLst>
                <a:ext uri="{FF2B5EF4-FFF2-40B4-BE49-F238E27FC236}">
                  <a16:creationId xmlns:a16="http://schemas.microsoft.com/office/drawing/2014/main" id="{B6EE342E-8DD7-455D-ABDB-8B12638C5EC1}"/>
                </a:ext>
              </a:extLst>
            </p:cNvPr>
            <p:cNvSpPr>
              <a:spLocks noEditPoints="1"/>
            </p:cNvSpPr>
            <p:nvPr/>
          </p:nvSpPr>
          <p:spPr bwMode="auto">
            <a:xfrm>
              <a:off x="4549"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7" name="Freeform 43">
              <a:extLst>
                <a:ext uri="{FF2B5EF4-FFF2-40B4-BE49-F238E27FC236}">
                  <a16:creationId xmlns:a16="http://schemas.microsoft.com/office/drawing/2014/main" id="{D24691D8-8A3E-42C2-8594-146F719BFB67}"/>
                </a:ext>
              </a:extLst>
            </p:cNvPr>
            <p:cNvSpPr>
              <a:spLocks noEditPoints="1"/>
            </p:cNvSpPr>
            <p:nvPr/>
          </p:nvSpPr>
          <p:spPr bwMode="auto">
            <a:xfrm>
              <a:off x="4656"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8" name="Freeform 44">
              <a:extLst>
                <a:ext uri="{FF2B5EF4-FFF2-40B4-BE49-F238E27FC236}">
                  <a16:creationId xmlns:a16="http://schemas.microsoft.com/office/drawing/2014/main" id="{C14EE3FF-C325-4BAC-8EE0-E17ADD2D2C9D}"/>
                </a:ext>
              </a:extLst>
            </p:cNvPr>
            <p:cNvSpPr>
              <a:spLocks noEditPoints="1"/>
            </p:cNvSpPr>
            <p:nvPr/>
          </p:nvSpPr>
          <p:spPr bwMode="auto">
            <a:xfrm>
              <a:off x="4656"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9" name="Freeform 45">
              <a:extLst>
                <a:ext uri="{FF2B5EF4-FFF2-40B4-BE49-F238E27FC236}">
                  <a16:creationId xmlns:a16="http://schemas.microsoft.com/office/drawing/2014/main" id="{D7770FBE-BD04-43FD-937F-981066822C3E}"/>
                </a:ext>
              </a:extLst>
            </p:cNvPr>
            <p:cNvSpPr>
              <a:spLocks noEditPoints="1"/>
            </p:cNvSpPr>
            <p:nvPr/>
          </p:nvSpPr>
          <p:spPr bwMode="auto">
            <a:xfrm>
              <a:off x="4762"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90" name="Freeform 46">
              <a:extLst>
                <a:ext uri="{FF2B5EF4-FFF2-40B4-BE49-F238E27FC236}">
                  <a16:creationId xmlns:a16="http://schemas.microsoft.com/office/drawing/2014/main" id="{8396658E-DFA5-492E-A1B0-AD276F6A1334}"/>
                </a:ext>
              </a:extLst>
            </p:cNvPr>
            <p:cNvSpPr>
              <a:spLocks noEditPoints="1"/>
            </p:cNvSpPr>
            <p:nvPr/>
          </p:nvSpPr>
          <p:spPr bwMode="auto">
            <a:xfrm>
              <a:off x="4762"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136" name="Picture 135">
            <a:extLst>
              <a:ext uri="{FF2B5EF4-FFF2-40B4-BE49-F238E27FC236}">
                <a16:creationId xmlns:a16="http://schemas.microsoft.com/office/drawing/2014/main" id="{8B715E9B-121D-435A-B828-59FD9CC46BFB}"/>
              </a:ext>
            </a:extLst>
          </p:cNvPr>
          <p:cNvPicPr>
            <a:picLocks noChangeAspect="1"/>
          </p:cNvPicPr>
          <p:nvPr/>
        </p:nvPicPr>
        <p:blipFill>
          <a:blip r:embed="rId3"/>
          <a:stretch>
            <a:fillRect/>
          </a:stretch>
        </p:blipFill>
        <p:spPr>
          <a:xfrm>
            <a:off x="8791756" y="1444338"/>
            <a:ext cx="515975" cy="465941"/>
          </a:xfrm>
          <a:prstGeom prst="rect">
            <a:avLst/>
          </a:prstGeom>
        </p:spPr>
      </p:pic>
    </p:spTree>
    <p:extLst>
      <p:ext uri="{BB962C8B-B14F-4D97-AF65-F5344CB8AC3E}">
        <p14:creationId xmlns:p14="http://schemas.microsoft.com/office/powerpoint/2010/main" val="287168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4C3622-9FFC-4ED2-8C96-4B0C7B7D620F}"/>
              </a:ext>
            </a:extLst>
          </p:cNvPr>
          <p:cNvSpPr>
            <a:spLocks noGrp="1"/>
          </p:cNvSpPr>
          <p:nvPr>
            <p:ph type="title"/>
          </p:nvPr>
        </p:nvSpPr>
        <p:spPr>
          <a:xfrm>
            <a:off x="426424" y="222583"/>
            <a:ext cx="11336039" cy="758022"/>
          </a:xfrm>
        </p:spPr>
        <p:txBody>
          <a:bodyPr vert="horz" wrap="square" lIns="0" tIns="164592" rIns="0" bIns="0" rtlCol="0" anchor="t">
            <a:noAutofit/>
          </a:bodyPr>
          <a:lstStyle/>
          <a:p>
            <a:r>
              <a:rPr lang="en-US" spc="-150" dirty="0"/>
              <a:t>Train and evaluate Machine Learning models</a:t>
            </a:r>
            <a:endParaRPr lang="en-IN" spc="-150" dirty="0"/>
          </a:p>
        </p:txBody>
      </p:sp>
      <p:sp>
        <p:nvSpPr>
          <p:cNvPr id="416" name="Rectangle 415">
            <a:extLst>
              <a:ext uri="{FF2B5EF4-FFF2-40B4-BE49-F238E27FC236}">
                <a16:creationId xmlns:a16="http://schemas.microsoft.com/office/drawing/2014/main" id="{F539F8AA-A309-47BC-B75E-605F051B9748}"/>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Easily scale up or scale out</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utoscale on a serverless infrastructu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commodity hardware</a:t>
            </a:r>
          </a:p>
        </p:txBody>
      </p:sp>
      <p:sp>
        <p:nvSpPr>
          <p:cNvPr id="417" name="Rectangle 416">
            <a:extLst>
              <a:ext uri="{FF2B5EF4-FFF2-40B4-BE49-F238E27FC236}">
                <a16:creationId xmlns:a16="http://schemas.microsoft.com/office/drawing/2014/main" id="{61BAE520-9E56-4AAE-9025-6A42E06A2DC0}"/>
              </a:ext>
            </a:extLst>
          </p:cNvPr>
          <p:cNvSpPr/>
          <p:nvPr/>
        </p:nvSpPr>
        <p:spPr bwMode="auto">
          <a:xfrm>
            <a:off x="8150035" y="5112525"/>
            <a:ext cx="2976514"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termine the best algorithm</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Tune hyperparameters to optimize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apidly prototype in agile environments</a:t>
            </a:r>
          </a:p>
        </p:txBody>
      </p:sp>
      <p:sp>
        <p:nvSpPr>
          <p:cNvPr id="418" name="Rectangle 417">
            <a:extLst>
              <a:ext uri="{FF2B5EF4-FFF2-40B4-BE49-F238E27FC236}">
                <a16:creationId xmlns:a16="http://schemas.microsoft.com/office/drawing/2014/main" id="{233657AC-52C6-47A0-A568-E221AB5715D2}"/>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ollaborate in interactive workspac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ccess a library of battle-tested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utomate job execution</a:t>
            </a:r>
          </a:p>
        </p:txBody>
      </p:sp>
      <p:sp>
        <p:nvSpPr>
          <p:cNvPr id="419" name="Rectangle 418">
            <a:extLst>
              <a:ext uri="{FF2B5EF4-FFF2-40B4-BE49-F238E27FC236}">
                <a16:creationId xmlns:a16="http://schemas.microsoft.com/office/drawing/2014/main" id="{CF686C02-5DB3-4924-995E-2A32A11B5632}"/>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cale compute resource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to meet your needs</a:t>
            </a:r>
          </a:p>
        </p:txBody>
      </p:sp>
      <p:sp>
        <p:nvSpPr>
          <p:cNvPr id="420" name="Rectangle 419">
            <a:extLst>
              <a:ext uri="{FF2B5EF4-FFF2-40B4-BE49-F238E27FC236}">
                <a16:creationId xmlns:a16="http://schemas.microsoft.com/office/drawing/2014/main" id="{CE612322-08EB-41B2-97B5-C6165D127DB5}"/>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Quickly determine the</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right model for your data</a:t>
            </a:r>
          </a:p>
        </p:txBody>
      </p:sp>
      <p:sp>
        <p:nvSpPr>
          <p:cNvPr id="421" name="Rectangle 420">
            <a:extLst>
              <a:ext uri="{FF2B5EF4-FFF2-40B4-BE49-F238E27FC236}">
                <a16:creationId xmlns:a16="http://schemas.microsoft.com/office/drawing/2014/main" id="{D32046ED-4191-4FAB-889E-F384757D1AB5}"/>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implify model development</a:t>
            </a:r>
          </a:p>
        </p:txBody>
      </p:sp>
      <p:sp>
        <p:nvSpPr>
          <p:cNvPr id="422" name="Oval 421">
            <a:extLst>
              <a:ext uri="{FF2B5EF4-FFF2-40B4-BE49-F238E27FC236}">
                <a16:creationId xmlns:a16="http://schemas.microsoft.com/office/drawing/2014/main" id="{AEE7534F-86BC-4DEB-BC1A-F2AC479666C5}"/>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Oval 422">
            <a:extLst>
              <a:ext uri="{FF2B5EF4-FFF2-40B4-BE49-F238E27FC236}">
                <a16:creationId xmlns:a16="http://schemas.microsoft.com/office/drawing/2014/main" id="{CC531271-3929-46BF-80D5-7FB3A4824545}"/>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Oval 423">
            <a:extLst>
              <a:ext uri="{FF2B5EF4-FFF2-40B4-BE49-F238E27FC236}">
                <a16:creationId xmlns:a16="http://schemas.microsoft.com/office/drawing/2014/main" id="{E42B4953-D557-4B3A-BA19-593597A28541}"/>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4" name="3D" title="Icon of a 3D box with square points on each corner">
            <a:extLst>
              <a:ext uri="{FF2B5EF4-FFF2-40B4-BE49-F238E27FC236}">
                <a16:creationId xmlns:a16="http://schemas.microsoft.com/office/drawing/2014/main" id="{CE09B78C-A779-4F67-9130-69057119C79F}"/>
              </a:ext>
            </a:extLst>
          </p:cNvPr>
          <p:cNvSpPr>
            <a:spLocks noChangeAspect="1" noEditPoints="1"/>
          </p:cNvSpPr>
          <p:nvPr/>
        </p:nvSpPr>
        <p:spPr bwMode="auto">
          <a:xfrm>
            <a:off x="3402518" y="4759533"/>
            <a:ext cx="410022" cy="43843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75" name="Financial_E7BB" title="Icon of a chart made of vertical lines with a line tracing the top of each, turning into an arrow pointing up">
            <a:extLst>
              <a:ext uri="{FF2B5EF4-FFF2-40B4-BE49-F238E27FC236}">
                <a16:creationId xmlns:a16="http://schemas.microsoft.com/office/drawing/2014/main" id="{08A50887-114B-438E-8852-EFD8DFF55D6B}"/>
              </a:ext>
            </a:extLst>
          </p:cNvPr>
          <p:cNvSpPr>
            <a:spLocks noChangeAspect="1" noEditPoints="1"/>
          </p:cNvSpPr>
          <p:nvPr/>
        </p:nvSpPr>
        <p:spPr bwMode="auto">
          <a:xfrm>
            <a:off x="7252545" y="4795868"/>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676" name="Group 675">
            <a:extLst>
              <a:ext uri="{FF2B5EF4-FFF2-40B4-BE49-F238E27FC236}">
                <a16:creationId xmlns:a16="http://schemas.microsoft.com/office/drawing/2014/main" id="{1AEACBF2-A0DC-4947-BAF4-211F0A264C87}"/>
              </a:ext>
            </a:extLst>
          </p:cNvPr>
          <p:cNvGrpSpPr/>
          <p:nvPr/>
        </p:nvGrpSpPr>
        <p:grpSpPr>
          <a:xfrm>
            <a:off x="11060597" y="4758732"/>
            <a:ext cx="497822" cy="440032"/>
            <a:chOff x="11088894" y="3547242"/>
            <a:chExt cx="576757" cy="509803"/>
          </a:xfrm>
        </p:grpSpPr>
        <p:sp>
          <p:nvSpPr>
            <p:cNvPr id="677" name="DevUpdate_ECC5" title="Icon of a clock with an arrow around it pointing clockwise">
              <a:extLst>
                <a:ext uri="{FF2B5EF4-FFF2-40B4-BE49-F238E27FC236}">
                  <a16:creationId xmlns:a16="http://schemas.microsoft.com/office/drawing/2014/main" id="{DAD6E2E7-8BB9-4715-9EAF-1D5078879CDE}"/>
                </a:ext>
              </a:extLst>
            </p:cNvPr>
            <p:cNvSpPr>
              <a:spLocks noChangeAspect="1" noEditPoints="1"/>
            </p:cNvSpPr>
            <p:nvPr/>
          </p:nvSpPr>
          <p:spPr bwMode="auto">
            <a:xfrm>
              <a:off x="11088894" y="3740511"/>
              <a:ext cx="316158" cy="31653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678" name="Group 677">
              <a:extLst>
                <a:ext uri="{FF2B5EF4-FFF2-40B4-BE49-F238E27FC236}">
                  <a16:creationId xmlns:a16="http://schemas.microsoft.com/office/drawing/2014/main" id="{D6959DFD-E6D0-48E4-A8C0-BF2676747206}"/>
                </a:ext>
              </a:extLst>
            </p:cNvPr>
            <p:cNvGrpSpPr/>
            <p:nvPr/>
          </p:nvGrpSpPr>
          <p:grpSpPr>
            <a:xfrm rot="4464561">
              <a:off x="11365990" y="3580987"/>
              <a:ext cx="333405" cy="265916"/>
              <a:chOff x="-156824" y="2791591"/>
              <a:chExt cx="620907" cy="495220"/>
            </a:xfrm>
          </p:grpSpPr>
          <p:sp>
            <p:nvSpPr>
              <p:cNvPr id="679" name="gear_3">
                <a:extLst>
                  <a:ext uri="{FF2B5EF4-FFF2-40B4-BE49-F238E27FC236}">
                    <a16:creationId xmlns:a16="http://schemas.microsoft.com/office/drawing/2014/main" id="{ED3897A5-56A7-437D-964B-DB96D7065EF9}"/>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680" name="gear_3">
                <a:extLst>
                  <a:ext uri="{FF2B5EF4-FFF2-40B4-BE49-F238E27FC236}">
                    <a16:creationId xmlns:a16="http://schemas.microsoft.com/office/drawing/2014/main" id="{183708B2-D87E-4D39-8F4A-390FFE84E20E}"/>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cxnSp>
        <p:nvCxnSpPr>
          <p:cNvPr id="235" name="Straight Arrow Connector 234">
            <a:extLst>
              <a:ext uri="{FF2B5EF4-FFF2-40B4-BE49-F238E27FC236}">
                <a16:creationId xmlns:a16="http://schemas.microsoft.com/office/drawing/2014/main" id="{FC463140-4549-4AA7-AC21-3C3898379625}"/>
              </a:ext>
            </a:extLst>
          </p:cNvPr>
          <p:cNvCxnSpPr>
            <a:cxnSpLocks/>
          </p:cNvCxnSpPr>
          <p:nvPr/>
        </p:nvCxnSpPr>
        <p:spPr>
          <a:xfrm flipV="1">
            <a:off x="4395256" y="2650210"/>
            <a:ext cx="0" cy="361796"/>
          </a:xfrm>
          <a:prstGeom prst="straightConnector1">
            <a:avLst/>
          </a:prstGeom>
          <a:noFill/>
          <a:ln w="19050" cap="flat" cmpd="sng" algn="ctr">
            <a:solidFill>
              <a:schemeClr val="tx2"/>
            </a:solidFill>
            <a:prstDash val="solid"/>
            <a:headEnd type="arrow" w="lg" len="med"/>
            <a:tailEnd type="arrow" w="lg" len="med"/>
          </a:ln>
          <a:effectLst/>
        </p:spPr>
      </p:cxnSp>
      <p:cxnSp>
        <p:nvCxnSpPr>
          <p:cNvPr id="236" name="Straight Arrow Connector 235">
            <a:extLst>
              <a:ext uri="{FF2B5EF4-FFF2-40B4-BE49-F238E27FC236}">
                <a16:creationId xmlns:a16="http://schemas.microsoft.com/office/drawing/2014/main" id="{F67FF207-98C6-4FFF-A612-3AC0A96C393F}"/>
              </a:ext>
            </a:extLst>
          </p:cNvPr>
          <p:cNvCxnSpPr>
            <a:cxnSpLocks/>
          </p:cNvCxnSpPr>
          <p:nvPr/>
        </p:nvCxnSpPr>
        <p:spPr>
          <a:xfrm>
            <a:off x="5861769" y="2003446"/>
            <a:ext cx="817999" cy="0"/>
          </a:xfrm>
          <a:prstGeom prst="straightConnector1">
            <a:avLst/>
          </a:prstGeom>
          <a:noFill/>
          <a:ln w="19050" cap="flat" cmpd="sng" algn="ctr">
            <a:solidFill>
              <a:schemeClr val="tx2"/>
            </a:solidFill>
            <a:prstDash val="solid"/>
            <a:headEnd type="arrow" w="lg" len="med"/>
            <a:tailEnd type="arrow" w="lg" len="med"/>
          </a:ln>
          <a:effectLst/>
        </p:spPr>
      </p:cxnSp>
      <p:grpSp>
        <p:nvGrpSpPr>
          <p:cNvPr id="5" name="Group 4">
            <a:extLst>
              <a:ext uri="{FF2B5EF4-FFF2-40B4-BE49-F238E27FC236}">
                <a16:creationId xmlns:a16="http://schemas.microsoft.com/office/drawing/2014/main" id="{3CEBA848-1E20-40C8-BA06-90CCB3CFDA4E}"/>
              </a:ext>
            </a:extLst>
          </p:cNvPr>
          <p:cNvGrpSpPr/>
          <p:nvPr/>
        </p:nvGrpSpPr>
        <p:grpSpPr>
          <a:xfrm>
            <a:off x="6458470" y="1079317"/>
            <a:ext cx="3068630" cy="1459458"/>
            <a:chOff x="6458470" y="1079317"/>
            <a:chExt cx="3068630" cy="1459458"/>
          </a:xfrm>
        </p:grpSpPr>
        <p:sp>
          <p:nvSpPr>
            <p:cNvPr id="280" name="Rectangle: Rounded Corners 279">
              <a:extLst>
                <a:ext uri="{FF2B5EF4-FFF2-40B4-BE49-F238E27FC236}">
                  <a16:creationId xmlns:a16="http://schemas.microsoft.com/office/drawing/2014/main" id="{68172AAA-0CBE-4D7C-87CD-CD32F88FC034}"/>
                </a:ext>
              </a:extLst>
            </p:cNvPr>
            <p:cNvSpPr/>
            <p:nvPr/>
          </p:nvSpPr>
          <p:spPr bwMode="auto">
            <a:xfrm>
              <a:off x="6842044" y="1470636"/>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200" dirty="0">
                  <a:solidFill>
                    <a:schemeClr val="tx2"/>
                  </a:solidFill>
                  <a:latin typeface="+mj-lt"/>
                  <a:cs typeface="Segoe UI" panose="020B0502040204020203" pitchFamily="34" charset="0"/>
                </a:rPr>
                <a:t>Model management</a:t>
              </a:r>
            </a:p>
          </p:txBody>
        </p:sp>
        <p:grpSp>
          <p:nvGrpSpPr>
            <p:cNvPr id="375" name="Group 374">
              <a:extLst>
                <a:ext uri="{FF2B5EF4-FFF2-40B4-BE49-F238E27FC236}">
                  <a16:creationId xmlns:a16="http://schemas.microsoft.com/office/drawing/2014/main" id="{88153B12-4795-4DEA-B082-7474B2EE9407}"/>
                </a:ext>
              </a:extLst>
            </p:cNvPr>
            <p:cNvGrpSpPr/>
            <p:nvPr/>
          </p:nvGrpSpPr>
          <p:grpSpPr>
            <a:xfrm>
              <a:off x="7848599" y="1537634"/>
              <a:ext cx="668485" cy="733698"/>
              <a:chOff x="1441254" y="3281759"/>
              <a:chExt cx="837104" cy="918766"/>
            </a:xfrm>
          </p:grpSpPr>
          <p:sp>
            <p:nvSpPr>
              <p:cNvPr id="376" name="Freeform: Shape 375">
                <a:extLst>
                  <a:ext uri="{FF2B5EF4-FFF2-40B4-BE49-F238E27FC236}">
                    <a16:creationId xmlns:a16="http://schemas.microsoft.com/office/drawing/2014/main" id="{18DF36CB-B375-4928-A56E-F93B16CFBC29}"/>
                  </a:ext>
                </a:extLst>
              </p:cNvPr>
              <p:cNvSpPr/>
              <p:nvPr/>
            </p:nvSpPr>
            <p:spPr>
              <a:xfrm>
                <a:off x="1441254" y="3281759"/>
                <a:ext cx="837104" cy="918766"/>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7" name="Freeform: Shape 376">
                <a:extLst>
                  <a:ext uri="{FF2B5EF4-FFF2-40B4-BE49-F238E27FC236}">
                    <a16:creationId xmlns:a16="http://schemas.microsoft.com/office/drawing/2014/main" id="{901DE0BF-75A6-40F1-AABF-338E31D1E4C8}"/>
                  </a:ext>
                </a:extLst>
              </p:cNvPr>
              <p:cNvSpPr/>
              <p:nvPr/>
            </p:nvSpPr>
            <p:spPr>
              <a:xfrm>
                <a:off x="1441254" y="3357303"/>
                <a:ext cx="837104" cy="2041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8" name="Freeform: Shape 377">
                <a:extLst>
                  <a:ext uri="{FF2B5EF4-FFF2-40B4-BE49-F238E27FC236}">
                    <a16:creationId xmlns:a16="http://schemas.microsoft.com/office/drawing/2014/main" id="{40F0025F-3090-4D45-BDBD-A99E5CC11588}"/>
                  </a:ext>
                </a:extLst>
              </p:cNvPr>
              <p:cNvSpPr/>
              <p:nvPr/>
            </p:nvSpPr>
            <p:spPr>
              <a:xfrm>
                <a:off x="2129315"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9" name="Freeform: Shape 378">
                <a:extLst>
                  <a:ext uri="{FF2B5EF4-FFF2-40B4-BE49-F238E27FC236}">
                    <a16:creationId xmlns:a16="http://schemas.microsoft.com/office/drawing/2014/main" id="{E29C63EF-9750-4754-B2DC-6D7FBAFBDC03}"/>
                  </a:ext>
                </a:extLst>
              </p:cNvPr>
              <p:cNvSpPr/>
              <p:nvPr/>
            </p:nvSpPr>
            <p:spPr>
              <a:xfrm>
                <a:off x="2170150"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0" name="Freeform: Shape 379">
                <a:extLst>
                  <a:ext uri="{FF2B5EF4-FFF2-40B4-BE49-F238E27FC236}">
                    <a16:creationId xmlns:a16="http://schemas.microsoft.com/office/drawing/2014/main" id="{C424414C-535A-474C-B3C7-5146F0D7CC69}"/>
                  </a:ext>
                </a:extLst>
              </p:cNvPr>
              <p:cNvSpPr/>
              <p:nvPr/>
            </p:nvSpPr>
            <p:spPr>
              <a:xfrm>
                <a:off x="2211001" y="3316467"/>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C9D28198-5454-466E-8C0B-EACD0639CB22}"/>
                  </a:ext>
                </a:extLst>
              </p:cNvPr>
              <p:cNvSpPr/>
              <p:nvPr/>
            </p:nvSpPr>
            <p:spPr>
              <a:xfrm>
                <a:off x="1498437" y="3690178"/>
                <a:ext cx="714602" cy="440929"/>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3DED789C-DCA5-472B-97EA-88508C10EA13}"/>
                  </a:ext>
                </a:extLst>
              </p:cNvPr>
              <p:cNvSpPr/>
              <p:nvPr/>
            </p:nvSpPr>
            <p:spPr>
              <a:xfrm>
                <a:off x="1516812" y="3396118"/>
                <a:ext cx="714600" cy="224589"/>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57197C6D-977B-445F-8A07-CFC824D969FA}"/>
                  </a:ext>
                </a:extLst>
              </p:cNvPr>
              <p:cNvSpPr/>
              <p:nvPr/>
            </p:nvSpPr>
            <p:spPr>
              <a:xfrm>
                <a:off x="1494367" y="3555370"/>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C4D530EF-875C-47ED-A2B0-C98FD0E17993}"/>
                  </a:ext>
                </a:extLst>
              </p:cNvPr>
              <p:cNvSpPr/>
              <p:nvPr/>
            </p:nvSpPr>
            <p:spPr>
              <a:xfrm>
                <a:off x="1547452"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3C892529-712E-438A-B812-421CF76E64EF}"/>
                  </a:ext>
                </a:extLst>
              </p:cNvPr>
              <p:cNvSpPr/>
              <p:nvPr/>
            </p:nvSpPr>
            <p:spPr>
              <a:xfrm>
                <a:off x="1614828"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6035FC24-4C9B-4D48-95D6-684245A10CA4}"/>
                  </a:ext>
                </a:extLst>
              </p:cNvPr>
              <p:cNvSpPr/>
              <p:nvPr/>
            </p:nvSpPr>
            <p:spPr>
              <a:xfrm>
                <a:off x="168220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5783085D-C021-438A-A0AD-28A1D3BE8F0F}"/>
                  </a:ext>
                </a:extLst>
              </p:cNvPr>
              <p:cNvSpPr/>
              <p:nvPr/>
            </p:nvSpPr>
            <p:spPr>
              <a:xfrm>
                <a:off x="174958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1F0B7B8E-5DF9-4143-B29B-D211805EE9ED}"/>
                  </a:ext>
                </a:extLst>
              </p:cNvPr>
              <p:cNvSpPr/>
              <p:nvPr/>
            </p:nvSpPr>
            <p:spPr>
              <a:xfrm>
                <a:off x="1816960"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7A819320-62B8-47C4-A5C1-8AD20AB10F89}"/>
                  </a:ext>
                </a:extLst>
              </p:cNvPr>
              <p:cNvSpPr/>
              <p:nvPr/>
            </p:nvSpPr>
            <p:spPr>
              <a:xfrm>
                <a:off x="1882295"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A418B125-D8B6-4437-94A8-23C5606C99AE}"/>
                  </a:ext>
                </a:extLst>
              </p:cNvPr>
              <p:cNvSpPr/>
              <p:nvPr/>
            </p:nvSpPr>
            <p:spPr>
              <a:xfrm>
                <a:off x="1949671"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B7ED4AA7-1CFE-4744-AC7A-4BA2EE6C376E}"/>
                  </a:ext>
                </a:extLst>
              </p:cNvPr>
              <p:cNvSpPr/>
              <p:nvPr/>
            </p:nvSpPr>
            <p:spPr>
              <a:xfrm>
                <a:off x="2017047"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1C6F0527-DFC0-4CF8-9D0B-37BCC42F0D9F}"/>
                  </a:ext>
                </a:extLst>
              </p:cNvPr>
              <p:cNvSpPr/>
              <p:nvPr/>
            </p:nvSpPr>
            <p:spPr>
              <a:xfrm>
                <a:off x="2084425" y="3596245"/>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A1B55B73-5B77-4536-9CBD-D2168F09EFDE}"/>
                  </a:ext>
                </a:extLst>
              </p:cNvPr>
              <p:cNvSpPr/>
              <p:nvPr/>
            </p:nvSpPr>
            <p:spPr>
              <a:xfrm>
                <a:off x="2151812" y="3596243"/>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2836F395-AABC-4BA0-A87A-89BBEC17C32F}"/>
                  </a:ext>
                </a:extLst>
              </p:cNvPr>
              <p:cNvSpPr/>
              <p:nvPr/>
            </p:nvSpPr>
            <p:spPr>
              <a:xfrm>
                <a:off x="1494416" y="3512555"/>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91F14576-DC85-4194-86A8-8E2C8CDBFE84}"/>
                  </a:ext>
                </a:extLst>
              </p:cNvPr>
              <p:cNvSpPr/>
              <p:nvPr/>
            </p:nvSpPr>
            <p:spPr>
              <a:xfrm>
                <a:off x="1494442" y="3469666"/>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94D45271-743C-4221-A1E7-AD8783D6800E}"/>
                  </a:ext>
                </a:extLst>
              </p:cNvPr>
              <p:cNvSpPr/>
              <p:nvPr/>
            </p:nvSpPr>
            <p:spPr>
              <a:xfrm>
                <a:off x="1494390" y="3426687"/>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97" name="Straight Connector 396">
                <a:extLst>
                  <a:ext uri="{FF2B5EF4-FFF2-40B4-BE49-F238E27FC236}">
                    <a16:creationId xmlns:a16="http://schemas.microsoft.com/office/drawing/2014/main" id="{5227D8CD-ED94-46D9-9724-83AA6E2AA62A}"/>
                  </a:ext>
                </a:extLst>
              </p:cNvPr>
              <p:cNvCxnSpPr>
                <a:cxnSpLocks/>
              </p:cNvCxnSpPr>
              <p:nvPr/>
            </p:nvCxnSpPr>
            <p:spPr>
              <a:xfrm>
                <a:off x="1567869" y="3744714"/>
                <a:ext cx="76031" cy="0"/>
              </a:xfrm>
              <a:prstGeom prst="line">
                <a:avLst/>
              </a:prstGeom>
              <a:noFill/>
              <a:ln w="12700" cap="flat" cmpd="sng" algn="ctr">
                <a:solidFill>
                  <a:schemeClr val="tx1"/>
                </a:solidFill>
                <a:prstDash val="solid"/>
                <a:headEnd type="none"/>
                <a:tailEnd type="none"/>
              </a:ln>
              <a:effectLst/>
            </p:spPr>
          </p:cxnSp>
          <p:cxnSp>
            <p:nvCxnSpPr>
              <p:cNvPr id="398" name="Straight Connector 397">
                <a:extLst>
                  <a:ext uri="{FF2B5EF4-FFF2-40B4-BE49-F238E27FC236}">
                    <a16:creationId xmlns:a16="http://schemas.microsoft.com/office/drawing/2014/main" id="{013ED147-624C-4C4A-B56D-10843C43796A}"/>
                  </a:ext>
                </a:extLst>
              </p:cNvPr>
              <p:cNvCxnSpPr>
                <a:cxnSpLocks/>
              </p:cNvCxnSpPr>
              <p:nvPr/>
            </p:nvCxnSpPr>
            <p:spPr>
              <a:xfrm>
                <a:off x="1567869" y="3806458"/>
                <a:ext cx="148824" cy="0"/>
              </a:xfrm>
              <a:prstGeom prst="line">
                <a:avLst/>
              </a:prstGeom>
              <a:noFill/>
              <a:ln w="12700" cap="flat" cmpd="sng" algn="ctr">
                <a:solidFill>
                  <a:schemeClr val="tx1"/>
                </a:solidFill>
                <a:prstDash val="solid"/>
                <a:headEnd type="none"/>
                <a:tailEnd type="none"/>
              </a:ln>
              <a:effectLst/>
            </p:spPr>
          </p:cxnSp>
          <p:cxnSp>
            <p:nvCxnSpPr>
              <p:cNvPr id="399" name="Straight Connector 398">
                <a:extLst>
                  <a:ext uri="{FF2B5EF4-FFF2-40B4-BE49-F238E27FC236}">
                    <a16:creationId xmlns:a16="http://schemas.microsoft.com/office/drawing/2014/main" id="{F3AC3D2E-DBA0-46B0-9A0A-14C747BD39B7}"/>
                  </a:ext>
                </a:extLst>
              </p:cNvPr>
              <p:cNvCxnSpPr>
                <a:cxnSpLocks/>
              </p:cNvCxnSpPr>
              <p:nvPr/>
            </p:nvCxnSpPr>
            <p:spPr>
              <a:xfrm>
                <a:off x="1727354" y="3806458"/>
                <a:ext cx="89063" cy="0"/>
              </a:xfrm>
              <a:prstGeom prst="line">
                <a:avLst/>
              </a:prstGeom>
              <a:noFill/>
              <a:ln w="12700" cap="flat" cmpd="sng" algn="ctr">
                <a:solidFill>
                  <a:schemeClr val="tx1"/>
                </a:solidFill>
                <a:prstDash val="solid"/>
                <a:headEnd type="none"/>
                <a:tailEnd type="none"/>
              </a:ln>
              <a:effectLst/>
            </p:spPr>
          </p:cxnSp>
          <p:cxnSp>
            <p:nvCxnSpPr>
              <p:cNvPr id="400" name="Straight Connector 399">
                <a:extLst>
                  <a:ext uri="{FF2B5EF4-FFF2-40B4-BE49-F238E27FC236}">
                    <a16:creationId xmlns:a16="http://schemas.microsoft.com/office/drawing/2014/main" id="{EBF8F782-2140-4915-90CB-5DF3929DA78A}"/>
                  </a:ext>
                </a:extLst>
              </p:cNvPr>
              <p:cNvCxnSpPr>
                <a:cxnSpLocks/>
              </p:cNvCxnSpPr>
              <p:nvPr/>
            </p:nvCxnSpPr>
            <p:spPr>
              <a:xfrm>
                <a:off x="1567869" y="3852324"/>
                <a:ext cx="218515" cy="0"/>
              </a:xfrm>
              <a:prstGeom prst="line">
                <a:avLst/>
              </a:prstGeom>
              <a:noFill/>
              <a:ln w="12700" cap="flat" cmpd="sng" algn="ctr">
                <a:solidFill>
                  <a:schemeClr val="tx1"/>
                </a:solidFill>
                <a:prstDash val="solid"/>
                <a:headEnd type="none"/>
                <a:tailEnd type="none"/>
              </a:ln>
              <a:effectLst/>
            </p:spPr>
          </p:cxnSp>
          <p:cxnSp>
            <p:nvCxnSpPr>
              <p:cNvPr id="401" name="Straight Connector 400">
                <a:extLst>
                  <a:ext uri="{FF2B5EF4-FFF2-40B4-BE49-F238E27FC236}">
                    <a16:creationId xmlns:a16="http://schemas.microsoft.com/office/drawing/2014/main" id="{9F7ADFAF-5A8C-4FD7-8A86-F5EA7109265A}"/>
                  </a:ext>
                </a:extLst>
              </p:cNvPr>
              <p:cNvCxnSpPr>
                <a:cxnSpLocks/>
              </p:cNvCxnSpPr>
              <p:nvPr/>
            </p:nvCxnSpPr>
            <p:spPr>
              <a:xfrm>
                <a:off x="1835153" y="3852324"/>
                <a:ext cx="89063" cy="0"/>
              </a:xfrm>
              <a:prstGeom prst="line">
                <a:avLst/>
              </a:prstGeom>
              <a:noFill/>
              <a:ln w="12700" cap="flat" cmpd="sng" algn="ctr">
                <a:solidFill>
                  <a:schemeClr val="tx1"/>
                </a:solidFill>
                <a:prstDash val="solid"/>
                <a:headEnd type="none"/>
                <a:tailEnd type="none"/>
              </a:ln>
              <a:effectLst/>
            </p:spPr>
          </p:cxnSp>
          <p:cxnSp>
            <p:nvCxnSpPr>
              <p:cNvPr id="402" name="Straight Connector 401">
                <a:extLst>
                  <a:ext uri="{FF2B5EF4-FFF2-40B4-BE49-F238E27FC236}">
                    <a16:creationId xmlns:a16="http://schemas.microsoft.com/office/drawing/2014/main" id="{13D9F1D2-9444-47DB-8EA9-54C9FE152B47}"/>
                  </a:ext>
                </a:extLst>
              </p:cNvPr>
              <p:cNvCxnSpPr>
                <a:cxnSpLocks/>
              </p:cNvCxnSpPr>
              <p:nvPr/>
            </p:nvCxnSpPr>
            <p:spPr>
              <a:xfrm>
                <a:off x="1567869" y="3914067"/>
                <a:ext cx="90099" cy="0"/>
              </a:xfrm>
              <a:prstGeom prst="line">
                <a:avLst/>
              </a:prstGeom>
              <a:noFill/>
              <a:ln w="12700" cap="flat" cmpd="sng" algn="ctr">
                <a:solidFill>
                  <a:schemeClr val="tx1"/>
                </a:solidFill>
                <a:prstDash val="solid"/>
                <a:headEnd type="none"/>
                <a:tailEnd type="none"/>
              </a:ln>
              <a:effectLst/>
            </p:spPr>
          </p:cxnSp>
          <p:cxnSp>
            <p:nvCxnSpPr>
              <p:cNvPr id="403" name="Straight Connector 402">
                <a:extLst>
                  <a:ext uri="{FF2B5EF4-FFF2-40B4-BE49-F238E27FC236}">
                    <a16:creationId xmlns:a16="http://schemas.microsoft.com/office/drawing/2014/main" id="{B8F94EBD-C7DB-48F8-B031-EF8186326E3D}"/>
                  </a:ext>
                </a:extLst>
              </p:cNvPr>
              <p:cNvCxnSpPr>
                <a:cxnSpLocks/>
              </p:cNvCxnSpPr>
              <p:nvPr/>
            </p:nvCxnSpPr>
            <p:spPr>
              <a:xfrm>
                <a:off x="1668324" y="3914067"/>
                <a:ext cx="213478" cy="0"/>
              </a:xfrm>
              <a:prstGeom prst="line">
                <a:avLst/>
              </a:prstGeom>
              <a:noFill/>
              <a:ln w="12700" cap="flat" cmpd="sng" algn="ctr">
                <a:solidFill>
                  <a:schemeClr val="tx1"/>
                </a:solidFill>
                <a:prstDash val="solid"/>
                <a:headEnd type="none"/>
                <a:tailEnd type="none"/>
              </a:ln>
              <a:effectLst/>
            </p:spPr>
          </p:cxnSp>
          <p:cxnSp>
            <p:nvCxnSpPr>
              <p:cNvPr id="404" name="Straight Connector 403">
                <a:extLst>
                  <a:ext uri="{FF2B5EF4-FFF2-40B4-BE49-F238E27FC236}">
                    <a16:creationId xmlns:a16="http://schemas.microsoft.com/office/drawing/2014/main" id="{E784E198-1388-46D2-9673-FDFEC0E3E6E7}"/>
                  </a:ext>
                </a:extLst>
              </p:cNvPr>
              <p:cNvCxnSpPr>
                <a:cxnSpLocks/>
              </p:cNvCxnSpPr>
              <p:nvPr/>
            </p:nvCxnSpPr>
            <p:spPr>
              <a:xfrm flipV="1">
                <a:off x="1567869" y="4079894"/>
                <a:ext cx="148824" cy="0"/>
              </a:xfrm>
              <a:prstGeom prst="line">
                <a:avLst/>
              </a:prstGeom>
              <a:noFill/>
              <a:ln w="12700" cap="flat" cmpd="sng" algn="ctr">
                <a:solidFill>
                  <a:schemeClr val="tx1"/>
                </a:solidFill>
                <a:prstDash val="solid"/>
                <a:headEnd type="none"/>
                <a:tailEnd type="none"/>
              </a:ln>
              <a:effectLst/>
            </p:spPr>
          </p:cxnSp>
          <p:cxnSp>
            <p:nvCxnSpPr>
              <p:cNvPr id="405" name="Straight Connector 404">
                <a:extLst>
                  <a:ext uri="{FF2B5EF4-FFF2-40B4-BE49-F238E27FC236}">
                    <a16:creationId xmlns:a16="http://schemas.microsoft.com/office/drawing/2014/main" id="{CED42A23-0A81-4456-AFCF-06BBD39D0CAD}"/>
                  </a:ext>
                </a:extLst>
              </p:cNvPr>
              <p:cNvCxnSpPr>
                <a:cxnSpLocks/>
              </p:cNvCxnSpPr>
              <p:nvPr/>
            </p:nvCxnSpPr>
            <p:spPr>
              <a:xfrm flipV="1">
                <a:off x="1727354" y="4079894"/>
                <a:ext cx="89063" cy="0"/>
              </a:xfrm>
              <a:prstGeom prst="line">
                <a:avLst/>
              </a:prstGeom>
              <a:noFill/>
              <a:ln w="12700" cap="flat" cmpd="sng" algn="ctr">
                <a:solidFill>
                  <a:schemeClr val="tx1"/>
                </a:solidFill>
                <a:prstDash val="solid"/>
                <a:headEnd type="none"/>
                <a:tailEnd type="none"/>
              </a:ln>
              <a:effectLst/>
            </p:spPr>
          </p:cxnSp>
          <p:cxnSp>
            <p:nvCxnSpPr>
              <p:cNvPr id="406" name="Straight Connector 405">
                <a:extLst>
                  <a:ext uri="{FF2B5EF4-FFF2-40B4-BE49-F238E27FC236}">
                    <a16:creationId xmlns:a16="http://schemas.microsoft.com/office/drawing/2014/main" id="{9B0D6F98-274B-4300-96F0-A3D273DE2838}"/>
                  </a:ext>
                </a:extLst>
              </p:cNvPr>
              <p:cNvCxnSpPr>
                <a:cxnSpLocks/>
              </p:cNvCxnSpPr>
              <p:nvPr/>
            </p:nvCxnSpPr>
            <p:spPr>
              <a:xfrm flipV="1">
                <a:off x="1567869" y="4034027"/>
                <a:ext cx="218515" cy="0"/>
              </a:xfrm>
              <a:prstGeom prst="line">
                <a:avLst/>
              </a:prstGeom>
              <a:noFill/>
              <a:ln w="12700" cap="flat" cmpd="sng" algn="ctr">
                <a:solidFill>
                  <a:schemeClr val="tx1"/>
                </a:solidFill>
                <a:prstDash val="solid"/>
                <a:headEnd type="none"/>
                <a:tailEnd type="none"/>
              </a:ln>
              <a:effectLst/>
            </p:spPr>
          </p:cxnSp>
          <p:cxnSp>
            <p:nvCxnSpPr>
              <p:cNvPr id="407" name="Straight Connector 406">
                <a:extLst>
                  <a:ext uri="{FF2B5EF4-FFF2-40B4-BE49-F238E27FC236}">
                    <a16:creationId xmlns:a16="http://schemas.microsoft.com/office/drawing/2014/main" id="{79EDA5FE-EF7A-496D-BF24-C6E194CF6F22}"/>
                  </a:ext>
                </a:extLst>
              </p:cNvPr>
              <p:cNvCxnSpPr>
                <a:cxnSpLocks/>
              </p:cNvCxnSpPr>
              <p:nvPr/>
            </p:nvCxnSpPr>
            <p:spPr>
              <a:xfrm flipV="1">
                <a:off x="1818897" y="4034027"/>
                <a:ext cx="89063" cy="0"/>
              </a:xfrm>
              <a:prstGeom prst="line">
                <a:avLst/>
              </a:prstGeom>
              <a:noFill/>
              <a:ln w="12700" cap="flat" cmpd="sng" algn="ctr">
                <a:solidFill>
                  <a:schemeClr val="tx1"/>
                </a:solidFill>
                <a:prstDash val="solid"/>
                <a:headEnd type="none"/>
                <a:tailEnd type="none"/>
              </a:ln>
              <a:effectLst/>
            </p:spPr>
          </p:cxnSp>
          <p:cxnSp>
            <p:nvCxnSpPr>
              <p:cNvPr id="408" name="Straight Connector 407">
                <a:extLst>
                  <a:ext uri="{FF2B5EF4-FFF2-40B4-BE49-F238E27FC236}">
                    <a16:creationId xmlns:a16="http://schemas.microsoft.com/office/drawing/2014/main" id="{2CB39A9C-32C2-4B2F-B587-A32D3E09777B}"/>
                  </a:ext>
                </a:extLst>
              </p:cNvPr>
              <p:cNvCxnSpPr>
                <a:cxnSpLocks/>
              </p:cNvCxnSpPr>
              <p:nvPr/>
            </p:nvCxnSpPr>
            <p:spPr>
              <a:xfrm flipV="1">
                <a:off x="1627197" y="3972283"/>
                <a:ext cx="90099" cy="0"/>
              </a:xfrm>
              <a:prstGeom prst="line">
                <a:avLst/>
              </a:prstGeom>
              <a:noFill/>
              <a:ln w="12700" cap="flat" cmpd="sng" algn="ctr">
                <a:solidFill>
                  <a:schemeClr val="tx1"/>
                </a:solidFill>
                <a:prstDash val="solid"/>
                <a:headEnd type="none"/>
                <a:tailEnd type="none"/>
              </a:ln>
              <a:effectLst/>
            </p:spPr>
          </p:cxnSp>
          <p:cxnSp>
            <p:nvCxnSpPr>
              <p:cNvPr id="409" name="Straight Connector 408">
                <a:extLst>
                  <a:ext uri="{FF2B5EF4-FFF2-40B4-BE49-F238E27FC236}">
                    <a16:creationId xmlns:a16="http://schemas.microsoft.com/office/drawing/2014/main" id="{C196FF49-153C-4DE3-A43D-3FD3B7B331C2}"/>
                  </a:ext>
                </a:extLst>
              </p:cNvPr>
              <p:cNvCxnSpPr>
                <a:cxnSpLocks/>
              </p:cNvCxnSpPr>
              <p:nvPr/>
            </p:nvCxnSpPr>
            <p:spPr>
              <a:xfrm flipV="1">
                <a:off x="1740047" y="3972283"/>
                <a:ext cx="213478" cy="0"/>
              </a:xfrm>
              <a:prstGeom prst="line">
                <a:avLst/>
              </a:prstGeom>
              <a:noFill/>
              <a:ln w="12700" cap="flat" cmpd="sng" algn="ctr">
                <a:solidFill>
                  <a:schemeClr val="tx1"/>
                </a:solidFill>
                <a:prstDash val="solid"/>
                <a:headEnd type="none"/>
                <a:tailEnd type="none"/>
              </a:ln>
              <a:effectLst/>
            </p:spPr>
          </p:cxnSp>
          <p:cxnSp>
            <p:nvCxnSpPr>
              <p:cNvPr id="410" name="Straight Connector 409">
                <a:extLst>
                  <a:ext uri="{FF2B5EF4-FFF2-40B4-BE49-F238E27FC236}">
                    <a16:creationId xmlns:a16="http://schemas.microsoft.com/office/drawing/2014/main" id="{11FAF3F1-F2FD-477B-9099-CB2F66CEBEFD}"/>
                  </a:ext>
                </a:extLst>
              </p:cNvPr>
              <p:cNvCxnSpPr>
                <a:cxnSpLocks/>
              </p:cNvCxnSpPr>
              <p:nvPr/>
            </p:nvCxnSpPr>
            <p:spPr>
              <a:xfrm>
                <a:off x="1916549" y="3914067"/>
                <a:ext cx="213478" cy="0"/>
              </a:xfrm>
              <a:prstGeom prst="line">
                <a:avLst/>
              </a:prstGeom>
              <a:noFill/>
              <a:ln w="12700" cap="flat" cmpd="sng" algn="ctr">
                <a:solidFill>
                  <a:schemeClr val="tx1"/>
                </a:solidFill>
                <a:prstDash val="solid"/>
                <a:headEnd type="none"/>
                <a:tailEnd type="none"/>
              </a:ln>
              <a:effectLst/>
            </p:spPr>
          </p:cxnSp>
          <p:cxnSp>
            <p:nvCxnSpPr>
              <p:cNvPr id="411" name="Straight Connector 410">
                <a:extLst>
                  <a:ext uri="{FF2B5EF4-FFF2-40B4-BE49-F238E27FC236}">
                    <a16:creationId xmlns:a16="http://schemas.microsoft.com/office/drawing/2014/main" id="{C7FCC049-B371-4FBD-B74E-C484DE9F374D}"/>
                  </a:ext>
                </a:extLst>
              </p:cNvPr>
              <p:cNvCxnSpPr>
                <a:cxnSpLocks/>
              </p:cNvCxnSpPr>
              <p:nvPr/>
            </p:nvCxnSpPr>
            <p:spPr>
              <a:xfrm flipV="1">
                <a:off x="1935460" y="4034027"/>
                <a:ext cx="89063" cy="0"/>
              </a:xfrm>
              <a:prstGeom prst="line">
                <a:avLst/>
              </a:prstGeom>
              <a:noFill/>
              <a:ln w="12700" cap="flat" cmpd="sng" algn="ctr">
                <a:solidFill>
                  <a:schemeClr val="tx1"/>
                </a:solidFill>
                <a:prstDash val="solid"/>
                <a:headEnd type="none"/>
                <a:tailEnd type="none"/>
              </a:ln>
              <a:effectLst/>
            </p:spPr>
          </p:cxnSp>
          <p:cxnSp>
            <p:nvCxnSpPr>
              <p:cNvPr id="412" name="Straight Connector 411">
                <a:extLst>
                  <a:ext uri="{FF2B5EF4-FFF2-40B4-BE49-F238E27FC236}">
                    <a16:creationId xmlns:a16="http://schemas.microsoft.com/office/drawing/2014/main" id="{7F7FF8DF-6469-4FEC-8549-77D84B08E3F1}"/>
                  </a:ext>
                </a:extLst>
              </p:cNvPr>
              <p:cNvCxnSpPr>
                <a:cxnSpLocks/>
              </p:cNvCxnSpPr>
              <p:nvPr/>
            </p:nvCxnSpPr>
            <p:spPr>
              <a:xfrm flipV="1">
                <a:off x="2050461" y="4034027"/>
                <a:ext cx="89063" cy="0"/>
              </a:xfrm>
              <a:prstGeom prst="line">
                <a:avLst/>
              </a:prstGeom>
              <a:noFill/>
              <a:ln w="12700" cap="flat" cmpd="sng" algn="ctr">
                <a:solidFill>
                  <a:schemeClr val="tx1"/>
                </a:solidFill>
                <a:prstDash val="solid"/>
                <a:headEnd type="none"/>
                <a:tailEnd type="none"/>
              </a:ln>
              <a:effectLst/>
            </p:spPr>
          </p:cxnSp>
          <p:cxnSp>
            <p:nvCxnSpPr>
              <p:cNvPr id="413" name="Straight Connector 412">
                <a:extLst>
                  <a:ext uri="{FF2B5EF4-FFF2-40B4-BE49-F238E27FC236}">
                    <a16:creationId xmlns:a16="http://schemas.microsoft.com/office/drawing/2014/main" id="{EFE03099-6BBC-46E1-959A-9071A0AA9C9A}"/>
                  </a:ext>
                </a:extLst>
              </p:cNvPr>
              <p:cNvCxnSpPr>
                <a:cxnSpLocks/>
              </p:cNvCxnSpPr>
              <p:nvPr/>
            </p:nvCxnSpPr>
            <p:spPr>
              <a:xfrm>
                <a:off x="1964583" y="3806458"/>
                <a:ext cx="89063" cy="0"/>
              </a:xfrm>
              <a:prstGeom prst="line">
                <a:avLst/>
              </a:prstGeom>
              <a:noFill/>
              <a:ln w="12700" cap="flat" cmpd="sng" algn="ctr">
                <a:solidFill>
                  <a:schemeClr val="tx1"/>
                </a:solidFill>
                <a:prstDash val="solid"/>
                <a:headEnd type="none"/>
                <a:tailEnd type="none"/>
              </a:ln>
              <a:effectLst/>
            </p:spPr>
          </p:cxnSp>
          <p:cxnSp>
            <p:nvCxnSpPr>
              <p:cNvPr id="414" name="Straight Connector 413">
                <a:extLst>
                  <a:ext uri="{FF2B5EF4-FFF2-40B4-BE49-F238E27FC236}">
                    <a16:creationId xmlns:a16="http://schemas.microsoft.com/office/drawing/2014/main" id="{CDDF261D-502F-4E3B-ACEE-9E8641B831A3}"/>
                  </a:ext>
                </a:extLst>
              </p:cNvPr>
              <p:cNvCxnSpPr>
                <a:cxnSpLocks/>
              </p:cNvCxnSpPr>
              <p:nvPr/>
            </p:nvCxnSpPr>
            <p:spPr>
              <a:xfrm>
                <a:off x="1976458" y="3852324"/>
                <a:ext cx="163065" cy="0"/>
              </a:xfrm>
              <a:prstGeom prst="line">
                <a:avLst/>
              </a:prstGeom>
              <a:noFill/>
              <a:ln w="12700" cap="flat" cmpd="sng" algn="ctr">
                <a:solidFill>
                  <a:schemeClr val="tx1"/>
                </a:solidFill>
                <a:prstDash val="solid"/>
                <a:headEnd type="none"/>
                <a:tailEnd type="none"/>
              </a:ln>
              <a:effectLst/>
            </p:spPr>
          </p:cxnSp>
          <p:sp>
            <p:nvSpPr>
              <p:cNvPr id="415" name="Freeform: Shape 414">
                <a:extLst>
                  <a:ext uri="{FF2B5EF4-FFF2-40B4-BE49-F238E27FC236}">
                    <a16:creationId xmlns:a16="http://schemas.microsoft.com/office/drawing/2014/main" id="{08941D76-1A42-4BBC-9EB2-D1C425AD3048}"/>
                  </a:ext>
                </a:extLst>
              </p:cNvPr>
              <p:cNvSpPr/>
              <p:nvPr/>
            </p:nvSpPr>
            <p:spPr bwMode="auto">
              <a:xfrm>
                <a:off x="1565486" y="3454466"/>
                <a:ext cx="636270" cy="110490"/>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20" name="Group 19">
              <a:extLst>
                <a:ext uri="{FF2B5EF4-FFF2-40B4-BE49-F238E27FC236}">
                  <a16:creationId xmlns:a16="http://schemas.microsoft.com/office/drawing/2014/main" id="{863B9677-6B9B-4D52-9EAF-718F5DE6A166}"/>
                </a:ext>
              </a:extLst>
            </p:cNvPr>
            <p:cNvGrpSpPr/>
            <p:nvPr/>
          </p:nvGrpSpPr>
          <p:grpSpPr>
            <a:xfrm>
              <a:off x="6458470" y="1079317"/>
              <a:ext cx="777240" cy="777240"/>
              <a:chOff x="8459300" y="1584018"/>
              <a:chExt cx="777240" cy="777240"/>
            </a:xfrm>
          </p:grpSpPr>
          <p:sp>
            <p:nvSpPr>
              <p:cNvPr id="281" name="Oval 280">
                <a:extLst>
                  <a:ext uri="{FF2B5EF4-FFF2-40B4-BE49-F238E27FC236}">
                    <a16:creationId xmlns:a16="http://schemas.microsoft.com/office/drawing/2014/main" id="{BDE08F07-92F8-4EC5-808C-8DCFD211E4EF}"/>
                  </a:ext>
                </a:extLst>
              </p:cNvPr>
              <p:cNvSpPr/>
              <p:nvPr/>
            </p:nvSpPr>
            <p:spPr bwMode="auto">
              <a:xfrm>
                <a:off x="8459300" y="1584018"/>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82" name="TextBox 281">
                <a:extLst>
                  <a:ext uri="{FF2B5EF4-FFF2-40B4-BE49-F238E27FC236}">
                    <a16:creationId xmlns:a16="http://schemas.microsoft.com/office/drawing/2014/main" id="{A60FCDDD-3094-4116-BDF7-FCA33C96F525}"/>
                  </a:ext>
                </a:extLst>
              </p:cNvPr>
              <p:cNvSpPr txBox="1"/>
              <p:nvPr/>
            </p:nvSpPr>
            <p:spPr>
              <a:xfrm>
                <a:off x="8527880" y="2047730"/>
                <a:ext cx="640080" cy="246221"/>
              </a:xfrm>
              <a:prstGeom prst="rect">
                <a:avLst/>
              </a:prstGeom>
              <a:ln>
                <a:noFill/>
              </a:ln>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ML services</a:t>
                </a:r>
              </a:p>
            </p:txBody>
          </p:sp>
          <p:pic>
            <p:nvPicPr>
              <p:cNvPr id="670" name="Picture 669">
                <a:extLst>
                  <a:ext uri="{FF2B5EF4-FFF2-40B4-BE49-F238E27FC236}">
                    <a16:creationId xmlns:a16="http://schemas.microsoft.com/office/drawing/2014/main" id="{9E27FA7E-5938-40BA-9B32-91E8AD7FF1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88046" y="1658252"/>
                <a:ext cx="319748" cy="373037"/>
              </a:xfrm>
              <a:prstGeom prst="rect">
                <a:avLst/>
              </a:prstGeom>
              <a:ln>
                <a:noFill/>
              </a:ln>
            </p:spPr>
          </p:pic>
        </p:grpSp>
        <p:sp>
          <p:nvSpPr>
            <p:cNvPr id="671" name="Rectangle 670">
              <a:extLst>
                <a:ext uri="{FF2B5EF4-FFF2-40B4-BE49-F238E27FC236}">
                  <a16:creationId xmlns:a16="http://schemas.microsoft.com/office/drawing/2014/main" id="{7D7FEFFA-4ABA-41D5-8845-5614F026C3A3}"/>
                </a:ext>
              </a:extLst>
            </p:cNvPr>
            <p:cNvSpPr/>
            <p:nvPr/>
          </p:nvSpPr>
          <p:spPr bwMode="auto">
            <a:xfrm>
              <a:off x="7606945" y="1266078"/>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Management</a:t>
              </a:r>
            </a:p>
          </p:txBody>
        </p:sp>
      </p:grpSp>
      <p:sp>
        <p:nvSpPr>
          <p:cNvPr id="218" name="Rectangle: Rounded Corners 217">
            <a:extLst>
              <a:ext uri="{FF2B5EF4-FFF2-40B4-BE49-F238E27FC236}">
                <a16:creationId xmlns:a16="http://schemas.microsoft.com/office/drawing/2014/main" id="{3C667C38-8F88-4D75-AADB-B583FE603A6C}"/>
              </a:ext>
            </a:extLst>
          </p:cNvPr>
          <p:cNvSpPr/>
          <p:nvPr/>
        </p:nvSpPr>
        <p:spPr bwMode="auto">
          <a:xfrm>
            <a:off x="3052728" y="3232062"/>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Scale out clusters</a:t>
            </a:r>
          </a:p>
        </p:txBody>
      </p:sp>
      <p:grpSp>
        <p:nvGrpSpPr>
          <p:cNvPr id="603" name="Group 602">
            <a:extLst>
              <a:ext uri="{FF2B5EF4-FFF2-40B4-BE49-F238E27FC236}">
                <a16:creationId xmlns:a16="http://schemas.microsoft.com/office/drawing/2014/main" id="{C4C9CDD1-A244-4BFA-B674-B1EFF46A0F49}"/>
              </a:ext>
            </a:extLst>
          </p:cNvPr>
          <p:cNvGrpSpPr/>
          <p:nvPr/>
        </p:nvGrpSpPr>
        <p:grpSpPr>
          <a:xfrm>
            <a:off x="4002241" y="3334966"/>
            <a:ext cx="757453" cy="692041"/>
            <a:chOff x="4903652" y="4265116"/>
            <a:chExt cx="1320766" cy="1206708"/>
          </a:xfrm>
        </p:grpSpPr>
        <p:grpSp>
          <p:nvGrpSpPr>
            <p:cNvPr id="604" name="Group 603">
              <a:extLst>
                <a:ext uri="{FF2B5EF4-FFF2-40B4-BE49-F238E27FC236}">
                  <a16:creationId xmlns:a16="http://schemas.microsoft.com/office/drawing/2014/main" id="{BFEF4E8E-0710-487A-9BB4-5F32D2C4CC38}"/>
                </a:ext>
              </a:extLst>
            </p:cNvPr>
            <p:cNvGrpSpPr/>
            <p:nvPr/>
          </p:nvGrpSpPr>
          <p:grpSpPr>
            <a:xfrm>
              <a:off x="5391150" y="4603436"/>
              <a:ext cx="833268" cy="868388"/>
              <a:chOff x="4199491" y="3361552"/>
              <a:chExt cx="2024927" cy="2110272"/>
            </a:xfrm>
          </p:grpSpPr>
          <p:grpSp>
            <p:nvGrpSpPr>
              <p:cNvPr id="621" name="Group 620">
                <a:extLst>
                  <a:ext uri="{FF2B5EF4-FFF2-40B4-BE49-F238E27FC236}">
                    <a16:creationId xmlns:a16="http://schemas.microsoft.com/office/drawing/2014/main" id="{19BB6234-6F15-446E-9E06-A799FDBB2FFB}"/>
                  </a:ext>
                </a:extLst>
              </p:cNvPr>
              <p:cNvGrpSpPr/>
              <p:nvPr/>
            </p:nvGrpSpPr>
            <p:grpSpPr>
              <a:xfrm>
                <a:off x="4199491" y="3361552"/>
                <a:ext cx="2024927" cy="2110272"/>
                <a:chOff x="2862096" y="5372526"/>
                <a:chExt cx="556717" cy="580181"/>
              </a:xfrm>
            </p:grpSpPr>
            <p:sp>
              <p:nvSpPr>
                <p:cNvPr id="629" name="Freeform: Shape 628">
                  <a:extLst>
                    <a:ext uri="{FF2B5EF4-FFF2-40B4-BE49-F238E27FC236}">
                      <a16:creationId xmlns:a16="http://schemas.microsoft.com/office/drawing/2014/main" id="{89E0ACAC-D818-4964-9F14-EBDFAF9CAA7B}"/>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0" name="Freeform: Shape 629">
                  <a:extLst>
                    <a:ext uri="{FF2B5EF4-FFF2-40B4-BE49-F238E27FC236}">
                      <a16:creationId xmlns:a16="http://schemas.microsoft.com/office/drawing/2014/main" id="{6B6F758F-0BA9-44F1-98F1-F5F060289F59}"/>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1" name="Freeform: Shape 630">
                  <a:extLst>
                    <a:ext uri="{FF2B5EF4-FFF2-40B4-BE49-F238E27FC236}">
                      <a16:creationId xmlns:a16="http://schemas.microsoft.com/office/drawing/2014/main" id="{756AE0B0-AD88-4D35-8FCC-C829AD197A86}"/>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2" name="Freeform: Shape 631">
                  <a:extLst>
                    <a:ext uri="{FF2B5EF4-FFF2-40B4-BE49-F238E27FC236}">
                      <a16:creationId xmlns:a16="http://schemas.microsoft.com/office/drawing/2014/main" id="{9B9F2A8F-1EFB-4AA2-9503-CF23F4147ECF}"/>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3" name="Freeform: Shape 632">
                  <a:extLst>
                    <a:ext uri="{FF2B5EF4-FFF2-40B4-BE49-F238E27FC236}">
                      <a16:creationId xmlns:a16="http://schemas.microsoft.com/office/drawing/2014/main" id="{0202FD00-D425-4416-806B-6BD83EA82C8A}"/>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4" name="Freeform: Shape 633">
                  <a:extLst>
                    <a:ext uri="{FF2B5EF4-FFF2-40B4-BE49-F238E27FC236}">
                      <a16:creationId xmlns:a16="http://schemas.microsoft.com/office/drawing/2014/main" id="{EADE2946-E10F-43B2-83B1-BB27EE76664C}"/>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5" name="Freeform: Shape 634">
                  <a:extLst>
                    <a:ext uri="{FF2B5EF4-FFF2-40B4-BE49-F238E27FC236}">
                      <a16:creationId xmlns:a16="http://schemas.microsoft.com/office/drawing/2014/main" id="{B2E722E3-1B73-4081-ABF4-FD43E0DC2734}"/>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622" name="Oval 621">
                <a:extLst>
                  <a:ext uri="{FF2B5EF4-FFF2-40B4-BE49-F238E27FC236}">
                    <a16:creationId xmlns:a16="http://schemas.microsoft.com/office/drawing/2014/main" id="{00113A1E-633C-4190-B756-081C9B2ED573}"/>
                  </a:ext>
                </a:extLst>
              </p:cNvPr>
              <p:cNvSpPr/>
              <p:nvPr/>
            </p:nvSpPr>
            <p:spPr bwMode="auto">
              <a:xfrm>
                <a:off x="5154128" y="4361490"/>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3" name="Oval 622">
                <a:extLst>
                  <a:ext uri="{FF2B5EF4-FFF2-40B4-BE49-F238E27FC236}">
                    <a16:creationId xmlns:a16="http://schemas.microsoft.com/office/drawing/2014/main" id="{283E9AC8-EA5B-437A-90BC-16F4BDFD6512}"/>
                  </a:ext>
                </a:extLst>
              </p:cNvPr>
              <p:cNvSpPr/>
              <p:nvPr/>
            </p:nvSpPr>
            <p:spPr bwMode="auto">
              <a:xfrm>
                <a:off x="5782652" y="4006493"/>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4" name="Oval 623">
                <a:extLst>
                  <a:ext uri="{FF2B5EF4-FFF2-40B4-BE49-F238E27FC236}">
                    <a16:creationId xmlns:a16="http://schemas.microsoft.com/office/drawing/2014/main" id="{3D11BCB8-6153-4335-BC80-9AA48E064321}"/>
                  </a:ext>
                </a:extLst>
              </p:cNvPr>
              <p:cNvSpPr/>
              <p:nvPr/>
            </p:nvSpPr>
            <p:spPr bwMode="auto">
              <a:xfrm>
                <a:off x="5154128" y="3622567"/>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5" name="Oval 624">
                <a:extLst>
                  <a:ext uri="{FF2B5EF4-FFF2-40B4-BE49-F238E27FC236}">
                    <a16:creationId xmlns:a16="http://schemas.microsoft.com/office/drawing/2014/main" id="{86EB1314-05B3-485B-A766-D64C23AB29CE}"/>
                  </a:ext>
                </a:extLst>
              </p:cNvPr>
              <p:cNvSpPr/>
              <p:nvPr/>
            </p:nvSpPr>
            <p:spPr bwMode="auto">
              <a:xfrm>
                <a:off x="5156601" y="5079481"/>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6" name="Oval 625">
                <a:extLst>
                  <a:ext uri="{FF2B5EF4-FFF2-40B4-BE49-F238E27FC236}">
                    <a16:creationId xmlns:a16="http://schemas.microsoft.com/office/drawing/2014/main" id="{47A15122-8B9B-4884-BB12-124F5BE1B0D2}"/>
                  </a:ext>
                </a:extLst>
              </p:cNvPr>
              <p:cNvSpPr/>
              <p:nvPr/>
            </p:nvSpPr>
            <p:spPr bwMode="auto">
              <a:xfrm>
                <a:off x="4509929" y="4715485"/>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7" name="Oval 626">
                <a:extLst>
                  <a:ext uri="{FF2B5EF4-FFF2-40B4-BE49-F238E27FC236}">
                    <a16:creationId xmlns:a16="http://schemas.microsoft.com/office/drawing/2014/main" id="{14D9944E-B9F8-4D8F-A9BA-39545B843A1F}"/>
                  </a:ext>
                </a:extLst>
              </p:cNvPr>
              <p:cNvSpPr/>
              <p:nvPr/>
            </p:nvSpPr>
            <p:spPr bwMode="auto">
              <a:xfrm>
                <a:off x="4509929" y="4006493"/>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8" name="Oval 627">
                <a:extLst>
                  <a:ext uri="{FF2B5EF4-FFF2-40B4-BE49-F238E27FC236}">
                    <a16:creationId xmlns:a16="http://schemas.microsoft.com/office/drawing/2014/main" id="{3F8D8E8A-0D55-4490-956B-CC865A82E3E2}"/>
                  </a:ext>
                </a:extLst>
              </p:cNvPr>
              <p:cNvSpPr/>
              <p:nvPr/>
            </p:nvSpPr>
            <p:spPr bwMode="auto">
              <a:xfrm>
                <a:off x="5782652" y="4719050"/>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FE744734-5C66-47CD-A8A6-B8C3C9139B5E}"/>
                </a:ext>
              </a:extLst>
            </p:cNvPr>
            <p:cNvGrpSpPr/>
            <p:nvPr/>
          </p:nvGrpSpPr>
          <p:grpSpPr>
            <a:xfrm>
              <a:off x="4903652" y="4265116"/>
              <a:ext cx="669287" cy="388899"/>
              <a:chOff x="4849610" y="4257156"/>
              <a:chExt cx="335619" cy="171805"/>
            </a:xfrm>
          </p:grpSpPr>
          <p:sp>
            <p:nvSpPr>
              <p:cNvPr id="617" name="Freeform: Shape 616">
                <a:extLst>
                  <a:ext uri="{FF2B5EF4-FFF2-40B4-BE49-F238E27FC236}">
                    <a16:creationId xmlns:a16="http://schemas.microsoft.com/office/drawing/2014/main" id="{B0BE864E-D757-4D7F-AC6E-B52E2B9A4A4D}"/>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18" name="Freeform: Shape 617">
                <a:extLst>
                  <a:ext uri="{FF2B5EF4-FFF2-40B4-BE49-F238E27FC236}">
                    <a16:creationId xmlns:a16="http://schemas.microsoft.com/office/drawing/2014/main" id="{FADB5DC5-3884-4979-8B59-9195766E8A70}"/>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19" name="Freeform: Shape 618">
                <a:extLst>
                  <a:ext uri="{FF2B5EF4-FFF2-40B4-BE49-F238E27FC236}">
                    <a16:creationId xmlns:a16="http://schemas.microsoft.com/office/drawing/2014/main" id="{C1576CED-4D48-45ED-ADDA-2DA25D0EFED6}"/>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20" name="Freeform: Shape 619">
                <a:extLst>
                  <a:ext uri="{FF2B5EF4-FFF2-40B4-BE49-F238E27FC236}">
                    <a16:creationId xmlns:a16="http://schemas.microsoft.com/office/drawing/2014/main" id="{C5C751D9-3DD0-403D-B93E-5A0FC8C6F12C}"/>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606" name="Connector: Elbow 605">
              <a:extLst>
                <a:ext uri="{FF2B5EF4-FFF2-40B4-BE49-F238E27FC236}">
                  <a16:creationId xmlns:a16="http://schemas.microsoft.com/office/drawing/2014/main" id="{40A6348B-F19E-46AC-ADF1-5A2B623F621E}"/>
                </a:ext>
              </a:extLst>
            </p:cNvPr>
            <p:cNvCxnSpPr>
              <a:stCxn id="626" idx="0"/>
              <a:endCxn id="617" idx="1"/>
            </p:cNvCxnSpPr>
            <p:nvPr/>
          </p:nvCxnSpPr>
          <p:spPr>
            <a:xfrm rot="16200000" flipV="1">
              <a:off x="4997823" y="4612492"/>
              <a:ext cx="506358" cy="589832"/>
            </a:xfrm>
            <a:prstGeom prst="bentConnector4">
              <a:avLst>
                <a:gd name="adj1" fmla="val 10518"/>
                <a:gd name="adj2" fmla="val 61243"/>
              </a:avLst>
            </a:prstGeom>
            <a:solidFill>
              <a:schemeClr val="tx1"/>
            </a:solidFill>
            <a:ln w="9525" cap="flat" cmpd="sng" algn="ctr">
              <a:noFill/>
              <a:prstDash val="solid"/>
              <a:headEnd type="none"/>
              <a:tailEnd type="none"/>
            </a:ln>
            <a:effectLst/>
          </p:spPr>
        </p:cxnSp>
        <p:cxnSp>
          <p:nvCxnSpPr>
            <p:cNvPr id="607" name="Straight Connector 606">
              <a:extLst>
                <a:ext uri="{FF2B5EF4-FFF2-40B4-BE49-F238E27FC236}">
                  <a16:creationId xmlns:a16="http://schemas.microsoft.com/office/drawing/2014/main" id="{C7055D8F-BFA5-458E-A810-B2A5F7015C7F}"/>
                </a:ext>
              </a:extLst>
            </p:cNvPr>
            <p:cNvCxnSpPr>
              <a:stCxn id="627" idx="4"/>
              <a:endCxn id="626" idx="0"/>
            </p:cNvCxnSpPr>
            <p:nvPr/>
          </p:nvCxnSpPr>
          <p:spPr>
            <a:xfrm>
              <a:off x="5545918" y="4922875"/>
              <a:ext cx="0" cy="237712"/>
            </a:xfrm>
            <a:prstGeom prst="line">
              <a:avLst/>
            </a:prstGeom>
            <a:noFill/>
            <a:ln w="9525" cap="flat" cmpd="sng" algn="ctr">
              <a:solidFill>
                <a:schemeClr val="tx1"/>
              </a:solidFill>
              <a:prstDash val="solid"/>
              <a:headEnd type="none"/>
              <a:tailEnd type="none"/>
            </a:ln>
            <a:effectLst/>
          </p:spPr>
        </p:cxnSp>
        <p:cxnSp>
          <p:nvCxnSpPr>
            <p:cNvPr id="608" name="Straight Connector 607">
              <a:extLst>
                <a:ext uri="{FF2B5EF4-FFF2-40B4-BE49-F238E27FC236}">
                  <a16:creationId xmlns:a16="http://schemas.microsoft.com/office/drawing/2014/main" id="{93EA85AA-931C-47D0-989B-B33B9B51EC8E}"/>
                </a:ext>
              </a:extLst>
            </p:cNvPr>
            <p:cNvCxnSpPr>
              <a:stCxn id="626" idx="5"/>
              <a:endCxn id="625" idx="2"/>
            </p:cNvCxnSpPr>
            <p:nvPr/>
          </p:nvCxnSpPr>
          <p:spPr>
            <a:xfrm>
              <a:off x="5565025" y="5206715"/>
              <a:ext cx="219981" cy="130679"/>
            </a:xfrm>
            <a:prstGeom prst="line">
              <a:avLst/>
            </a:prstGeom>
            <a:noFill/>
            <a:ln w="9525" cap="flat" cmpd="sng" algn="ctr">
              <a:solidFill>
                <a:schemeClr val="tx1"/>
              </a:solidFill>
              <a:prstDash val="solid"/>
              <a:headEnd type="none"/>
              <a:tailEnd type="none"/>
            </a:ln>
            <a:effectLst/>
          </p:spPr>
        </p:cxnSp>
        <p:cxnSp>
          <p:nvCxnSpPr>
            <p:cNvPr id="609" name="Straight Connector 608">
              <a:extLst>
                <a:ext uri="{FF2B5EF4-FFF2-40B4-BE49-F238E27FC236}">
                  <a16:creationId xmlns:a16="http://schemas.microsoft.com/office/drawing/2014/main" id="{D1DC6ED6-CA26-4CEC-9323-45A9F4B96152}"/>
                </a:ext>
              </a:extLst>
            </p:cNvPr>
            <p:cNvCxnSpPr>
              <a:cxnSpLocks/>
              <a:stCxn id="625" idx="6"/>
              <a:endCxn id="628" idx="3"/>
            </p:cNvCxnSpPr>
            <p:nvPr/>
          </p:nvCxnSpPr>
          <p:spPr>
            <a:xfrm flipV="1">
              <a:off x="5839048" y="5208182"/>
              <a:ext cx="211495" cy="129212"/>
            </a:xfrm>
            <a:prstGeom prst="line">
              <a:avLst/>
            </a:prstGeom>
            <a:noFill/>
            <a:ln w="9525" cap="flat" cmpd="sng" algn="ctr">
              <a:solidFill>
                <a:schemeClr val="tx1"/>
              </a:solidFill>
              <a:prstDash val="solid"/>
              <a:headEnd type="none"/>
              <a:tailEnd type="none"/>
            </a:ln>
            <a:effectLst/>
          </p:spPr>
        </p:cxnSp>
        <p:cxnSp>
          <p:nvCxnSpPr>
            <p:cNvPr id="610" name="Straight Connector 609">
              <a:extLst>
                <a:ext uri="{FF2B5EF4-FFF2-40B4-BE49-F238E27FC236}">
                  <a16:creationId xmlns:a16="http://schemas.microsoft.com/office/drawing/2014/main" id="{3890D6ED-8B9A-41C6-B50A-F26B49661338}"/>
                </a:ext>
              </a:extLst>
            </p:cNvPr>
            <p:cNvCxnSpPr>
              <a:stCxn id="628" idx="0"/>
              <a:endCxn id="623" idx="4"/>
            </p:cNvCxnSpPr>
            <p:nvPr/>
          </p:nvCxnSpPr>
          <p:spPr>
            <a:xfrm flipV="1">
              <a:off x="6069650" y="4922875"/>
              <a:ext cx="0" cy="239179"/>
            </a:xfrm>
            <a:prstGeom prst="line">
              <a:avLst/>
            </a:prstGeom>
            <a:noFill/>
            <a:ln w="9525" cap="flat" cmpd="sng" algn="ctr">
              <a:solidFill>
                <a:schemeClr val="tx1"/>
              </a:solidFill>
              <a:prstDash val="solid"/>
              <a:headEnd type="none"/>
              <a:tailEnd type="none"/>
            </a:ln>
            <a:effectLst/>
          </p:spPr>
        </p:cxnSp>
        <p:cxnSp>
          <p:nvCxnSpPr>
            <p:cNvPr id="611" name="Straight Connector 610">
              <a:extLst>
                <a:ext uri="{FF2B5EF4-FFF2-40B4-BE49-F238E27FC236}">
                  <a16:creationId xmlns:a16="http://schemas.microsoft.com/office/drawing/2014/main" id="{73E771CC-C550-444C-8263-66259C6059C6}"/>
                </a:ext>
              </a:extLst>
            </p:cNvPr>
            <p:cNvCxnSpPr>
              <a:cxnSpLocks/>
              <a:stCxn id="623" idx="1"/>
              <a:endCxn id="624" idx="5"/>
            </p:cNvCxnSpPr>
            <p:nvPr/>
          </p:nvCxnSpPr>
          <p:spPr>
            <a:xfrm flipH="1" flipV="1">
              <a:off x="5830116" y="4756973"/>
              <a:ext cx="220427" cy="119774"/>
            </a:xfrm>
            <a:prstGeom prst="line">
              <a:avLst/>
            </a:prstGeom>
            <a:noFill/>
            <a:ln w="9525" cap="flat" cmpd="sng" algn="ctr">
              <a:solidFill>
                <a:schemeClr val="tx1"/>
              </a:solidFill>
              <a:prstDash val="solid"/>
              <a:headEnd type="none"/>
              <a:tailEnd type="none"/>
            </a:ln>
            <a:effectLst/>
          </p:spPr>
        </p:cxnSp>
        <p:cxnSp>
          <p:nvCxnSpPr>
            <p:cNvPr id="612" name="Straight Connector 611">
              <a:extLst>
                <a:ext uri="{FF2B5EF4-FFF2-40B4-BE49-F238E27FC236}">
                  <a16:creationId xmlns:a16="http://schemas.microsoft.com/office/drawing/2014/main" id="{9B838BA8-E948-4AFB-ADC8-786FA37F29FD}"/>
                </a:ext>
              </a:extLst>
            </p:cNvPr>
            <p:cNvCxnSpPr>
              <a:stCxn id="624" idx="3"/>
              <a:endCxn id="627" idx="7"/>
            </p:cNvCxnSpPr>
            <p:nvPr/>
          </p:nvCxnSpPr>
          <p:spPr>
            <a:xfrm flipH="1">
              <a:off x="5565025" y="4756973"/>
              <a:ext cx="226877" cy="119774"/>
            </a:xfrm>
            <a:prstGeom prst="line">
              <a:avLst/>
            </a:prstGeom>
            <a:noFill/>
            <a:ln w="9525" cap="flat" cmpd="sng" algn="ctr">
              <a:solidFill>
                <a:schemeClr val="tx1"/>
              </a:solidFill>
              <a:prstDash val="solid"/>
              <a:headEnd type="none"/>
              <a:tailEnd type="none"/>
            </a:ln>
            <a:effectLst/>
          </p:spPr>
        </p:cxnSp>
        <p:cxnSp>
          <p:nvCxnSpPr>
            <p:cNvPr id="613" name="Straight Connector 612">
              <a:extLst>
                <a:ext uri="{FF2B5EF4-FFF2-40B4-BE49-F238E27FC236}">
                  <a16:creationId xmlns:a16="http://schemas.microsoft.com/office/drawing/2014/main" id="{5B869DBE-D351-4F88-8077-842E49138890}"/>
                </a:ext>
              </a:extLst>
            </p:cNvPr>
            <p:cNvCxnSpPr>
              <a:cxnSpLocks/>
              <a:stCxn id="622" idx="5"/>
              <a:endCxn id="628" idx="1"/>
            </p:cNvCxnSpPr>
            <p:nvPr/>
          </p:nvCxnSpPr>
          <p:spPr>
            <a:xfrm>
              <a:off x="5830116" y="5061044"/>
              <a:ext cx="220427" cy="108924"/>
            </a:xfrm>
            <a:prstGeom prst="line">
              <a:avLst/>
            </a:prstGeom>
            <a:noFill/>
            <a:ln w="9525" cap="flat" cmpd="sng" algn="ctr">
              <a:solidFill>
                <a:schemeClr val="tx1"/>
              </a:solidFill>
              <a:prstDash val="solid"/>
              <a:headEnd type="none"/>
              <a:tailEnd type="none"/>
            </a:ln>
            <a:effectLst/>
          </p:spPr>
        </p:cxnSp>
        <p:cxnSp>
          <p:nvCxnSpPr>
            <p:cNvPr id="614" name="Straight Connector 613">
              <a:extLst>
                <a:ext uri="{FF2B5EF4-FFF2-40B4-BE49-F238E27FC236}">
                  <a16:creationId xmlns:a16="http://schemas.microsoft.com/office/drawing/2014/main" id="{3F73941E-7729-4638-85A0-F7B0461477BB}"/>
                </a:ext>
              </a:extLst>
            </p:cNvPr>
            <p:cNvCxnSpPr>
              <a:stCxn id="622" idx="3"/>
              <a:endCxn id="626" idx="6"/>
            </p:cNvCxnSpPr>
            <p:nvPr/>
          </p:nvCxnSpPr>
          <p:spPr>
            <a:xfrm flipH="1">
              <a:off x="5572939" y="5061044"/>
              <a:ext cx="218963" cy="126564"/>
            </a:xfrm>
            <a:prstGeom prst="line">
              <a:avLst/>
            </a:prstGeom>
            <a:noFill/>
            <a:ln w="9525" cap="flat" cmpd="sng" algn="ctr">
              <a:solidFill>
                <a:schemeClr val="tx1"/>
              </a:solidFill>
              <a:prstDash val="solid"/>
              <a:headEnd type="none"/>
              <a:tailEnd type="none"/>
            </a:ln>
            <a:effectLst/>
          </p:spPr>
        </p:cxnSp>
        <p:cxnSp>
          <p:nvCxnSpPr>
            <p:cNvPr id="615" name="Straight Connector 614">
              <a:extLst>
                <a:ext uri="{FF2B5EF4-FFF2-40B4-BE49-F238E27FC236}">
                  <a16:creationId xmlns:a16="http://schemas.microsoft.com/office/drawing/2014/main" id="{9F3F2B11-FB7F-478D-A128-5B7FA9000ECD}"/>
                </a:ext>
              </a:extLst>
            </p:cNvPr>
            <p:cNvCxnSpPr>
              <a:stCxn id="622" idx="7"/>
              <a:endCxn id="623" idx="3"/>
            </p:cNvCxnSpPr>
            <p:nvPr/>
          </p:nvCxnSpPr>
          <p:spPr>
            <a:xfrm flipV="1">
              <a:off x="5830116" y="4914961"/>
              <a:ext cx="220427" cy="107869"/>
            </a:xfrm>
            <a:prstGeom prst="line">
              <a:avLst/>
            </a:prstGeom>
            <a:solidFill>
              <a:schemeClr val="tx1"/>
            </a:solidFill>
            <a:ln w="9525" cap="flat" cmpd="sng" algn="ctr">
              <a:solidFill>
                <a:schemeClr val="tx1"/>
              </a:solidFill>
              <a:prstDash val="solid"/>
              <a:headEnd type="none"/>
              <a:tailEnd type="none"/>
            </a:ln>
            <a:effectLst/>
          </p:spPr>
        </p:cxnSp>
        <p:cxnSp>
          <p:nvCxnSpPr>
            <p:cNvPr id="616" name="Straight Connector 615">
              <a:extLst>
                <a:ext uri="{FF2B5EF4-FFF2-40B4-BE49-F238E27FC236}">
                  <a16:creationId xmlns:a16="http://schemas.microsoft.com/office/drawing/2014/main" id="{68B6091D-9525-461D-8EB1-B6FB7957EC7C}"/>
                </a:ext>
              </a:extLst>
            </p:cNvPr>
            <p:cNvCxnSpPr>
              <a:stCxn id="622" idx="1"/>
              <a:endCxn id="627" idx="5"/>
            </p:cNvCxnSpPr>
            <p:nvPr/>
          </p:nvCxnSpPr>
          <p:spPr>
            <a:xfrm flipH="1" flipV="1">
              <a:off x="5565025" y="4914961"/>
              <a:ext cx="226877" cy="107869"/>
            </a:xfrm>
            <a:prstGeom prst="line">
              <a:avLst/>
            </a:prstGeom>
            <a:noFill/>
            <a:ln w="9525" cap="flat" cmpd="sng" algn="ctr">
              <a:solidFill>
                <a:schemeClr val="tx1"/>
              </a:solidFill>
              <a:prstDash val="solid"/>
              <a:headEnd type="none"/>
              <a:tailEnd type="none"/>
            </a:ln>
            <a:effectLst/>
          </p:spPr>
        </p:cxnSp>
      </p:grpSp>
      <p:sp>
        <p:nvSpPr>
          <p:cNvPr id="673" name="Rectangle 672">
            <a:extLst>
              <a:ext uri="{FF2B5EF4-FFF2-40B4-BE49-F238E27FC236}">
                <a16:creationId xmlns:a16="http://schemas.microsoft.com/office/drawing/2014/main" id="{E535255B-70ED-4EB3-89D6-F1B29ABDF1C0}"/>
              </a:ext>
            </a:extLst>
          </p:cNvPr>
          <p:cNvSpPr/>
          <p:nvPr/>
        </p:nvSpPr>
        <p:spPr bwMode="auto">
          <a:xfrm>
            <a:off x="3817629" y="3027504"/>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Infrastructure </a:t>
            </a:r>
          </a:p>
        </p:txBody>
      </p:sp>
      <p:sp>
        <p:nvSpPr>
          <p:cNvPr id="253" name="Oval 252">
            <a:extLst>
              <a:ext uri="{FF2B5EF4-FFF2-40B4-BE49-F238E27FC236}">
                <a16:creationId xmlns:a16="http://schemas.microsoft.com/office/drawing/2014/main" id="{350712E3-C9AE-43F7-8E46-4ACB445100A7}"/>
              </a:ext>
            </a:extLst>
          </p:cNvPr>
          <p:cNvSpPr/>
          <p:nvPr/>
        </p:nvSpPr>
        <p:spPr bwMode="auto">
          <a:xfrm>
            <a:off x="2664900" y="2839657"/>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54" name="TextBox 253">
            <a:extLst>
              <a:ext uri="{FF2B5EF4-FFF2-40B4-BE49-F238E27FC236}">
                <a16:creationId xmlns:a16="http://schemas.microsoft.com/office/drawing/2014/main" id="{F2CDCC82-74DB-400D-BD17-D21DE9118F72}"/>
              </a:ext>
            </a:extLst>
          </p:cNvPr>
          <p:cNvSpPr txBox="1"/>
          <p:nvPr/>
        </p:nvSpPr>
        <p:spPr>
          <a:xfrm>
            <a:off x="2813070" y="3271949"/>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mj-lt"/>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latin typeface="+mj-lt"/>
              </a:rPr>
              <a:t>d</a:t>
            </a:r>
            <a:r>
              <a:rPr kumimoji="0" lang="en-US" sz="800" b="0" i="0" u="none" strike="noStrike" kern="0" cap="none" spc="0" normalizeH="0" baseline="0" noProof="0" dirty="0" err="1">
                <a:ln>
                  <a:noFill/>
                </a:ln>
                <a:solidFill>
                  <a:srgbClr val="0078D7"/>
                </a:solidFill>
                <a:effectLst/>
                <a:uLnTx/>
                <a:uFillTx/>
                <a:latin typeface="+mj-lt"/>
                <a:ea typeface="MS PGothic" panose="020B0600070205080204" pitchFamily="34" charset="-128"/>
                <a:cs typeface="Segoe UI Semibold" panose="020B0702040204020203" pitchFamily="34" charset="0"/>
              </a:rPr>
              <a:t>atabricks</a:t>
            </a:r>
            <a:endParaRPr kumimoji="0" lang="en-US" sz="800" b="0" i="0" u="none" strike="noStrike" kern="0" cap="none" spc="0" normalizeH="0" baseline="0" noProof="0" dirty="0">
              <a:ln>
                <a:noFill/>
              </a:ln>
              <a:solidFill>
                <a:srgbClr val="0078D7"/>
              </a:solidFill>
              <a:effectLst/>
              <a:uLnTx/>
              <a:uFillTx/>
              <a:latin typeface="+mj-lt"/>
              <a:ea typeface="MS PGothic" panose="020B0600070205080204" pitchFamily="34" charset="-128"/>
              <a:cs typeface="Segoe UI Semibold" panose="020B0702040204020203" pitchFamily="34" charset="0"/>
            </a:endParaRPr>
          </a:p>
        </p:txBody>
      </p:sp>
      <p:grpSp>
        <p:nvGrpSpPr>
          <p:cNvPr id="636" name="Group 635">
            <a:extLst>
              <a:ext uri="{FF2B5EF4-FFF2-40B4-BE49-F238E27FC236}">
                <a16:creationId xmlns:a16="http://schemas.microsoft.com/office/drawing/2014/main" id="{2E7A3FA0-84A9-4962-9AA0-9B2D953C099F}"/>
              </a:ext>
            </a:extLst>
          </p:cNvPr>
          <p:cNvGrpSpPr/>
          <p:nvPr/>
        </p:nvGrpSpPr>
        <p:grpSpPr>
          <a:xfrm>
            <a:off x="3245032" y="3024382"/>
            <a:ext cx="407791" cy="407791"/>
            <a:chOff x="8303519" y="1692273"/>
            <a:chExt cx="702207" cy="702207"/>
          </a:xfrm>
        </p:grpSpPr>
        <p:sp>
          <p:nvSpPr>
            <p:cNvPr id="637" name="Oval 636">
              <a:extLst>
                <a:ext uri="{FF2B5EF4-FFF2-40B4-BE49-F238E27FC236}">
                  <a16:creationId xmlns:a16="http://schemas.microsoft.com/office/drawing/2014/main" id="{33E465A6-91C4-49F5-BC68-3EC05E534B93}"/>
                </a:ext>
              </a:extLst>
            </p:cNvPr>
            <p:cNvSpPr/>
            <p:nvPr/>
          </p:nvSpPr>
          <p:spPr bwMode="auto">
            <a:xfrm>
              <a:off x="8303519" y="1692273"/>
              <a:ext cx="702207" cy="70220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638" name="Graphic 30">
              <a:extLst>
                <a:ext uri="{FF2B5EF4-FFF2-40B4-BE49-F238E27FC236}">
                  <a16:creationId xmlns:a16="http://schemas.microsoft.com/office/drawing/2014/main" id="{73EAF329-ABB6-49FB-9692-1A4A3537DD0B}"/>
                </a:ext>
              </a:extLst>
            </p:cNvPr>
            <p:cNvGrpSpPr/>
            <p:nvPr/>
          </p:nvGrpSpPr>
          <p:grpSpPr>
            <a:xfrm>
              <a:off x="8386379" y="1901962"/>
              <a:ext cx="536488" cy="282829"/>
              <a:chOff x="10530517" y="1546860"/>
              <a:chExt cx="819476" cy="432016"/>
            </a:xfrm>
          </p:grpSpPr>
          <p:sp>
            <p:nvSpPr>
              <p:cNvPr id="639" name="Freeform: Shape 638">
                <a:extLst>
                  <a:ext uri="{FF2B5EF4-FFF2-40B4-BE49-F238E27FC236}">
                    <a16:creationId xmlns:a16="http://schemas.microsoft.com/office/drawing/2014/main" id="{E85672B2-BCA6-46DA-AFF0-9379CEE1BEAB}"/>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0" name="Freeform: Shape 639">
                <a:extLst>
                  <a:ext uri="{FF2B5EF4-FFF2-40B4-BE49-F238E27FC236}">
                    <a16:creationId xmlns:a16="http://schemas.microsoft.com/office/drawing/2014/main" id="{CAB61933-5087-4411-9101-0B96E62A2DA4}"/>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1" name="Freeform: Shape 640">
                <a:extLst>
                  <a:ext uri="{FF2B5EF4-FFF2-40B4-BE49-F238E27FC236}">
                    <a16:creationId xmlns:a16="http://schemas.microsoft.com/office/drawing/2014/main" id="{F7DDB4C7-C258-49BE-8076-9990B920BA48}"/>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2" name="Freeform: Shape 641">
                <a:extLst>
                  <a:ext uri="{FF2B5EF4-FFF2-40B4-BE49-F238E27FC236}">
                    <a16:creationId xmlns:a16="http://schemas.microsoft.com/office/drawing/2014/main" id="{8B2FC24C-AFD9-49D2-BA38-979D67A8D0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3" name="Freeform: Shape 642">
                <a:extLst>
                  <a:ext uri="{FF2B5EF4-FFF2-40B4-BE49-F238E27FC236}">
                    <a16:creationId xmlns:a16="http://schemas.microsoft.com/office/drawing/2014/main" id="{4BA2BBF2-150C-4717-BAB3-DF2AEF785A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4" name="Freeform: Shape 643">
                <a:extLst>
                  <a:ext uri="{FF2B5EF4-FFF2-40B4-BE49-F238E27FC236}">
                    <a16:creationId xmlns:a16="http://schemas.microsoft.com/office/drawing/2014/main" id="{A1E27897-7B9C-4B8B-8B97-A89A7A88261A}"/>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5" name="Freeform: Shape 644">
                <a:extLst>
                  <a:ext uri="{FF2B5EF4-FFF2-40B4-BE49-F238E27FC236}">
                    <a16:creationId xmlns:a16="http://schemas.microsoft.com/office/drawing/2014/main" id="{DB159515-6522-471F-AD21-9EAF7CEF5192}"/>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6" name="Freeform: Shape 645">
                <a:extLst>
                  <a:ext uri="{FF2B5EF4-FFF2-40B4-BE49-F238E27FC236}">
                    <a16:creationId xmlns:a16="http://schemas.microsoft.com/office/drawing/2014/main" id="{583FEB15-9012-406D-9324-B2BB4E02A9A9}"/>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7" name="Freeform: Shape 646">
                <a:extLst>
                  <a:ext uri="{FF2B5EF4-FFF2-40B4-BE49-F238E27FC236}">
                    <a16:creationId xmlns:a16="http://schemas.microsoft.com/office/drawing/2014/main" id="{843D5664-6368-4385-B0EA-8B0D75A4DE35}"/>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8" name="Freeform: Shape 647">
                <a:extLst>
                  <a:ext uri="{FF2B5EF4-FFF2-40B4-BE49-F238E27FC236}">
                    <a16:creationId xmlns:a16="http://schemas.microsoft.com/office/drawing/2014/main" id="{135B8BEC-12DF-48D3-8390-227221BB7B9B}"/>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9" name="Freeform: Shape 648">
                <a:extLst>
                  <a:ext uri="{FF2B5EF4-FFF2-40B4-BE49-F238E27FC236}">
                    <a16:creationId xmlns:a16="http://schemas.microsoft.com/office/drawing/2014/main" id="{9FF0D7BB-7880-471E-87F6-E914D61F1826}"/>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0" name="Freeform: Shape 649">
                <a:extLst>
                  <a:ext uri="{FF2B5EF4-FFF2-40B4-BE49-F238E27FC236}">
                    <a16:creationId xmlns:a16="http://schemas.microsoft.com/office/drawing/2014/main" id="{BE598B92-EBF7-4ED6-A66E-70AE08A189A1}"/>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1" name="Freeform: Shape 650">
                <a:extLst>
                  <a:ext uri="{FF2B5EF4-FFF2-40B4-BE49-F238E27FC236}">
                    <a16:creationId xmlns:a16="http://schemas.microsoft.com/office/drawing/2014/main" id="{22AAE0B8-BA44-4F9F-85C0-248E8CAB24B4}"/>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2" name="Freeform: Shape 651">
                <a:extLst>
                  <a:ext uri="{FF2B5EF4-FFF2-40B4-BE49-F238E27FC236}">
                    <a16:creationId xmlns:a16="http://schemas.microsoft.com/office/drawing/2014/main" id="{A9DE900B-BE6A-4D0B-BD03-DCA38EBD180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237" name="Rectangle: Rounded Corners 236">
            <a:extLst>
              <a:ext uri="{FF2B5EF4-FFF2-40B4-BE49-F238E27FC236}">
                <a16:creationId xmlns:a16="http://schemas.microsoft.com/office/drawing/2014/main" id="{4E863E14-0A7D-4EDB-8C71-304A632D001A}"/>
              </a:ext>
            </a:extLst>
          </p:cNvPr>
          <p:cNvSpPr/>
          <p:nvPr/>
        </p:nvSpPr>
        <p:spPr bwMode="auto">
          <a:xfrm>
            <a:off x="3052728" y="1469376"/>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mj-lt"/>
                <a:ea typeface="Segoe UI" panose="020B0502040204020203" pitchFamily="34" charset="0"/>
                <a:cs typeface="Segoe UI" panose="020B0502040204020203" pitchFamily="34" charset="0"/>
              </a:rPr>
              <a:t>Machine learning </a:t>
            </a:r>
          </a:p>
        </p:txBody>
      </p:sp>
      <p:grpSp>
        <p:nvGrpSpPr>
          <p:cNvPr id="444" name="Group 443">
            <a:extLst>
              <a:ext uri="{FF2B5EF4-FFF2-40B4-BE49-F238E27FC236}">
                <a16:creationId xmlns:a16="http://schemas.microsoft.com/office/drawing/2014/main" id="{229B91EF-9893-4FD7-9E2D-627548A4FE35}"/>
              </a:ext>
            </a:extLst>
          </p:cNvPr>
          <p:cNvGrpSpPr/>
          <p:nvPr/>
        </p:nvGrpSpPr>
        <p:grpSpPr>
          <a:xfrm>
            <a:off x="4029980" y="1547012"/>
            <a:ext cx="879879" cy="742993"/>
            <a:chOff x="5257824" y="4552652"/>
            <a:chExt cx="1697695" cy="1433578"/>
          </a:xfrm>
        </p:grpSpPr>
        <p:sp>
          <p:nvSpPr>
            <p:cNvPr id="445" name="Freeform: Shape 444">
              <a:extLst>
                <a:ext uri="{FF2B5EF4-FFF2-40B4-BE49-F238E27FC236}">
                  <a16:creationId xmlns:a16="http://schemas.microsoft.com/office/drawing/2014/main" id="{C5375096-F8CA-42A0-B197-E6D07F50BDBF}"/>
                </a:ext>
              </a:extLst>
            </p:cNvPr>
            <p:cNvSpPr/>
            <p:nvPr/>
          </p:nvSpPr>
          <p:spPr bwMode="auto">
            <a:xfrm>
              <a:off x="5596838" y="4552652"/>
              <a:ext cx="852058" cy="262656"/>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85321D26-A9BC-486C-B169-70151064475D}"/>
                </a:ext>
              </a:extLst>
            </p:cNvPr>
            <p:cNvSpPr/>
            <p:nvPr/>
          </p:nvSpPr>
          <p:spPr bwMode="auto">
            <a:xfrm>
              <a:off x="5596838" y="4817314"/>
              <a:ext cx="852058" cy="262656"/>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49" name="Oval 448">
              <a:extLst>
                <a:ext uri="{FF2B5EF4-FFF2-40B4-BE49-F238E27FC236}">
                  <a16:creationId xmlns:a16="http://schemas.microsoft.com/office/drawing/2014/main" id="{34C9F46E-DB9B-461C-993A-A94380C28D5F}"/>
                </a:ext>
              </a:extLst>
            </p:cNvPr>
            <p:cNvSpPr/>
            <p:nvPr/>
          </p:nvSpPr>
          <p:spPr bwMode="auto">
            <a:xfrm>
              <a:off x="5524607" y="4743076"/>
              <a:ext cx="144461" cy="144460"/>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1" name="Rectangle: Rounded Corners 450">
              <a:extLst>
                <a:ext uri="{FF2B5EF4-FFF2-40B4-BE49-F238E27FC236}">
                  <a16:creationId xmlns:a16="http://schemas.microsoft.com/office/drawing/2014/main" id="{02EEE482-A828-4D1A-83CC-5D37F32FC4FE}"/>
                </a:ext>
              </a:extLst>
            </p:cNvPr>
            <p:cNvSpPr/>
            <p:nvPr/>
          </p:nvSpPr>
          <p:spPr bwMode="auto">
            <a:xfrm>
              <a:off x="6138135" y="4884148"/>
              <a:ext cx="240421" cy="126736"/>
            </a:xfrm>
            <a:prstGeom prst="round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3" name="Rectangle 452">
              <a:extLst>
                <a:ext uri="{FF2B5EF4-FFF2-40B4-BE49-F238E27FC236}">
                  <a16:creationId xmlns:a16="http://schemas.microsoft.com/office/drawing/2014/main" id="{85AC49CC-DE06-4482-B971-68AAFB7E85B9}"/>
                </a:ext>
              </a:extLst>
            </p:cNvPr>
            <p:cNvSpPr/>
            <p:nvPr/>
          </p:nvSpPr>
          <p:spPr bwMode="auto">
            <a:xfrm>
              <a:off x="5672483"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Rectangle 453">
              <a:extLst>
                <a:ext uri="{FF2B5EF4-FFF2-40B4-BE49-F238E27FC236}">
                  <a16:creationId xmlns:a16="http://schemas.microsoft.com/office/drawing/2014/main" id="{9D699440-7417-496F-8B03-9D5A696F23B5}"/>
                </a:ext>
              </a:extLst>
            </p:cNvPr>
            <p:cNvSpPr/>
            <p:nvPr/>
          </p:nvSpPr>
          <p:spPr bwMode="auto">
            <a:xfrm>
              <a:off x="5764714"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Rectangle 454">
              <a:extLst>
                <a:ext uri="{FF2B5EF4-FFF2-40B4-BE49-F238E27FC236}">
                  <a16:creationId xmlns:a16="http://schemas.microsoft.com/office/drawing/2014/main" id="{C7CB9F76-5B31-47C1-9F81-28C188941E41}"/>
                </a:ext>
              </a:extLst>
            </p:cNvPr>
            <p:cNvSpPr/>
            <p:nvPr/>
          </p:nvSpPr>
          <p:spPr bwMode="auto">
            <a:xfrm>
              <a:off x="5856946"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Rectangle 455">
              <a:extLst>
                <a:ext uri="{FF2B5EF4-FFF2-40B4-BE49-F238E27FC236}">
                  <a16:creationId xmlns:a16="http://schemas.microsoft.com/office/drawing/2014/main" id="{37F7929A-521A-41CD-BB47-A0EE5C14944E}"/>
                </a:ext>
              </a:extLst>
            </p:cNvPr>
            <p:cNvSpPr/>
            <p:nvPr/>
          </p:nvSpPr>
          <p:spPr bwMode="auto">
            <a:xfrm>
              <a:off x="5949178"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7" name="Rectangle 456">
              <a:extLst>
                <a:ext uri="{FF2B5EF4-FFF2-40B4-BE49-F238E27FC236}">
                  <a16:creationId xmlns:a16="http://schemas.microsoft.com/office/drawing/2014/main" id="{58602AFF-102C-4371-A04A-3E39FC5E7418}"/>
                </a:ext>
              </a:extLst>
            </p:cNvPr>
            <p:cNvSpPr/>
            <p:nvPr/>
          </p:nvSpPr>
          <p:spPr bwMode="auto">
            <a:xfrm>
              <a:off x="6041409"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8" name="Isosceles Triangle 457">
              <a:extLst>
                <a:ext uri="{FF2B5EF4-FFF2-40B4-BE49-F238E27FC236}">
                  <a16:creationId xmlns:a16="http://schemas.microsoft.com/office/drawing/2014/main" id="{E56C266E-0CFD-447A-B495-69C3CD7F83A5}"/>
                </a:ext>
              </a:extLst>
            </p:cNvPr>
            <p:cNvSpPr/>
            <p:nvPr/>
          </p:nvSpPr>
          <p:spPr bwMode="auto">
            <a:xfrm rot="5400000">
              <a:off x="5247774" y="5356823"/>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9" name="Isosceles Triangle 458">
              <a:extLst>
                <a:ext uri="{FF2B5EF4-FFF2-40B4-BE49-F238E27FC236}">
                  <a16:creationId xmlns:a16="http://schemas.microsoft.com/office/drawing/2014/main" id="{A1478829-D49A-4653-AB37-1958DCD20CF6}"/>
                </a:ext>
              </a:extLst>
            </p:cNvPr>
            <p:cNvSpPr/>
            <p:nvPr/>
          </p:nvSpPr>
          <p:spPr bwMode="auto">
            <a:xfrm rot="5400000">
              <a:off x="6277453" y="5355571"/>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461" name="Group 460">
              <a:extLst>
                <a:ext uri="{FF2B5EF4-FFF2-40B4-BE49-F238E27FC236}">
                  <a16:creationId xmlns:a16="http://schemas.microsoft.com/office/drawing/2014/main" id="{D2145264-6267-4E2E-BE2C-7B477644E677}"/>
                </a:ext>
              </a:extLst>
            </p:cNvPr>
            <p:cNvGrpSpPr/>
            <p:nvPr/>
          </p:nvGrpSpPr>
          <p:grpSpPr>
            <a:xfrm>
              <a:off x="6494510" y="5058895"/>
              <a:ext cx="461009" cy="688846"/>
              <a:chOff x="16928640" y="5794182"/>
              <a:chExt cx="333504" cy="498326"/>
            </a:xfrm>
          </p:grpSpPr>
          <p:sp>
            <p:nvSpPr>
              <p:cNvPr id="597" name="Freeform: Shape 596">
                <a:extLst>
                  <a:ext uri="{FF2B5EF4-FFF2-40B4-BE49-F238E27FC236}">
                    <a16:creationId xmlns:a16="http://schemas.microsoft.com/office/drawing/2014/main" id="{3A9617FB-A51C-43D4-A5BC-DFE817EAA26A}"/>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598" name="Straight Connector 597">
                <a:extLst>
                  <a:ext uri="{FF2B5EF4-FFF2-40B4-BE49-F238E27FC236}">
                    <a16:creationId xmlns:a16="http://schemas.microsoft.com/office/drawing/2014/main" id="{8408CBF3-2712-4666-B189-85789563201F}"/>
                  </a:ext>
                </a:extLst>
              </p:cNvPr>
              <p:cNvCxnSpPr/>
              <p:nvPr/>
            </p:nvCxnSpPr>
            <p:spPr>
              <a:xfrm>
                <a:off x="17027338" y="6179152"/>
                <a:ext cx="142110" cy="0"/>
              </a:xfrm>
              <a:prstGeom prst="line">
                <a:avLst/>
              </a:prstGeom>
              <a:noFill/>
              <a:ln w="12700" cap="rnd" cmpd="sng" algn="ctr">
                <a:solidFill>
                  <a:schemeClr val="tx1"/>
                </a:solidFill>
                <a:prstDash val="solid"/>
                <a:headEnd type="none" w="med" len="med"/>
                <a:tailEnd type="none" w="med" len="med"/>
              </a:ln>
              <a:effectLst/>
            </p:spPr>
          </p:cxnSp>
          <p:cxnSp>
            <p:nvCxnSpPr>
              <p:cNvPr id="599" name="Straight Connector 598">
                <a:extLst>
                  <a:ext uri="{FF2B5EF4-FFF2-40B4-BE49-F238E27FC236}">
                    <a16:creationId xmlns:a16="http://schemas.microsoft.com/office/drawing/2014/main" id="{4C3F2BDC-B38C-4134-A28D-561E6A4422EC}"/>
                  </a:ext>
                </a:extLst>
              </p:cNvPr>
              <p:cNvCxnSpPr/>
              <p:nvPr/>
            </p:nvCxnSpPr>
            <p:spPr>
              <a:xfrm>
                <a:off x="17027338" y="6218937"/>
                <a:ext cx="142110" cy="0"/>
              </a:xfrm>
              <a:prstGeom prst="line">
                <a:avLst/>
              </a:prstGeom>
              <a:noFill/>
              <a:ln w="12700" cap="rnd" cmpd="sng" algn="ctr">
                <a:solidFill>
                  <a:schemeClr val="tx1"/>
                </a:solidFill>
                <a:prstDash val="solid"/>
                <a:headEnd type="none" w="med" len="med"/>
                <a:tailEnd type="none" w="med" len="med"/>
              </a:ln>
              <a:effectLst/>
            </p:spPr>
          </p:cxnSp>
          <p:cxnSp>
            <p:nvCxnSpPr>
              <p:cNvPr id="600" name="Straight Connector 599">
                <a:extLst>
                  <a:ext uri="{FF2B5EF4-FFF2-40B4-BE49-F238E27FC236}">
                    <a16:creationId xmlns:a16="http://schemas.microsoft.com/office/drawing/2014/main" id="{735F7B41-2F27-490D-B87B-9D4461F18147}"/>
                  </a:ext>
                </a:extLst>
              </p:cNvPr>
              <p:cNvCxnSpPr/>
              <p:nvPr/>
            </p:nvCxnSpPr>
            <p:spPr>
              <a:xfrm>
                <a:off x="17027338" y="6255640"/>
                <a:ext cx="142110" cy="0"/>
              </a:xfrm>
              <a:prstGeom prst="line">
                <a:avLst/>
              </a:prstGeom>
              <a:noFill/>
              <a:ln w="12700" cap="rnd" cmpd="sng" algn="ctr">
                <a:solidFill>
                  <a:schemeClr val="tx1"/>
                </a:solidFill>
                <a:prstDash val="solid"/>
                <a:headEnd type="none" w="med" len="med"/>
                <a:tailEnd type="none" w="med" len="med"/>
              </a:ln>
              <a:effectLst/>
            </p:spPr>
          </p:cxnSp>
          <p:cxnSp>
            <p:nvCxnSpPr>
              <p:cNvPr id="601" name="Straight Connector 600">
                <a:extLst>
                  <a:ext uri="{FF2B5EF4-FFF2-40B4-BE49-F238E27FC236}">
                    <a16:creationId xmlns:a16="http://schemas.microsoft.com/office/drawing/2014/main" id="{6038203B-920D-49E8-BF3E-F9AC18B470AA}"/>
                  </a:ext>
                </a:extLst>
              </p:cNvPr>
              <p:cNvCxnSpPr/>
              <p:nvPr/>
            </p:nvCxnSpPr>
            <p:spPr>
              <a:xfrm>
                <a:off x="17070997" y="6292508"/>
                <a:ext cx="54790" cy="0"/>
              </a:xfrm>
              <a:prstGeom prst="line">
                <a:avLst/>
              </a:prstGeom>
              <a:noFill/>
              <a:ln w="12700" cap="rnd" cmpd="sng" algn="ctr">
                <a:solidFill>
                  <a:schemeClr val="tx1"/>
                </a:solidFill>
                <a:prstDash val="solid"/>
                <a:headEnd type="none" w="med" len="med"/>
                <a:tailEnd type="none" w="med" len="med"/>
              </a:ln>
              <a:effectLst/>
            </p:spPr>
          </p:cxnSp>
          <p:sp>
            <p:nvSpPr>
              <p:cNvPr id="602" name="Freeform: Shape 601">
                <a:extLst>
                  <a:ext uri="{FF2B5EF4-FFF2-40B4-BE49-F238E27FC236}">
                    <a16:creationId xmlns:a16="http://schemas.microsoft.com/office/drawing/2014/main" id="{C017898B-42F1-45D7-95CB-4F444839987B}"/>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62" name="Connector: Elbow 461">
              <a:extLst>
                <a:ext uri="{FF2B5EF4-FFF2-40B4-BE49-F238E27FC236}">
                  <a16:creationId xmlns:a16="http://schemas.microsoft.com/office/drawing/2014/main" id="{5C3A1D21-A5D4-4377-8F68-385DFEF31612}"/>
                </a:ext>
              </a:extLst>
            </p:cNvPr>
            <p:cNvCxnSpPr>
              <a:cxnSpLocks/>
              <a:stCxn id="449" idx="2"/>
              <a:endCxn id="458" idx="3"/>
            </p:cNvCxnSpPr>
            <p:nvPr/>
          </p:nvCxnSpPr>
          <p:spPr>
            <a:xfrm rot="10800000" flipV="1">
              <a:off x="5257825" y="4815306"/>
              <a:ext cx="266783" cy="604334"/>
            </a:xfrm>
            <a:prstGeom prst="bentConnector3">
              <a:avLst>
                <a:gd name="adj1" fmla="val 175174"/>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463" name="Rectangle: Rounded Corners 462">
              <a:extLst>
                <a:ext uri="{FF2B5EF4-FFF2-40B4-BE49-F238E27FC236}">
                  <a16:creationId xmlns:a16="http://schemas.microsoft.com/office/drawing/2014/main" id="{97FEB7D0-8C32-4C98-83D8-2CF6D508F822}"/>
                </a:ext>
              </a:extLst>
            </p:cNvPr>
            <p:cNvSpPr/>
            <p:nvPr/>
          </p:nvSpPr>
          <p:spPr bwMode="auto">
            <a:xfrm>
              <a:off x="6138135" y="4614756"/>
              <a:ext cx="240421" cy="126736"/>
            </a:xfrm>
            <a:prstGeom prst="round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64" name="Rectangle 463">
              <a:extLst>
                <a:ext uri="{FF2B5EF4-FFF2-40B4-BE49-F238E27FC236}">
                  <a16:creationId xmlns:a16="http://schemas.microsoft.com/office/drawing/2014/main" id="{7A7C1FE2-DD10-45C0-9552-2B8BD40F9500}"/>
                </a:ext>
              </a:extLst>
            </p:cNvPr>
            <p:cNvSpPr/>
            <p:nvPr/>
          </p:nvSpPr>
          <p:spPr bwMode="auto">
            <a:xfrm>
              <a:off x="5672483"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2" name="Rectangle 541">
              <a:extLst>
                <a:ext uri="{FF2B5EF4-FFF2-40B4-BE49-F238E27FC236}">
                  <a16:creationId xmlns:a16="http://schemas.microsoft.com/office/drawing/2014/main" id="{76EC7FB9-15A2-478C-8CDA-090A2EDB95BB}"/>
                </a:ext>
              </a:extLst>
            </p:cNvPr>
            <p:cNvSpPr/>
            <p:nvPr/>
          </p:nvSpPr>
          <p:spPr bwMode="auto">
            <a:xfrm>
              <a:off x="5764714"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3" name="Rectangle 542">
              <a:extLst>
                <a:ext uri="{FF2B5EF4-FFF2-40B4-BE49-F238E27FC236}">
                  <a16:creationId xmlns:a16="http://schemas.microsoft.com/office/drawing/2014/main" id="{1BEBA022-9FF5-497B-BC1D-E748764E31BF}"/>
                </a:ext>
              </a:extLst>
            </p:cNvPr>
            <p:cNvSpPr/>
            <p:nvPr/>
          </p:nvSpPr>
          <p:spPr bwMode="auto">
            <a:xfrm>
              <a:off x="5856946"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Rectangle 543">
              <a:extLst>
                <a:ext uri="{FF2B5EF4-FFF2-40B4-BE49-F238E27FC236}">
                  <a16:creationId xmlns:a16="http://schemas.microsoft.com/office/drawing/2014/main" id="{05D220DF-DCA9-4CB6-A4B3-36EF67BEAD7C}"/>
                </a:ext>
              </a:extLst>
            </p:cNvPr>
            <p:cNvSpPr/>
            <p:nvPr/>
          </p:nvSpPr>
          <p:spPr bwMode="auto">
            <a:xfrm>
              <a:off x="5949178"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Rectangle 544">
              <a:extLst>
                <a:ext uri="{FF2B5EF4-FFF2-40B4-BE49-F238E27FC236}">
                  <a16:creationId xmlns:a16="http://schemas.microsoft.com/office/drawing/2014/main" id="{A986A801-8DA9-420D-9A7E-E1CF9FEA79D4}"/>
                </a:ext>
              </a:extLst>
            </p:cNvPr>
            <p:cNvSpPr/>
            <p:nvPr/>
          </p:nvSpPr>
          <p:spPr bwMode="auto">
            <a:xfrm>
              <a:off x="6041409"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Isosceles Triangle 545">
              <a:extLst>
                <a:ext uri="{FF2B5EF4-FFF2-40B4-BE49-F238E27FC236}">
                  <a16:creationId xmlns:a16="http://schemas.microsoft.com/office/drawing/2014/main" id="{E5A4C6DF-552F-4A3B-ACA1-9DC3B1FFF5F5}"/>
                </a:ext>
              </a:extLst>
            </p:cNvPr>
            <p:cNvSpPr/>
            <p:nvPr/>
          </p:nvSpPr>
          <p:spPr bwMode="auto">
            <a:xfrm rot="16200000">
              <a:off x="6487886" y="4752958"/>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547" name="Connector: Elbow 546">
              <a:extLst>
                <a:ext uri="{FF2B5EF4-FFF2-40B4-BE49-F238E27FC236}">
                  <a16:creationId xmlns:a16="http://schemas.microsoft.com/office/drawing/2014/main" id="{9A6A16A0-4A26-4904-8F0F-22EBC806A14A}"/>
                </a:ext>
              </a:extLst>
            </p:cNvPr>
            <p:cNvCxnSpPr>
              <a:cxnSpLocks/>
              <a:stCxn id="546" idx="3"/>
            </p:cNvCxnSpPr>
            <p:nvPr/>
          </p:nvCxnSpPr>
          <p:spPr>
            <a:xfrm>
              <a:off x="6623569" y="4815774"/>
              <a:ext cx="101446" cy="174105"/>
            </a:xfrm>
            <a:prstGeom prst="bentConnector2">
              <a:avLst/>
            </a:prstGeom>
            <a:noFill/>
            <a:ln w="12700" cap="flat" cmpd="sng" algn="ctr">
              <a:solidFill>
                <a:schemeClr val="tx1"/>
              </a:solidFill>
              <a:prstDash val="solid"/>
              <a:headEnd type="none"/>
              <a:tailEnd type="none"/>
            </a:ln>
            <a:effectLst/>
          </p:spPr>
        </p:cxnSp>
        <p:grpSp>
          <p:nvGrpSpPr>
            <p:cNvPr id="548" name="Group 547">
              <a:extLst>
                <a:ext uri="{FF2B5EF4-FFF2-40B4-BE49-F238E27FC236}">
                  <a16:creationId xmlns:a16="http://schemas.microsoft.com/office/drawing/2014/main" id="{040F2A96-23F9-4200-8789-A4CEA7774E11}"/>
                </a:ext>
              </a:extLst>
            </p:cNvPr>
            <p:cNvGrpSpPr/>
            <p:nvPr/>
          </p:nvGrpSpPr>
          <p:grpSpPr>
            <a:xfrm>
              <a:off x="5452169" y="5144822"/>
              <a:ext cx="766621" cy="841408"/>
              <a:chOff x="3321657" y="1073160"/>
              <a:chExt cx="1372605" cy="1506509"/>
            </a:xfrm>
          </p:grpSpPr>
          <p:sp>
            <p:nvSpPr>
              <p:cNvPr id="549" name="Freeform: Shape 548">
                <a:extLst>
                  <a:ext uri="{FF2B5EF4-FFF2-40B4-BE49-F238E27FC236}">
                    <a16:creationId xmlns:a16="http://schemas.microsoft.com/office/drawing/2014/main" id="{3013FE2B-5E69-4531-9636-6B5162E2ED5B}"/>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A2D553E7-0899-4EB8-B015-B43D96743B1F}"/>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8B11708B-2C84-44AB-9AF4-0A29865E8214}"/>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2" name="Freeform: Shape 551">
                <a:extLst>
                  <a:ext uri="{FF2B5EF4-FFF2-40B4-BE49-F238E27FC236}">
                    <a16:creationId xmlns:a16="http://schemas.microsoft.com/office/drawing/2014/main" id="{9B69706E-2FB3-4E69-84B0-283B42A8050B}"/>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3" name="Freeform: Shape 552">
                <a:extLst>
                  <a:ext uri="{FF2B5EF4-FFF2-40B4-BE49-F238E27FC236}">
                    <a16:creationId xmlns:a16="http://schemas.microsoft.com/office/drawing/2014/main" id="{68818E94-3266-4ECD-A5F0-C1EEE0BFDC10}"/>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4" name="Freeform: Shape 553">
                <a:extLst>
                  <a:ext uri="{FF2B5EF4-FFF2-40B4-BE49-F238E27FC236}">
                    <a16:creationId xmlns:a16="http://schemas.microsoft.com/office/drawing/2014/main" id="{92764494-C872-48F0-9D31-9F32675C5932}"/>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5" name="Freeform: Shape 554">
                <a:extLst>
                  <a:ext uri="{FF2B5EF4-FFF2-40B4-BE49-F238E27FC236}">
                    <a16:creationId xmlns:a16="http://schemas.microsoft.com/office/drawing/2014/main" id="{EC548124-FD8E-4C24-BC31-B83974820A2F}"/>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6" name="Freeform: Shape 555">
                <a:extLst>
                  <a:ext uri="{FF2B5EF4-FFF2-40B4-BE49-F238E27FC236}">
                    <a16:creationId xmlns:a16="http://schemas.microsoft.com/office/drawing/2014/main" id="{C1097218-F4F3-4C9E-87DA-5B4A622494B4}"/>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7" name="Freeform: Shape 556">
                <a:extLst>
                  <a:ext uri="{FF2B5EF4-FFF2-40B4-BE49-F238E27FC236}">
                    <a16:creationId xmlns:a16="http://schemas.microsoft.com/office/drawing/2014/main" id="{B1502EEF-2AA1-4BE5-9EFE-5C3187F13143}"/>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8" name="Freeform: Shape 557">
                <a:extLst>
                  <a:ext uri="{FF2B5EF4-FFF2-40B4-BE49-F238E27FC236}">
                    <a16:creationId xmlns:a16="http://schemas.microsoft.com/office/drawing/2014/main" id="{86022910-1AF9-4B58-9853-E4B1031E2CCE}"/>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9" name="Freeform: Shape 558">
                <a:extLst>
                  <a:ext uri="{FF2B5EF4-FFF2-40B4-BE49-F238E27FC236}">
                    <a16:creationId xmlns:a16="http://schemas.microsoft.com/office/drawing/2014/main" id="{50DF0D7C-0286-4163-B188-118A937796B5}"/>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0" name="Freeform: Shape 559">
                <a:extLst>
                  <a:ext uri="{FF2B5EF4-FFF2-40B4-BE49-F238E27FC236}">
                    <a16:creationId xmlns:a16="http://schemas.microsoft.com/office/drawing/2014/main" id="{B3AA7DD8-F790-4695-8E47-E164940F03A8}"/>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1" name="Freeform: Shape 560">
                <a:extLst>
                  <a:ext uri="{FF2B5EF4-FFF2-40B4-BE49-F238E27FC236}">
                    <a16:creationId xmlns:a16="http://schemas.microsoft.com/office/drawing/2014/main" id="{856F5644-12F2-46AB-9E97-1B03C7A1B14E}"/>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2" name="Freeform: Shape 561">
                <a:extLst>
                  <a:ext uri="{FF2B5EF4-FFF2-40B4-BE49-F238E27FC236}">
                    <a16:creationId xmlns:a16="http://schemas.microsoft.com/office/drawing/2014/main" id="{F94FEF82-8B2C-4C97-9294-9A2B48B36E07}"/>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3" name="Freeform: Shape 562">
                <a:extLst>
                  <a:ext uri="{FF2B5EF4-FFF2-40B4-BE49-F238E27FC236}">
                    <a16:creationId xmlns:a16="http://schemas.microsoft.com/office/drawing/2014/main" id="{1E853DC3-0767-47D9-9BD1-8A63B77F366C}"/>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4" name="Freeform: Shape 563">
                <a:extLst>
                  <a:ext uri="{FF2B5EF4-FFF2-40B4-BE49-F238E27FC236}">
                    <a16:creationId xmlns:a16="http://schemas.microsoft.com/office/drawing/2014/main" id="{C4103862-9238-4D30-9EB8-8829C92BAC3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5" name="Freeform: Shape 564">
                <a:extLst>
                  <a:ext uri="{FF2B5EF4-FFF2-40B4-BE49-F238E27FC236}">
                    <a16:creationId xmlns:a16="http://schemas.microsoft.com/office/drawing/2014/main" id="{336EBF3B-0104-426B-B8F1-65FCAC74E416}"/>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6" name="Freeform: Shape 565">
                <a:extLst>
                  <a:ext uri="{FF2B5EF4-FFF2-40B4-BE49-F238E27FC236}">
                    <a16:creationId xmlns:a16="http://schemas.microsoft.com/office/drawing/2014/main" id="{1E47C280-AF28-4A30-A55C-B9FDD5820655}"/>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7" name="Freeform: Shape 566">
                <a:extLst>
                  <a:ext uri="{FF2B5EF4-FFF2-40B4-BE49-F238E27FC236}">
                    <a16:creationId xmlns:a16="http://schemas.microsoft.com/office/drawing/2014/main" id="{947A92B1-194B-49F7-B20C-7C4F7207267A}"/>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8" name="Freeform: Shape 567">
                <a:extLst>
                  <a:ext uri="{FF2B5EF4-FFF2-40B4-BE49-F238E27FC236}">
                    <a16:creationId xmlns:a16="http://schemas.microsoft.com/office/drawing/2014/main" id="{7CB94420-53BA-4092-BCB8-3A478276ECA5}"/>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9" name="Freeform: Shape 568">
                <a:extLst>
                  <a:ext uri="{FF2B5EF4-FFF2-40B4-BE49-F238E27FC236}">
                    <a16:creationId xmlns:a16="http://schemas.microsoft.com/office/drawing/2014/main" id="{E56F08FC-913F-4D22-8151-B6241329643E}"/>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cxnSp>
            <p:nvCxnSpPr>
              <p:cNvPr id="570" name="Straight Connector 569">
                <a:extLst>
                  <a:ext uri="{FF2B5EF4-FFF2-40B4-BE49-F238E27FC236}">
                    <a16:creationId xmlns:a16="http://schemas.microsoft.com/office/drawing/2014/main" id="{1FE20E39-F008-45C2-B136-A1B5E8BFE045}"/>
                  </a:ext>
                </a:extLst>
              </p:cNvPr>
              <p:cNvCxnSpPr/>
              <p:nvPr/>
            </p:nvCxnSpPr>
            <p:spPr>
              <a:xfrm flipV="1">
                <a:off x="3515614" y="1379285"/>
                <a:ext cx="180015" cy="142518"/>
              </a:xfrm>
              <a:prstGeom prst="line">
                <a:avLst/>
              </a:prstGeom>
              <a:noFill/>
              <a:ln w="12700" cap="flat" cmpd="sng" algn="ctr">
                <a:solidFill>
                  <a:schemeClr val="tx1"/>
                </a:solidFill>
                <a:prstDash val="solid"/>
                <a:headEnd type="none"/>
                <a:tailEnd type="none"/>
              </a:ln>
              <a:effectLst/>
            </p:spPr>
          </p:cxnSp>
          <p:cxnSp>
            <p:nvCxnSpPr>
              <p:cNvPr id="571" name="Straight Connector 570">
                <a:extLst>
                  <a:ext uri="{FF2B5EF4-FFF2-40B4-BE49-F238E27FC236}">
                    <a16:creationId xmlns:a16="http://schemas.microsoft.com/office/drawing/2014/main" id="{4B0AA233-BFEC-4FE1-9808-E7DEB6790971}"/>
                  </a:ext>
                </a:extLst>
              </p:cNvPr>
              <p:cNvCxnSpPr>
                <a:cxnSpLocks/>
              </p:cNvCxnSpPr>
              <p:nvPr/>
            </p:nvCxnSpPr>
            <p:spPr>
              <a:xfrm>
                <a:off x="3684607" y="1377405"/>
                <a:ext cx="109103" cy="126835"/>
              </a:xfrm>
              <a:prstGeom prst="line">
                <a:avLst/>
              </a:prstGeom>
              <a:noFill/>
              <a:ln w="12700" cap="flat" cmpd="sng" algn="ctr">
                <a:solidFill>
                  <a:schemeClr val="tx1"/>
                </a:solidFill>
                <a:prstDash val="solid"/>
                <a:headEnd type="none"/>
                <a:tailEnd type="none"/>
              </a:ln>
              <a:effectLst/>
            </p:spPr>
          </p:cxnSp>
          <p:cxnSp>
            <p:nvCxnSpPr>
              <p:cNvPr id="572" name="Straight Connector 571">
                <a:extLst>
                  <a:ext uri="{FF2B5EF4-FFF2-40B4-BE49-F238E27FC236}">
                    <a16:creationId xmlns:a16="http://schemas.microsoft.com/office/drawing/2014/main" id="{25F33426-F2E3-49DD-ABCB-F3BA3FF55F5C}"/>
                  </a:ext>
                </a:extLst>
              </p:cNvPr>
              <p:cNvCxnSpPr>
                <a:cxnSpLocks/>
              </p:cNvCxnSpPr>
              <p:nvPr/>
            </p:nvCxnSpPr>
            <p:spPr>
              <a:xfrm flipV="1">
                <a:off x="3786606" y="1460673"/>
                <a:ext cx="50798" cy="36218"/>
              </a:xfrm>
              <a:prstGeom prst="line">
                <a:avLst/>
              </a:prstGeom>
              <a:noFill/>
              <a:ln w="12700" cap="flat" cmpd="sng" algn="ctr">
                <a:solidFill>
                  <a:schemeClr val="tx1"/>
                </a:solidFill>
                <a:prstDash val="solid"/>
                <a:headEnd type="none"/>
                <a:tailEnd type="none"/>
              </a:ln>
              <a:effectLst/>
            </p:spPr>
          </p:cxnSp>
          <p:cxnSp>
            <p:nvCxnSpPr>
              <p:cNvPr id="573" name="Straight Connector 572">
                <a:extLst>
                  <a:ext uri="{FF2B5EF4-FFF2-40B4-BE49-F238E27FC236}">
                    <a16:creationId xmlns:a16="http://schemas.microsoft.com/office/drawing/2014/main" id="{10002A34-4EF1-40FD-B5BA-7FA7C9F610E0}"/>
                  </a:ext>
                </a:extLst>
              </p:cNvPr>
              <p:cNvCxnSpPr>
                <a:cxnSpLocks/>
              </p:cNvCxnSpPr>
              <p:nvPr/>
            </p:nvCxnSpPr>
            <p:spPr>
              <a:xfrm flipH="1" flipV="1">
                <a:off x="3827228" y="1460548"/>
                <a:ext cx="65638" cy="80007"/>
              </a:xfrm>
              <a:prstGeom prst="line">
                <a:avLst/>
              </a:prstGeom>
              <a:noFill/>
              <a:ln w="12700" cap="flat" cmpd="sng" algn="ctr">
                <a:solidFill>
                  <a:schemeClr val="tx1"/>
                </a:solidFill>
                <a:prstDash val="solid"/>
                <a:headEnd type="none"/>
                <a:tailEnd type="none"/>
              </a:ln>
              <a:effectLst/>
            </p:spPr>
          </p:cxnSp>
          <p:cxnSp>
            <p:nvCxnSpPr>
              <p:cNvPr id="574" name="Straight Connector 573">
                <a:extLst>
                  <a:ext uri="{FF2B5EF4-FFF2-40B4-BE49-F238E27FC236}">
                    <a16:creationId xmlns:a16="http://schemas.microsoft.com/office/drawing/2014/main" id="{D3DFFBF8-AF80-4674-B913-F110E427038B}"/>
                  </a:ext>
                </a:extLst>
              </p:cNvPr>
              <p:cNvCxnSpPr/>
              <p:nvPr/>
            </p:nvCxnSpPr>
            <p:spPr>
              <a:xfrm flipV="1">
                <a:off x="3882788" y="1392749"/>
                <a:ext cx="180015" cy="142518"/>
              </a:xfrm>
              <a:prstGeom prst="line">
                <a:avLst/>
              </a:prstGeom>
              <a:noFill/>
              <a:ln w="12700" cap="flat" cmpd="sng" algn="ctr">
                <a:solidFill>
                  <a:schemeClr val="tx1"/>
                </a:solidFill>
                <a:prstDash val="solid"/>
                <a:headEnd type="none"/>
                <a:tailEnd type="none"/>
              </a:ln>
              <a:effectLst/>
            </p:spPr>
          </p:cxnSp>
          <p:cxnSp>
            <p:nvCxnSpPr>
              <p:cNvPr id="575" name="Straight Connector 574">
                <a:extLst>
                  <a:ext uri="{FF2B5EF4-FFF2-40B4-BE49-F238E27FC236}">
                    <a16:creationId xmlns:a16="http://schemas.microsoft.com/office/drawing/2014/main" id="{B526162F-CEC6-41C3-93F7-9CC7C56D3906}"/>
                  </a:ext>
                </a:extLst>
              </p:cNvPr>
              <p:cNvCxnSpPr>
                <a:cxnSpLocks/>
              </p:cNvCxnSpPr>
              <p:nvPr/>
            </p:nvCxnSpPr>
            <p:spPr>
              <a:xfrm flipH="1" flipV="1">
                <a:off x="4056050" y="1392461"/>
                <a:ext cx="65638" cy="80007"/>
              </a:xfrm>
              <a:prstGeom prst="line">
                <a:avLst/>
              </a:prstGeom>
              <a:noFill/>
              <a:ln w="12700" cap="flat" cmpd="sng" algn="ctr">
                <a:solidFill>
                  <a:schemeClr val="tx1"/>
                </a:solidFill>
                <a:prstDash val="solid"/>
                <a:headEnd type="none"/>
                <a:tailEnd type="none"/>
              </a:ln>
              <a:effectLst/>
            </p:spPr>
          </p:cxnSp>
          <p:cxnSp>
            <p:nvCxnSpPr>
              <p:cNvPr id="576" name="Straight Connector 575">
                <a:extLst>
                  <a:ext uri="{FF2B5EF4-FFF2-40B4-BE49-F238E27FC236}">
                    <a16:creationId xmlns:a16="http://schemas.microsoft.com/office/drawing/2014/main" id="{1EAAA307-9D3B-4D7A-ACD4-E9EE5B3252C1}"/>
                  </a:ext>
                </a:extLst>
              </p:cNvPr>
              <p:cNvCxnSpPr>
                <a:cxnSpLocks/>
              </p:cNvCxnSpPr>
              <p:nvPr/>
            </p:nvCxnSpPr>
            <p:spPr>
              <a:xfrm flipV="1">
                <a:off x="4111109" y="1432435"/>
                <a:ext cx="50798" cy="36218"/>
              </a:xfrm>
              <a:prstGeom prst="line">
                <a:avLst/>
              </a:prstGeom>
              <a:noFill/>
              <a:ln w="12700" cap="flat" cmpd="sng" algn="ctr">
                <a:solidFill>
                  <a:schemeClr val="tx1"/>
                </a:solidFill>
                <a:prstDash val="solid"/>
                <a:headEnd type="none"/>
                <a:tailEnd type="none"/>
              </a:ln>
              <a:effectLst/>
            </p:spPr>
          </p:cxnSp>
          <p:cxnSp>
            <p:nvCxnSpPr>
              <p:cNvPr id="577" name="Straight Connector 576">
                <a:extLst>
                  <a:ext uri="{FF2B5EF4-FFF2-40B4-BE49-F238E27FC236}">
                    <a16:creationId xmlns:a16="http://schemas.microsoft.com/office/drawing/2014/main" id="{EA27CD16-0391-4089-ADA2-9B78A6837C14}"/>
                  </a:ext>
                </a:extLst>
              </p:cNvPr>
              <p:cNvCxnSpPr>
                <a:cxnSpLocks/>
              </p:cNvCxnSpPr>
              <p:nvPr/>
            </p:nvCxnSpPr>
            <p:spPr>
              <a:xfrm>
                <a:off x="4150946" y="1432865"/>
                <a:ext cx="109103" cy="126835"/>
              </a:xfrm>
              <a:prstGeom prst="line">
                <a:avLst/>
              </a:prstGeom>
              <a:noFill/>
              <a:ln w="12700" cap="flat" cmpd="sng" algn="ctr">
                <a:solidFill>
                  <a:schemeClr val="tx1"/>
                </a:solidFill>
                <a:prstDash val="solid"/>
                <a:headEnd type="none"/>
                <a:tailEnd type="none"/>
              </a:ln>
              <a:effectLst/>
            </p:spPr>
          </p:cxnSp>
          <p:cxnSp>
            <p:nvCxnSpPr>
              <p:cNvPr id="578" name="Straight Connector 577">
                <a:extLst>
                  <a:ext uri="{FF2B5EF4-FFF2-40B4-BE49-F238E27FC236}">
                    <a16:creationId xmlns:a16="http://schemas.microsoft.com/office/drawing/2014/main" id="{2AE7D2AF-9C8C-4CD8-AE62-51ADBF633F77}"/>
                  </a:ext>
                </a:extLst>
              </p:cNvPr>
              <p:cNvCxnSpPr>
                <a:cxnSpLocks/>
              </p:cNvCxnSpPr>
              <p:nvPr/>
            </p:nvCxnSpPr>
            <p:spPr>
              <a:xfrm flipV="1">
                <a:off x="4252782" y="1370963"/>
                <a:ext cx="302954" cy="185996"/>
              </a:xfrm>
              <a:prstGeom prst="line">
                <a:avLst/>
              </a:prstGeom>
              <a:noFill/>
              <a:ln w="12700" cap="flat" cmpd="sng" algn="ctr">
                <a:solidFill>
                  <a:schemeClr val="tx1"/>
                </a:solidFill>
                <a:prstDash val="solid"/>
                <a:headEnd type="none"/>
                <a:tailEnd type="none"/>
              </a:ln>
              <a:effectLst/>
            </p:spPr>
          </p:cxnSp>
          <p:cxnSp>
            <p:nvCxnSpPr>
              <p:cNvPr id="579" name="Straight Connector 578">
                <a:extLst>
                  <a:ext uri="{FF2B5EF4-FFF2-40B4-BE49-F238E27FC236}">
                    <a16:creationId xmlns:a16="http://schemas.microsoft.com/office/drawing/2014/main" id="{4F81EB7B-1984-418C-BBD5-3C336C2B1324}"/>
                  </a:ext>
                </a:extLst>
              </p:cNvPr>
              <p:cNvCxnSpPr>
                <a:cxnSpLocks/>
              </p:cNvCxnSpPr>
              <p:nvPr/>
            </p:nvCxnSpPr>
            <p:spPr>
              <a:xfrm>
                <a:off x="3529268" y="1832272"/>
                <a:ext cx="124669" cy="0"/>
              </a:xfrm>
              <a:prstGeom prst="line">
                <a:avLst/>
              </a:prstGeom>
              <a:noFill/>
              <a:ln w="12700" cap="flat" cmpd="sng" algn="ctr">
                <a:solidFill>
                  <a:schemeClr val="tx1"/>
                </a:solidFill>
                <a:prstDash val="solid"/>
                <a:headEnd type="none"/>
                <a:tailEnd type="none"/>
              </a:ln>
              <a:effectLst/>
            </p:spPr>
          </p:cxnSp>
          <p:cxnSp>
            <p:nvCxnSpPr>
              <p:cNvPr id="580" name="Straight Connector 579">
                <a:extLst>
                  <a:ext uri="{FF2B5EF4-FFF2-40B4-BE49-F238E27FC236}">
                    <a16:creationId xmlns:a16="http://schemas.microsoft.com/office/drawing/2014/main" id="{CC9DAF03-E0C5-4CA7-818C-CE6E2FBAC0C9}"/>
                  </a:ext>
                </a:extLst>
              </p:cNvPr>
              <p:cNvCxnSpPr>
                <a:cxnSpLocks/>
              </p:cNvCxnSpPr>
              <p:nvPr/>
            </p:nvCxnSpPr>
            <p:spPr>
              <a:xfrm>
                <a:off x="3529268" y="1933514"/>
                <a:ext cx="244028" cy="0"/>
              </a:xfrm>
              <a:prstGeom prst="line">
                <a:avLst/>
              </a:prstGeom>
              <a:noFill/>
              <a:ln w="12700" cap="flat" cmpd="sng" algn="ctr">
                <a:solidFill>
                  <a:schemeClr val="tx1"/>
                </a:solidFill>
                <a:prstDash val="solid"/>
                <a:headEnd type="none"/>
                <a:tailEnd type="none"/>
              </a:ln>
              <a:effectLst/>
            </p:spPr>
          </p:cxnSp>
          <p:cxnSp>
            <p:nvCxnSpPr>
              <p:cNvPr id="581" name="Straight Connector 580">
                <a:extLst>
                  <a:ext uri="{FF2B5EF4-FFF2-40B4-BE49-F238E27FC236}">
                    <a16:creationId xmlns:a16="http://schemas.microsoft.com/office/drawing/2014/main" id="{2C027F49-05CB-4F17-8BAF-751A25B8CA5E}"/>
                  </a:ext>
                </a:extLst>
              </p:cNvPr>
              <p:cNvCxnSpPr>
                <a:cxnSpLocks/>
              </p:cNvCxnSpPr>
              <p:nvPr/>
            </p:nvCxnSpPr>
            <p:spPr>
              <a:xfrm>
                <a:off x="3790777" y="1933514"/>
                <a:ext cx="146037" cy="0"/>
              </a:xfrm>
              <a:prstGeom prst="line">
                <a:avLst/>
              </a:prstGeom>
              <a:noFill/>
              <a:ln w="12700" cap="flat" cmpd="sng" algn="ctr">
                <a:solidFill>
                  <a:schemeClr val="tx1"/>
                </a:solidFill>
                <a:prstDash val="solid"/>
                <a:headEnd type="none"/>
                <a:tailEnd type="none"/>
              </a:ln>
              <a:effectLst/>
            </p:spPr>
          </p:cxnSp>
          <p:cxnSp>
            <p:nvCxnSpPr>
              <p:cNvPr id="582" name="Straight Connector 581">
                <a:extLst>
                  <a:ext uri="{FF2B5EF4-FFF2-40B4-BE49-F238E27FC236}">
                    <a16:creationId xmlns:a16="http://schemas.microsoft.com/office/drawing/2014/main" id="{E75454E2-1597-4D9C-936E-FBC06BEC32DD}"/>
                  </a:ext>
                </a:extLst>
              </p:cNvPr>
              <p:cNvCxnSpPr>
                <a:cxnSpLocks/>
              </p:cNvCxnSpPr>
              <p:nvPr/>
            </p:nvCxnSpPr>
            <p:spPr>
              <a:xfrm>
                <a:off x="3529268" y="2008720"/>
                <a:ext cx="358301" cy="0"/>
              </a:xfrm>
              <a:prstGeom prst="line">
                <a:avLst/>
              </a:prstGeom>
              <a:noFill/>
              <a:ln w="12700" cap="flat" cmpd="sng" algn="ctr">
                <a:solidFill>
                  <a:schemeClr val="tx1"/>
                </a:solidFill>
                <a:prstDash val="solid"/>
                <a:headEnd type="none"/>
                <a:tailEnd type="none"/>
              </a:ln>
              <a:effectLst/>
            </p:spPr>
          </p:cxnSp>
          <p:cxnSp>
            <p:nvCxnSpPr>
              <p:cNvPr id="583" name="Straight Connector 582">
                <a:extLst>
                  <a:ext uri="{FF2B5EF4-FFF2-40B4-BE49-F238E27FC236}">
                    <a16:creationId xmlns:a16="http://schemas.microsoft.com/office/drawing/2014/main" id="{C1BB458B-26AA-4212-A2BE-53E1DDD7B7EA}"/>
                  </a:ext>
                </a:extLst>
              </p:cNvPr>
              <p:cNvCxnSpPr>
                <a:cxnSpLocks/>
              </p:cNvCxnSpPr>
              <p:nvPr/>
            </p:nvCxnSpPr>
            <p:spPr>
              <a:xfrm>
                <a:off x="3967535" y="2008720"/>
                <a:ext cx="146037" cy="0"/>
              </a:xfrm>
              <a:prstGeom prst="line">
                <a:avLst/>
              </a:prstGeom>
              <a:noFill/>
              <a:ln w="12700" cap="flat" cmpd="sng" algn="ctr">
                <a:solidFill>
                  <a:schemeClr val="tx1"/>
                </a:solidFill>
                <a:prstDash val="solid"/>
                <a:headEnd type="none"/>
                <a:tailEnd type="none"/>
              </a:ln>
              <a:effectLst/>
            </p:spPr>
          </p:cxnSp>
          <p:cxnSp>
            <p:nvCxnSpPr>
              <p:cNvPr id="584" name="Straight Connector 583">
                <a:extLst>
                  <a:ext uri="{FF2B5EF4-FFF2-40B4-BE49-F238E27FC236}">
                    <a16:creationId xmlns:a16="http://schemas.microsoft.com/office/drawing/2014/main" id="{C50AEF94-A26A-4F4D-8042-44EEDF914655}"/>
                  </a:ext>
                </a:extLst>
              </p:cNvPr>
              <p:cNvCxnSpPr>
                <a:cxnSpLocks/>
              </p:cNvCxnSpPr>
              <p:nvPr/>
            </p:nvCxnSpPr>
            <p:spPr>
              <a:xfrm>
                <a:off x="3529268" y="2109962"/>
                <a:ext cx="147736" cy="0"/>
              </a:xfrm>
              <a:prstGeom prst="line">
                <a:avLst/>
              </a:prstGeom>
              <a:noFill/>
              <a:ln w="12700" cap="flat" cmpd="sng" algn="ctr">
                <a:solidFill>
                  <a:schemeClr val="tx1"/>
                </a:solidFill>
                <a:prstDash val="solid"/>
                <a:headEnd type="none"/>
                <a:tailEnd type="none"/>
              </a:ln>
              <a:effectLst/>
            </p:spPr>
          </p:cxnSp>
          <p:cxnSp>
            <p:nvCxnSpPr>
              <p:cNvPr id="585" name="Straight Connector 584">
                <a:extLst>
                  <a:ext uri="{FF2B5EF4-FFF2-40B4-BE49-F238E27FC236}">
                    <a16:creationId xmlns:a16="http://schemas.microsoft.com/office/drawing/2014/main" id="{0DF155B0-F908-46ED-A948-57AA8D1E6D18}"/>
                  </a:ext>
                </a:extLst>
              </p:cNvPr>
              <p:cNvCxnSpPr>
                <a:cxnSpLocks/>
              </p:cNvCxnSpPr>
              <p:nvPr/>
            </p:nvCxnSpPr>
            <p:spPr>
              <a:xfrm>
                <a:off x="3693985" y="2109962"/>
                <a:ext cx="350041" cy="0"/>
              </a:xfrm>
              <a:prstGeom prst="line">
                <a:avLst/>
              </a:prstGeom>
              <a:noFill/>
              <a:ln w="12700" cap="flat" cmpd="sng" algn="ctr">
                <a:solidFill>
                  <a:schemeClr val="tx1"/>
                </a:solidFill>
                <a:prstDash val="solid"/>
                <a:headEnd type="none"/>
                <a:tailEnd type="none"/>
              </a:ln>
              <a:effectLst/>
            </p:spPr>
          </p:cxnSp>
          <p:cxnSp>
            <p:nvCxnSpPr>
              <p:cNvPr id="586" name="Straight Connector 585">
                <a:extLst>
                  <a:ext uri="{FF2B5EF4-FFF2-40B4-BE49-F238E27FC236}">
                    <a16:creationId xmlns:a16="http://schemas.microsoft.com/office/drawing/2014/main" id="{2C1D5330-0EDB-4E03-B375-249AE3F867E5}"/>
                  </a:ext>
                </a:extLst>
              </p:cNvPr>
              <p:cNvCxnSpPr>
                <a:cxnSpLocks/>
              </p:cNvCxnSpPr>
              <p:nvPr/>
            </p:nvCxnSpPr>
            <p:spPr>
              <a:xfrm flipV="1">
                <a:off x="3529268" y="2381870"/>
                <a:ext cx="244028" cy="0"/>
              </a:xfrm>
              <a:prstGeom prst="line">
                <a:avLst/>
              </a:prstGeom>
              <a:noFill/>
              <a:ln w="12700" cap="flat" cmpd="sng" algn="ctr">
                <a:solidFill>
                  <a:schemeClr val="tx1"/>
                </a:solidFill>
                <a:prstDash val="solid"/>
                <a:headEnd type="none"/>
                <a:tailEnd type="none"/>
              </a:ln>
              <a:effectLst/>
            </p:spPr>
          </p:cxnSp>
          <p:cxnSp>
            <p:nvCxnSpPr>
              <p:cNvPr id="587" name="Straight Connector 586">
                <a:extLst>
                  <a:ext uri="{FF2B5EF4-FFF2-40B4-BE49-F238E27FC236}">
                    <a16:creationId xmlns:a16="http://schemas.microsoft.com/office/drawing/2014/main" id="{ED04B819-5482-4193-883B-00ABA22F886C}"/>
                  </a:ext>
                </a:extLst>
              </p:cNvPr>
              <p:cNvCxnSpPr>
                <a:cxnSpLocks/>
              </p:cNvCxnSpPr>
              <p:nvPr/>
            </p:nvCxnSpPr>
            <p:spPr>
              <a:xfrm flipV="1">
                <a:off x="3790777" y="2381870"/>
                <a:ext cx="146037" cy="0"/>
              </a:xfrm>
              <a:prstGeom prst="line">
                <a:avLst/>
              </a:prstGeom>
              <a:noFill/>
              <a:ln w="12700" cap="flat" cmpd="sng" algn="ctr">
                <a:solidFill>
                  <a:schemeClr val="tx1"/>
                </a:solidFill>
                <a:prstDash val="solid"/>
                <a:headEnd type="none"/>
                <a:tailEnd type="none"/>
              </a:ln>
              <a:effectLst/>
            </p:spPr>
          </p:cxnSp>
          <p:cxnSp>
            <p:nvCxnSpPr>
              <p:cNvPr id="588" name="Straight Connector 587">
                <a:extLst>
                  <a:ext uri="{FF2B5EF4-FFF2-40B4-BE49-F238E27FC236}">
                    <a16:creationId xmlns:a16="http://schemas.microsoft.com/office/drawing/2014/main" id="{4BB0D15A-8D29-48D2-87B8-3E44AD4A59D9}"/>
                  </a:ext>
                </a:extLst>
              </p:cNvPr>
              <p:cNvCxnSpPr>
                <a:cxnSpLocks/>
              </p:cNvCxnSpPr>
              <p:nvPr/>
            </p:nvCxnSpPr>
            <p:spPr>
              <a:xfrm flipV="1">
                <a:off x="3529268" y="2306661"/>
                <a:ext cx="358301" cy="0"/>
              </a:xfrm>
              <a:prstGeom prst="line">
                <a:avLst/>
              </a:prstGeom>
              <a:noFill/>
              <a:ln w="12700" cap="flat" cmpd="sng" algn="ctr">
                <a:solidFill>
                  <a:schemeClr val="tx1"/>
                </a:solidFill>
                <a:prstDash val="solid"/>
                <a:headEnd type="none"/>
                <a:tailEnd type="none"/>
              </a:ln>
              <a:effectLst/>
            </p:spPr>
          </p:cxnSp>
          <p:cxnSp>
            <p:nvCxnSpPr>
              <p:cNvPr id="589" name="Straight Connector 588">
                <a:extLst>
                  <a:ext uri="{FF2B5EF4-FFF2-40B4-BE49-F238E27FC236}">
                    <a16:creationId xmlns:a16="http://schemas.microsoft.com/office/drawing/2014/main" id="{2CEF4680-4C76-4E82-80C1-7ED42A0C0374}"/>
                  </a:ext>
                </a:extLst>
              </p:cNvPr>
              <p:cNvCxnSpPr>
                <a:cxnSpLocks/>
              </p:cNvCxnSpPr>
              <p:nvPr/>
            </p:nvCxnSpPr>
            <p:spPr>
              <a:xfrm flipV="1">
                <a:off x="3940881" y="2306661"/>
                <a:ext cx="146037" cy="0"/>
              </a:xfrm>
              <a:prstGeom prst="line">
                <a:avLst/>
              </a:prstGeom>
              <a:noFill/>
              <a:ln w="12700" cap="flat" cmpd="sng" algn="ctr">
                <a:solidFill>
                  <a:schemeClr val="tx1"/>
                </a:solidFill>
                <a:prstDash val="solid"/>
                <a:headEnd type="none"/>
                <a:tailEnd type="none"/>
              </a:ln>
              <a:effectLst/>
            </p:spPr>
          </p:cxnSp>
          <p:cxnSp>
            <p:nvCxnSpPr>
              <p:cNvPr id="590" name="Straight Connector 589">
                <a:extLst>
                  <a:ext uri="{FF2B5EF4-FFF2-40B4-BE49-F238E27FC236}">
                    <a16:creationId xmlns:a16="http://schemas.microsoft.com/office/drawing/2014/main" id="{2B1EAB3D-7A64-4D49-B489-B4DF6EB31203}"/>
                  </a:ext>
                </a:extLst>
              </p:cNvPr>
              <p:cNvCxnSpPr>
                <a:cxnSpLocks/>
              </p:cNvCxnSpPr>
              <p:nvPr/>
            </p:nvCxnSpPr>
            <p:spPr>
              <a:xfrm flipV="1">
                <a:off x="3626549" y="2205419"/>
                <a:ext cx="147736" cy="0"/>
              </a:xfrm>
              <a:prstGeom prst="line">
                <a:avLst/>
              </a:prstGeom>
              <a:noFill/>
              <a:ln w="12700" cap="flat" cmpd="sng" algn="ctr">
                <a:solidFill>
                  <a:schemeClr val="tx1"/>
                </a:solidFill>
                <a:prstDash val="solid"/>
                <a:headEnd type="none"/>
                <a:tailEnd type="none"/>
              </a:ln>
              <a:effectLst/>
            </p:spPr>
          </p:cxnSp>
          <p:cxnSp>
            <p:nvCxnSpPr>
              <p:cNvPr id="591" name="Straight Connector 590">
                <a:extLst>
                  <a:ext uri="{FF2B5EF4-FFF2-40B4-BE49-F238E27FC236}">
                    <a16:creationId xmlns:a16="http://schemas.microsoft.com/office/drawing/2014/main" id="{B3F54E04-10A7-481A-BF58-E33E283BE221}"/>
                  </a:ext>
                </a:extLst>
              </p:cNvPr>
              <p:cNvCxnSpPr>
                <a:cxnSpLocks/>
              </p:cNvCxnSpPr>
              <p:nvPr/>
            </p:nvCxnSpPr>
            <p:spPr>
              <a:xfrm flipV="1">
                <a:off x="3811590" y="2205419"/>
                <a:ext cx="350041" cy="0"/>
              </a:xfrm>
              <a:prstGeom prst="line">
                <a:avLst/>
              </a:prstGeom>
              <a:noFill/>
              <a:ln w="12700" cap="flat" cmpd="sng" algn="ctr">
                <a:solidFill>
                  <a:schemeClr val="tx1"/>
                </a:solidFill>
                <a:prstDash val="solid"/>
                <a:headEnd type="none"/>
                <a:tailEnd type="none"/>
              </a:ln>
              <a:effectLst/>
            </p:spPr>
          </p:cxnSp>
          <p:cxnSp>
            <p:nvCxnSpPr>
              <p:cNvPr id="592" name="Straight Connector 591">
                <a:extLst>
                  <a:ext uri="{FF2B5EF4-FFF2-40B4-BE49-F238E27FC236}">
                    <a16:creationId xmlns:a16="http://schemas.microsoft.com/office/drawing/2014/main" id="{94E580D6-D97F-40C1-A0A7-686D756107CB}"/>
                  </a:ext>
                </a:extLst>
              </p:cNvPr>
              <p:cNvCxnSpPr>
                <a:cxnSpLocks/>
              </p:cNvCxnSpPr>
              <p:nvPr/>
            </p:nvCxnSpPr>
            <p:spPr>
              <a:xfrm>
                <a:off x="4101001" y="2109962"/>
                <a:ext cx="350041" cy="0"/>
              </a:xfrm>
              <a:prstGeom prst="line">
                <a:avLst/>
              </a:prstGeom>
              <a:noFill/>
              <a:ln w="12700" cap="flat" cmpd="sng" algn="ctr">
                <a:solidFill>
                  <a:schemeClr val="tx1"/>
                </a:solidFill>
                <a:prstDash val="solid"/>
                <a:headEnd type="none"/>
                <a:tailEnd type="none"/>
              </a:ln>
              <a:effectLst/>
            </p:spPr>
          </p:cxnSp>
          <p:cxnSp>
            <p:nvCxnSpPr>
              <p:cNvPr id="593" name="Straight Connector 592">
                <a:extLst>
                  <a:ext uri="{FF2B5EF4-FFF2-40B4-BE49-F238E27FC236}">
                    <a16:creationId xmlns:a16="http://schemas.microsoft.com/office/drawing/2014/main" id="{99426509-8F8C-4E7C-91AE-108539540951}"/>
                  </a:ext>
                </a:extLst>
              </p:cNvPr>
              <p:cNvCxnSpPr>
                <a:cxnSpLocks/>
              </p:cNvCxnSpPr>
              <p:nvPr/>
            </p:nvCxnSpPr>
            <p:spPr>
              <a:xfrm flipV="1">
                <a:off x="4132010" y="2306661"/>
                <a:ext cx="146037" cy="0"/>
              </a:xfrm>
              <a:prstGeom prst="line">
                <a:avLst/>
              </a:prstGeom>
              <a:noFill/>
              <a:ln w="12700" cap="flat" cmpd="sng" algn="ctr">
                <a:solidFill>
                  <a:schemeClr val="tx1"/>
                </a:solidFill>
                <a:prstDash val="solid"/>
                <a:headEnd type="none"/>
                <a:tailEnd type="none"/>
              </a:ln>
              <a:effectLst/>
            </p:spPr>
          </p:cxnSp>
          <p:cxnSp>
            <p:nvCxnSpPr>
              <p:cNvPr id="594" name="Straight Connector 593">
                <a:extLst>
                  <a:ext uri="{FF2B5EF4-FFF2-40B4-BE49-F238E27FC236}">
                    <a16:creationId xmlns:a16="http://schemas.microsoft.com/office/drawing/2014/main" id="{DFFE9853-5B5B-44F2-887D-04534CEA7BBE}"/>
                  </a:ext>
                </a:extLst>
              </p:cNvPr>
              <p:cNvCxnSpPr>
                <a:cxnSpLocks/>
              </p:cNvCxnSpPr>
              <p:nvPr/>
            </p:nvCxnSpPr>
            <p:spPr>
              <a:xfrm flipV="1">
                <a:off x="4320577" y="2306661"/>
                <a:ext cx="146037" cy="0"/>
              </a:xfrm>
              <a:prstGeom prst="line">
                <a:avLst/>
              </a:prstGeom>
              <a:noFill/>
              <a:ln w="12700" cap="flat" cmpd="sng" algn="ctr">
                <a:solidFill>
                  <a:schemeClr val="tx1"/>
                </a:solidFill>
                <a:prstDash val="solid"/>
                <a:headEnd type="none"/>
                <a:tailEnd type="none"/>
              </a:ln>
              <a:effectLst/>
            </p:spPr>
          </p:cxnSp>
          <p:cxnSp>
            <p:nvCxnSpPr>
              <p:cNvPr id="595" name="Straight Connector 594">
                <a:extLst>
                  <a:ext uri="{FF2B5EF4-FFF2-40B4-BE49-F238E27FC236}">
                    <a16:creationId xmlns:a16="http://schemas.microsoft.com/office/drawing/2014/main" id="{B1EB52A5-2A10-4722-8D00-C39A6F930049}"/>
                  </a:ext>
                </a:extLst>
              </p:cNvPr>
              <p:cNvCxnSpPr>
                <a:cxnSpLocks/>
              </p:cNvCxnSpPr>
              <p:nvPr/>
            </p:nvCxnSpPr>
            <p:spPr>
              <a:xfrm>
                <a:off x="4179763" y="1933514"/>
                <a:ext cx="146037" cy="0"/>
              </a:xfrm>
              <a:prstGeom prst="line">
                <a:avLst/>
              </a:prstGeom>
              <a:noFill/>
              <a:ln w="12700" cap="flat" cmpd="sng" algn="ctr">
                <a:solidFill>
                  <a:schemeClr val="tx1"/>
                </a:solidFill>
                <a:prstDash val="solid"/>
                <a:headEnd type="none"/>
                <a:tailEnd type="none"/>
              </a:ln>
              <a:effectLst/>
            </p:spPr>
          </p:cxnSp>
          <p:cxnSp>
            <p:nvCxnSpPr>
              <p:cNvPr id="596" name="Straight Connector 595">
                <a:extLst>
                  <a:ext uri="{FF2B5EF4-FFF2-40B4-BE49-F238E27FC236}">
                    <a16:creationId xmlns:a16="http://schemas.microsoft.com/office/drawing/2014/main" id="{5C2A3C38-3306-4B97-94E1-30056C930C04}"/>
                  </a:ext>
                </a:extLst>
              </p:cNvPr>
              <p:cNvCxnSpPr>
                <a:cxnSpLocks/>
              </p:cNvCxnSpPr>
              <p:nvPr/>
            </p:nvCxnSpPr>
            <p:spPr>
              <a:xfrm>
                <a:off x="4199235" y="2008720"/>
                <a:ext cx="267379" cy="0"/>
              </a:xfrm>
              <a:prstGeom prst="line">
                <a:avLst/>
              </a:prstGeom>
              <a:noFill/>
              <a:ln w="12700" cap="flat" cmpd="sng" algn="ctr">
                <a:solidFill>
                  <a:schemeClr val="tx1"/>
                </a:solidFill>
                <a:prstDash val="solid"/>
                <a:headEnd type="none"/>
                <a:tailEnd type="none"/>
              </a:ln>
              <a:effectLst/>
            </p:spPr>
          </p:cxnSp>
        </p:grpSp>
      </p:grpSp>
      <p:sp>
        <p:nvSpPr>
          <p:cNvPr id="672" name="Rectangle 671">
            <a:extLst>
              <a:ext uri="{FF2B5EF4-FFF2-40B4-BE49-F238E27FC236}">
                <a16:creationId xmlns:a16="http://schemas.microsoft.com/office/drawing/2014/main" id="{456E41D3-6329-4F27-96C2-91E0BC522672}"/>
              </a:ext>
            </a:extLst>
          </p:cNvPr>
          <p:cNvSpPr/>
          <p:nvPr/>
        </p:nvSpPr>
        <p:spPr bwMode="auto">
          <a:xfrm>
            <a:off x="3817629" y="1266012"/>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Tools</a:t>
            </a:r>
          </a:p>
        </p:txBody>
      </p:sp>
      <p:sp>
        <p:nvSpPr>
          <p:cNvPr id="263" name="Oval 262">
            <a:extLst>
              <a:ext uri="{FF2B5EF4-FFF2-40B4-BE49-F238E27FC236}">
                <a16:creationId xmlns:a16="http://schemas.microsoft.com/office/drawing/2014/main" id="{A7BE1EA2-4D42-4165-BF15-DFED38A84BE2}"/>
              </a:ext>
            </a:extLst>
          </p:cNvPr>
          <p:cNvSpPr/>
          <p:nvPr/>
        </p:nvSpPr>
        <p:spPr bwMode="auto">
          <a:xfrm>
            <a:off x="2670322" y="1076971"/>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64" name="TextBox 263">
            <a:extLst>
              <a:ext uri="{FF2B5EF4-FFF2-40B4-BE49-F238E27FC236}">
                <a16:creationId xmlns:a16="http://schemas.microsoft.com/office/drawing/2014/main" id="{15F6243C-BAAB-4F4A-B887-FE0192A6D599}"/>
              </a:ext>
            </a:extLst>
          </p:cNvPr>
          <p:cNvSpPr txBox="1"/>
          <p:nvPr/>
        </p:nvSpPr>
        <p:spPr>
          <a:xfrm>
            <a:off x="2818492" y="1509263"/>
            <a:ext cx="480901" cy="246221"/>
          </a:xfrm>
          <a:prstGeom prst="rect">
            <a:avLst/>
          </a:prstGeom>
          <a:ln>
            <a:noFill/>
          </a:ln>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72" name="Group 271">
            <a:extLst>
              <a:ext uri="{FF2B5EF4-FFF2-40B4-BE49-F238E27FC236}">
                <a16:creationId xmlns:a16="http://schemas.microsoft.com/office/drawing/2014/main" id="{6B0D2104-A29B-4761-A98D-999603AD761C}"/>
              </a:ext>
            </a:extLst>
          </p:cNvPr>
          <p:cNvGrpSpPr/>
          <p:nvPr/>
        </p:nvGrpSpPr>
        <p:grpSpPr>
          <a:xfrm>
            <a:off x="3250454" y="1261696"/>
            <a:ext cx="407791" cy="407791"/>
            <a:chOff x="8303519" y="1692273"/>
            <a:chExt cx="702207" cy="702207"/>
          </a:xfrm>
        </p:grpSpPr>
        <p:sp>
          <p:nvSpPr>
            <p:cNvPr id="273" name="Oval 272">
              <a:extLst>
                <a:ext uri="{FF2B5EF4-FFF2-40B4-BE49-F238E27FC236}">
                  <a16:creationId xmlns:a16="http://schemas.microsoft.com/office/drawing/2014/main" id="{352E8938-8A1D-49AB-94A4-0E8A58B258A1}"/>
                </a:ext>
              </a:extLst>
            </p:cNvPr>
            <p:cNvSpPr/>
            <p:nvPr/>
          </p:nvSpPr>
          <p:spPr bwMode="auto">
            <a:xfrm>
              <a:off x="8303519" y="1692273"/>
              <a:ext cx="702207" cy="70220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74" name="Graphic 30">
              <a:extLst>
                <a:ext uri="{FF2B5EF4-FFF2-40B4-BE49-F238E27FC236}">
                  <a16:creationId xmlns:a16="http://schemas.microsoft.com/office/drawing/2014/main" id="{38FB88EB-5A88-4F96-95A0-80122AD3BE84}"/>
                </a:ext>
              </a:extLst>
            </p:cNvPr>
            <p:cNvGrpSpPr/>
            <p:nvPr/>
          </p:nvGrpSpPr>
          <p:grpSpPr>
            <a:xfrm>
              <a:off x="8386379" y="1901962"/>
              <a:ext cx="536488" cy="282829"/>
              <a:chOff x="10530517" y="1546860"/>
              <a:chExt cx="819476" cy="432016"/>
            </a:xfrm>
          </p:grpSpPr>
          <p:sp>
            <p:nvSpPr>
              <p:cNvPr id="275" name="Freeform: Shape 274">
                <a:extLst>
                  <a:ext uri="{FF2B5EF4-FFF2-40B4-BE49-F238E27FC236}">
                    <a16:creationId xmlns:a16="http://schemas.microsoft.com/office/drawing/2014/main" id="{6D4C5CFF-2091-415F-89F1-4E876FF9885C}"/>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71FBEDA7-83B2-4FD6-AD1A-38D0C0E9EF62}"/>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7" name="Freeform: Shape 276">
                <a:extLst>
                  <a:ext uri="{FF2B5EF4-FFF2-40B4-BE49-F238E27FC236}">
                    <a16:creationId xmlns:a16="http://schemas.microsoft.com/office/drawing/2014/main" id="{82B64698-D45C-4A93-B49B-FB01D65A9D94}"/>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D68869E7-4EE7-4FE0-97F6-3623012E01E3}"/>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9" name="Freeform: Shape 278">
                <a:extLst>
                  <a:ext uri="{FF2B5EF4-FFF2-40B4-BE49-F238E27FC236}">
                    <a16:creationId xmlns:a16="http://schemas.microsoft.com/office/drawing/2014/main" id="{10C193B3-2C75-417D-ACED-FBC123BECBA0}"/>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3" name="Freeform: Shape 282">
                <a:extLst>
                  <a:ext uri="{FF2B5EF4-FFF2-40B4-BE49-F238E27FC236}">
                    <a16:creationId xmlns:a16="http://schemas.microsoft.com/office/drawing/2014/main" id="{8FE0D744-2270-4445-90FF-843868146E9D}"/>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4" name="Freeform: Shape 283">
                <a:extLst>
                  <a:ext uri="{FF2B5EF4-FFF2-40B4-BE49-F238E27FC236}">
                    <a16:creationId xmlns:a16="http://schemas.microsoft.com/office/drawing/2014/main" id="{E4370324-6E89-4266-BB6B-AC026B93C628}"/>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5" name="Freeform: Shape 284">
                <a:extLst>
                  <a:ext uri="{FF2B5EF4-FFF2-40B4-BE49-F238E27FC236}">
                    <a16:creationId xmlns:a16="http://schemas.microsoft.com/office/drawing/2014/main" id="{BFCD487A-190F-41A5-8C22-68BE57A9C5C3}"/>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6" name="Freeform: Shape 285">
                <a:extLst>
                  <a:ext uri="{FF2B5EF4-FFF2-40B4-BE49-F238E27FC236}">
                    <a16:creationId xmlns:a16="http://schemas.microsoft.com/office/drawing/2014/main" id="{3D496085-C946-41C1-BD4B-F5B9BAB99740}"/>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7" name="Freeform: Shape 286">
                <a:extLst>
                  <a:ext uri="{FF2B5EF4-FFF2-40B4-BE49-F238E27FC236}">
                    <a16:creationId xmlns:a16="http://schemas.microsoft.com/office/drawing/2014/main" id="{DEDA98F1-68FC-41B9-B9EA-36204F3EE00F}"/>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8" name="Freeform: Shape 287">
                <a:extLst>
                  <a:ext uri="{FF2B5EF4-FFF2-40B4-BE49-F238E27FC236}">
                    <a16:creationId xmlns:a16="http://schemas.microsoft.com/office/drawing/2014/main" id="{4EE606CC-2B97-465E-B342-7F3751F4E742}"/>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8B11B6E4-1F4B-475D-AF1C-EB5EE1C360BC}"/>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A2BC3A24-3E11-431A-826E-4395D2FB865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4750AE8C-7F22-4A9F-A0AE-D5EB4E1C929F}"/>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pic>
        <p:nvPicPr>
          <p:cNvPr id="231" name="Picture 230">
            <a:extLst>
              <a:ext uri="{FF2B5EF4-FFF2-40B4-BE49-F238E27FC236}">
                <a16:creationId xmlns:a16="http://schemas.microsoft.com/office/drawing/2014/main" id="{44C7B2C0-109B-4F2E-91E6-4CB0108FECF5}"/>
              </a:ext>
            </a:extLst>
          </p:cNvPr>
          <p:cNvPicPr>
            <a:picLocks noChangeAspect="1"/>
          </p:cNvPicPr>
          <p:nvPr/>
        </p:nvPicPr>
        <p:blipFill>
          <a:blip r:embed="rId4"/>
          <a:stretch>
            <a:fillRect/>
          </a:stretch>
        </p:blipFill>
        <p:spPr>
          <a:xfrm>
            <a:off x="2850746" y="1157047"/>
            <a:ext cx="393213" cy="355083"/>
          </a:xfrm>
          <a:prstGeom prst="rect">
            <a:avLst/>
          </a:prstGeom>
        </p:spPr>
      </p:pic>
      <p:pic>
        <p:nvPicPr>
          <p:cNvPr id="232" name="Picture 231">
            <a:extLst>
              <a:ext uri="{FF2B5EF4-FFF2-40B4-BE49-F238E27FC236}">
                <a16:creationId xmlns:a16="http://schemas.microsoft.com/office/drawing/2014/main" id="{33E9897A-BA34-4719-AB8F-E7503D2DD047}"/>
              </a:ext>
            </a:extLst>
          </p:cNvPr>
          <p:cNvPicPr>
            <a:picLocks noChangeAspect="1"/>
          </p:cNvPicPr>
          <p:nvPr/>
        </p:nvPicPr>
        <p:blipFill>
          <a:blip r:embed="rId4"/>
          <a:stretch>
            <a:fillRect/>
          </a:stretch>
        </p:blipFill>
        <p:spPr>
          <a:xfrm>
            <a:off x="2856001" y="2932491"/>
            <a:ext cx="393213" cy="355083"/>
          </a:xfrm>
          <a:prstGeom prst="rect">
            <a:avLst/>
          </a:prstGeom>
        </p:spPr>
      </p:pic>
    </p:spTree>
    <p:extLst>
      <p:ext uri="{BB962C8B-B14F-4D97-AF65-F5344CB8AC3E}">
        <p14:creationId xmlns:p14="http://schemas.microsoft.com/office/powerpoint/2010/main" val="48367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85875E-1D4A-4AA6-9532-A104AC296DC7}"/>
              </a:ext>
            </a:extLst>
          </p:cNvPr>
          <p:cNvSpPr>
            <a:spLocks noGrp="1"/>
          </p:cNvSpPr>
          <p:nvPr>
            <p:ph type="title"/>
          </p:nvPr>
        </p:nvSpPr>
        <p:spPr/>
        <p:txBody>
          <a:bodyPr/>
          <a:lstStyle/>
          <a:p>
            <a:r>
              <a:rPr lang="en-US" dirty="0">
                <a:solidFill>
                  <a:schemeClr val="tx2"/>
                </a:solidFill>
              </a:rPr>
              <a:t>Operationalize and manage models with ease</a:t>
            </a:r>
            <a:endParaRPr lang="en-IN" dirty="0">
              <a:solidFill>
                <a:schemeClr val="tx2"/>
              </a:solidFill>
            </a:endParaRPr>
          </a:p>
        </p:txBody>
      </p:sp>
      <p:sp>
        <p:nvSpPr>
          <p:cNvPr id="195" name="Rectangle 194">
            <a:extLst>
              <a:ext uri="{FF2B5EF4-FFF2-40B4-BE49-F238E27FC236}">
                <a16:creationId xmlns:a16="http://schemas.microsoft.com/office/drawing/2014/main" id="{1D92156C-946F-45EA-B85A-FE8B31A47EF7}"/>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dentify and promote your best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apture model telemetry </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etrain models with APIs</a:t>
            </a:r>
          </a:p>
        </p:txBody>
      </p:sp>
      <p:sp>
        <p:nvSpPr>
          <p:cNvPr id="196" name="Rectangle 195">
            <a:extLst>
              <a:ext uri="{FF2B5EF4-FFF2-40B4-BE49-F238E27FC236}">
                <a16:creationId xmlns:a16="http://schemas.microsoft.com/office/drawing/2014/main" id="{3BA5AC39-3184-468A-8A72-0198322D84B8}"/>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ploy models anywhe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Scale out to container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nfuse intelligence into the IoT edge</a:t>
            </a:r>
          </a:p>
        </p:txBody>
      </p:sp>
      <p:sp>
        <p:nvSpPr>
          <p:cNvPr id="197" name="Rectangle 196">
            <a:extLst>
              <a:ext uri="{FF2B5EF4-FFF2-40B4-BE49-F238E27FC236}">
                <a16:creationId xmlns:a16="http://schemas.microsoft.com/office/drawing/2014/main" id="{C84D0A43-95EA-464A-91C3-FBE97B569AA6}"/>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Build and deploy models in minut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terate quickly on serverless infrastructu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Easily change environments</a:t>
            </a:r>
          </a:p>
        </p:txBody>
      </p:sp>
      <p:sp>
        <p:nvSpPr>
          <p:cNvPr id="198" name="Rectangle 197">
            <a:extLst>
              <a:ext uri="{FF2B5EF4-FFF2-40B4-BE49-F238E27FC236}">
                <a16:creationId xmlns:a16="http://schemas.microsoft.com/office/drawing/2014/main" id="{DFE2BBF3-59BA-41B0-B062-FBF4C339A7C6}"/>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Proactively manage</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model performance</a:t>
            </a:r>
          </a:p>
        </p:txBody>
      </p:sp>
      <p:sp>
        <p:nvSpPr>
          <p:cNvPr id="199" name="Rectangle 198">
            <a:extLst>
              <a:ext uri="{FF2B5EF4-FFF2-40B4-BE49-F238E27FC236}">
                <a16:creationId xmlns:a16="http://schemas.microsoft.com/office/drawing/2014/main" id="{6F1DC5C9-E66D-4338-97C4-2F24B708AD28}"/>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Deploy model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closer to your data</a:t>
            </a:r>
          </a:p>
        </p:txBody>
      </p:sp>
      <p:sp>
        <p:nvSpPr>
          <p:cNvPr id="200" name="Rectangle 199">
            <a:extLst>
              <a:ext uri="{FF2B5EF4-FFF2-40B4-BE49-F238E27FC236}">
                <a16:creationId xmlns:a16="http://schemas.microsoft.com/office/drawing/2014/main" id="{C45A1D54-06AE-49CF-B6AA-5A4A59650AE7}"/>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Bring model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to life quickly</a:t>
            </a:r>
          </a:p>
        </p:txBody>
      </p:sp>
      <p:sp>
        <p:nvSpPr>
          <p:cNvPr id="201" name="Oval 200">
            <a:extLst>
              <a:ext uri="{FF2B5EF4-FFF2-40B4-BE49-F238E27FC236}">
                <a16:creationId xmlns:a16="http://schemas.microsoft.com/office/drawing/2014/main" id="{C9112242-B335-4731-9581-756629DE3429}"/>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a:extLst>
              <a:ext uri="{FF2B5EF4-FFF2-40B4-BE49-F238E27FC236}">
                <a16:creationId xmlns:a16="http://schemas.microsoft.com/office/drawing/2014/main" id="{32C65E12-6770-4DD3-BA70-03419C2147E4}"/>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a:extLst>
              <a:ext uri="{FF2B5EF4-FFF2-40B4-BE49-F238E27FC236}">
                <a16:creationId xmlns:a16="http://schemas.microsoft.com/office/drawing/2014/main" id="{EB2F9684-48AB-4D85-916C-BFE66AAAFFBF}"/>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create" title="Icon of a pencil with an arrow around it pointing counterclockwise">
            <a:extLst>
              <a:ext uri="{FF2B5EF4-FFF2-40B4-BE49-F238E27FC236}">
                <a16:creationId xmlns:a16="http://schemas.microsoft.com/office/drawing/2014/main" id="{2A0014C7-72DC-4D2C-9B19-6F8D8DF72AF4}"/>
              </a:ext>
            </a:extLst>
          </p:cNvPr>
          <p:cNvSpPr>
            <a:spLocks noChangeAspect="1" noEditPoints="1"/>
          </p:cNvSpPr>
          <p:nvPr/>
        </p:nvSpPr>
        <p:spPr bwMode="auto">
          <a:xfrm>
            <a:off x="3391812" y="4767470"/>
            <a:ext cx="431434" cy="42255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05" name="Touchscreen" title="Icon of a closed hand with one finger touching a screen">
            <a:extLst>
              <a:ext uri="{FF2B5EF4-FFF2-40B4-BE49-F238E27FC236}">
                <a16:creationId xmlns:a16="http://schemas.microsoft.com/office/drawing/2014/main" id="{AEDBECF4-811B-40F8-93FD-97E18081D170}"/>
              </a:ext>
            </a:extLst>
          </p:cNvPr>
          <p:cNvSpPr>
            <a:spLocks noChangeAspect="1" noEditPoints="1"/>
          </p:cNvSpPr>
          <p:nvPr/>
        </p:nvSpPr>
        <p:spPr bwMode="auto">
          <a:xfrm>
            <a:off x="7268339" y="4801335"/>
            <a:ext cx="378442" cy="35482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06" name="globe_6" title="Icon of a monitor in front of a sphere made of lines">
            <a:extLst>
              <a:ext uri="{FF2B5EF4-FFF2-40B4-BE49-F238E27FC236}">
                <a16:creationId xmlns:a16="http://schemas.microsoft.com/office/drawing/2014/main" id="{B2E2514B-3FEC-4CB9-93B0-F15C5039A5B0}"/>
              </a:ext>
            </a:extLst>
          </p:cNvPr>
          <p:cNvSpPr>
            <a:spLocks noChangeAspect="1" noEditPoints="1"/>
          </p:cNvSpPr>
          <p:nvPr/>
        </p:nvSpPr>
        <p:spPr bwMode="auto">
          <a:xfrm>
            <a:off x="11117020" y="4772544"/>
            <a:ext cx="384976" cy="41240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34" name="Rectangle: Rounded Corners 833">
            <a:extLst>
              <a:ext uri="{FF2B5EF4-FFF2-40B4-BE49-F238E27FC236}">
                <a16:creationId xmlns:a16="http://schemas.microsoft.com/office/drawing/2014/main" id="{98EFAEBD-5606-45DF-9568-5FAEC029327F}"/>
              </a:ext>
            </a:extLst>
          </p:cNvPr>
          <p:cNvSpPr/>
          <p:nvPr/>
        </p:nvSpPr>
        <p:spPr bwMode="auto">
          <a:xfrm>
            <a:off x="858328"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Train and evaluate models</a:t>
            </a:r>
          </a:p>
        </p:txBody>
      </p:sp>
      <p:sp>
        <p:nvSpPr>
          <p:cNvPr id="835" name="Oval 834">
            <a:extLst>
              <a:ext uri="{FF2B5EF4-FFF2-40B4-BE49-F238E27FC236}">
                <a16:creationId xmlns:a16="http://schemas.microsoft.com/office/drawing/2014/main" id="{BA4950B1-E702-40E7-9A7E-19A806EB8F64}"/>
              </a:ext>
            </a:extLst>
          </p:cNvPr>
          <p:cNvSpPr/>
          <p:nvPr/>
        </p:nvSpPr>
        <p:spPr bwMode="auto">
          <a:xfrm>
            <a:off x="272587"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36" name="TextBox 835">
            <a:extLst>
              <a:ext uri="{FF2B5EF4-FFF2-40B4-BE49-F238E27FC236}">
                <a16:creationId xmlns:a16="http://schemas.microsoft.com/office/drawing/2014/main" id="{A06B25A2-8FBF-4325-8B42-199DA0E7088D}"/>
              </a:ext>
            </a:extLst>
          </p:cNvPr>
          <p:cNvSpPr txBox="1"/>
          <p:nvPr/>
        </p:nvSpPr>
        <p:spPr>
          <a:xfrm>
            <a:off x="495734" y="1950818"/>
            <a:ext cx="695885"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r>
              <a:rPr kumimoji="0" lang="en-US" sz="800" b="0" i="0" u="none" strike="noStrike" kern="0" cap="none" spc="0" normalizeH="0" baseline="0" noProof="0" dirty="0" err="1">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endPar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cxnSp>
        <p:nvCxnSpPr>
          <p:cNvPr id="837" name="Straight Arrow Connector 836">
            <a:extLst>
              <a:ext uri="{FF2B5EF4-FFF2-40B4-BE49-F238E27FC236}">
                <a16:creationId xmlns:a16="http://schemas.microsoft.com/office/drawing/2014/main" id="{B933AE64-94AA-4EA1-9900-894018F5BDA7}"/>
              </a:ext>
            </a:extLst>
          </p:cNvPr>
          <p:cNvCxnSpPr>
            <a:cxnSpLocks/>
          </p:cNvCxnSpPr>
          <p:nvPr/>
        </p:nvCxnSpPr>
        <p:spPr>
          <a:xfrm>
            <a:off x="3667368" y="2906485"/>
            <a:ext cx="1079416" cy="0"/>
          </a:xfrm>
          <a:prstGeom prst="straightConnector1">
            <a:avLst/>
          </a:prstGeom>
          <a:ln w="190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839" name="Rectangle: Rounded Corners 838">
            <a:extLst>
              <a:ext uri="{FF2B5EF4-FFF2-40B4-BE49-F238E27FC236}">
                <a16:creationId xmlns:a16="http://schemas.microsoft.com/office/drawing/2014/main" id="{799DC947-51DD-477E-B102-147FE0CA0ECC}"/>
              </a:ext>
            </a:extLst>
          </p:cNvPr>
          <p:cNvSpPr/>
          <p:nvPr/>
        </p:nvSpPr>
        <p:spPr bwMode="auto">
          <a:xfrm>
            <a:off x="4884625"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Model MGMT, experimentation,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and run history</a:t>
            </a:r>
          </a:p>
        </p:txBody>
      </p:sp>
      <p:sp>
        <p:nvSpPr>
          <p:cNvPr id="840" name="Oval 839">
            <a:extLst>
              <a:ext uri="{FF2B5EF4-FFF2-40B4-BE49-F238E27FC236}">
                <a16:creationId xmlns:a16="http://schemas.microsoft.com/office/drawing/2014/main" id="{0DE5688E-F5B5-4680-AE19-AEAD153AC353}"/>
              </a:ext>
            </a:extLst>
          </p:cNvPr>
          <p:cNvSpPr/>
          <p:nvPr/>
        </p:nvSpPr>
        <p:spPr bwMode="auto">
          <a:xfrm>
            <a:off x="4293739"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41" name="TextBox 840">
            <a:extLst>
              <a:ext uri="{FF2B5EF4-FFF2-40B4-BE49-F238E27FC236}">
                <a16:creationId xmlns:a16="http://schemas.microsoft.com/office/drawing/2014/main" id="{C3AFBB5D-A7C4-44F8-A75E-5A6E66D1A0E6}"/>
              </a:ext>
            </a:extLst>
          </p:cNvPr>
          <p:cNvSpPr txBox="1"/>
          <p:nvPr/>
        </p:nvSpPr>
        <p:spPr>
          <a:xfrm>
            <a:off x="4469766" y="1950818"/>
            <a:ext cx="790124"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ices</a:t>
            </a:r>
          </a:p>
        </p:txBody>
      </p:sp>
      <p:sp>
        <p:nvSpPr>
          <p:cNvPr id="842" name="Rectangle: Rounded Corners 841">
            <a:extLst>
              <a:ext uri="{FF2B5EF4-FFF2-40B4-BE49-F238E27FC236}">
                <a16:creationId xmlns:a16="http://schemas.microsoft.com/office/drawing/2014/main" id="{61103B34-1586-4FC4-AC3D-3764B59AF891}"/>
              </a:ext>
            </a:extLst>
          </p:cNvPr>
          <p:cNvSpPr/>
          <p:nvPr/>
        </p:nvSpPr>
        <p:spPr bwMode="auto">
          <a:xfrm>
            <a:off x="8777196" y="1909229"/>
            <a:ext cx="2685056" cy="1177516"/>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Containers</a:t>
            </a:r>
          </a:p>
        </p:txBody>
      </p:sp>
      <p:sp>
        <p:nvSpPr>
          <p:cNvPr id="843" name="Oval 842">
            <a:extLst>
              <a:ext uri="{FF2B5EF4-FFF2-40B4-BE49-F238E27FC236}">
                <a16:creationId xmlns:a16="http://schemas.microsoft.com/office/drawing/2014/main" id="{168F94F9-6E3B-4D03-8DD5-E87D18A1798E}"/>
              </a:ext>
            </a:extLst>
          </p:cNvPr>
          <p:cNvSpPr/>
          <p:nvPr/>
        </p:nvSpPr>
        <p:spPr bwMode="auto">
          <a:xfrm>
            <a:off x="8320035"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44" name="TextBox 843">
            <a:extLst>
              <a:ext uri="{FF2B5EF4-FFF2-40B4-BE49-F238E27FC236}">
                <a16:creationId xmlns:a16="http://schemas.microsoft.com/office/drawing/2014/main" id="{39E50F5D-A133-43CC-A1FD-4EFF8C3D5088}"/>
              </a:ext>
            </a:extLst>
          </p:cNvPr>
          <p:cNvSpPr txBox="1"/>
          <p:nvPr/>
        </p:nvSpPr>
        <p:spPr>
          <a:xfrm>
            <a:off x="8455998" y="2042183"/>
            <a:ext cx="870253" cy="12311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KS</a:t>
            </a:r>
          </a:p>
        </p:txBody>
      </p:sp>
      <p:grpSp>
        <p:nvGrpSpPr>
          <p:cNvPr id="1048" name="Group 1047">
            <a:extLst>
              <a:ext uri="{FF2B5EF4-FFF2-40B4-BE49-F238E27FC236}">
                <a16:creationId xmlns:a16="http://schemas.microsoft.com/office/drawing/2014/main" id="{C0229096-AAC9-400D-AB9B-B7F41087F7BD}"/>
              </a:ext>
            </a:extLst>
          </p:cNvPr>
          <p:cNvGrpSpPr/>
          <p:nvPr/>
        </p:nvGrpSpPr>
        <p:grpSpPr>
          <a:xfrm>
            <a:off x="1433284" y="2279190"/>
            <a:ext cx="1535144" cy="1163410"/>
            <a:chOff x="4991892" y="3411597"/>
            <a:chExt cx="2122860" cy="1608811"/>
          </a:xfrm>
        </p:grpSpPr>
        <p:sp>
          <p:nvSpPr>
            <p:cNvPr id="1049" name="Freeform: Shape 1048">
              <a:extLst>
                <a:ext uri="{FF2B5EF4-FFF2-40B4-BE49-F238E27FC236}">
                  <a16:creationId xmlns:a16="http://schemas.microsoft.com/office/drawing/2014/main" id="{928D200B-0306-4AA2-A585-7AA34E17ECB7}"/>
                </a:ext>
              </a:extLst>
            </p:cNvPr>
            <p:cNvSpPr/>
            <p:nvPr/>
          </p:nvSpPr>
          <p:spPr bwMode="auto">
            <a:xfrm>
              <a:off x="5004720" y="3411597"/>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50" name="Group 1049">
              <a:extLst>
                <a:ext uri="{FF2B5EF4-FFF2-40B4-BE49-F238E27FC236}">
                  <a16:creationId xmlns:a16="http://schemas.microsoft.com/office/drawing/2014/main" id="{28C968AB-E276-46B8-A425-3C43821450D0}"/>
                </a:ext>
              </a:extLst>
            </p:cNvPr>
            <p:cNvGrpSpPr/>
            <p:nvPr/>
          </p:nvGrpSpPr>
          <p:grpSpPr>
            <a:xfrm>
              <a:off x="4991892" y="3526133"/>
              <a:ext cx="534075" cy="138231"/>
              <a:chOff x="4991892" y="3516708"/>
              <a:chExt cx="534075" cy="138231"/>
            </a:xfrm>
          </p:grpSpPr>
          <p:sp>
            <p:nvSpPr>
              <p:cNvPr id="1113" name="Rectangle: Rounded Corners 1112">
                <a:extLst>
                  <a:ext uri="{FF2B5EF4-FFF2-40B4-BE49-F238E27FC236}">
                    <a16:creationId xmlns:a16="http://schemas.microsoft.com/office/drawing/2014/main" id="{B3EB29F6-D7FF-405F-8D6D-964ACB72D60B}"/>
                  </a:ext>
                </a:extLst>
              </p:cNvPr>
              <p:cNvSpPr/>
              <p:nvPr/>
            </p:nvSpPr>
            <p:spPr bwMode="auto">
              <a:xfrm>
                <a:off x="4991892" y="3516708"/>
                <a:ext cx="534075" cy="138231"/>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4" name="Oval 1113">
                <a:extLst>
                  <a:ext uri="{FF2B5EF4-FFF2-40B4-BE49-F238E27FC236}">
                    <a16:creationId xmlns:a16="http://schemas.microsoft.com/office/drawing/2014/main" id="{60A36863-9E2E-42EC-95B5-C062671CE624}"/>
                  </a:ext>
                </a:extLst>
              </p:cNvPr>
              <p:cNvSpPr/>
              <p:nvPr/>
            </p:nvSpPr>
            <p:spPr bwMode="auto">
              <a:xfrm>
                <a:off x="5038362" y="3566450"/>
                <a:ext cx="46077" cy="46077"/>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1" name="Group 1050">
              <a:extLst>
                <a:ext uri="{FF2B5EF4-FFF2-40B4-BE49-F238E27FC236}">
                  <a16:creationId xmlns:a16="http://schemas.microsoft.com/office/drawing/2014/main" id="{AC2ACEE4-D25E-4D31-A93A-102F131CEE20}"/>
                </a:ext>
              </a:extLst>
            </p:cNvPr>
            <p:cNvGrpSpPr/>
            <p:nvPr/>
          </p:nvGrpSpPr>
          <p:grpSpPr>
            <a:xfrm>
              <a:off x="4991892" y="3664364"/>
              <a:ext cx="534075" cy="138231"/>
              <a:chOff x="1459231" y="2186940"/>
              <a:chExt cx="2590800" cy="670560"/>
            </a:xfrm>
          </p:grpSpPr>
          <p:sp>
            <p:nvSpPr>
              <p:cNvPr id="1111" name="Rectangle: Rounded Corners 1110">
                <a:extLst>
                  <a:ext uri="{FF2B5EF4-FFF2-40B4-BE49-F238E27FC236}">
                    <a16:creationId xmlns:a16="http://schemas.microsoft.com/office/drawing/2014/main" id="{92044DF4-A0FD-4158-A62D-34B6D8043B2F}"/>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2" name="Oval 1111">
                <a:extLst>
                  <a:ext uri="{FF2B5EF4-FFF2-40B4-BE49-F238E27FC236}">
                    <a16:creationId xmlns:a16="http://schemas.microsoft.com/office/drawing/2014/main" id="{6AC81607-91CD-4C08-99FF-EFABC4F8BD52}"/>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2" name="Group 1051">
              <a:extLst>
                <a:ext uri="{FF2B5EF4-FFF2-40B4-BE49-F238E27FC236}">
                  <a16:creationId xmlns:a16="http://schemas.microsoft.com/office/drawing/2014/main" id="{E3915E7C-077A-41F1-A12C-DD2DDCF9F467}"/>
                </a:ext>
              </a:extLst>
            </p:cNvPr>
            <p:cNvGrpSpPr/>
            <p:nvPr/>
          </p:nvGrpSpPr>
          <p:grpSpPr>
            <a:xfrm>
              <a:off x="4991892" y="3802595"/>
              <a:ext cx="534075" cy="138231"/>
              <a:chOff x="1459231" y="2186940"/>
              <a:chExt cx="2590800" cy="670560"/>
            </a:xfrm>
          </p:grpSpPr>
          <p:sp>
            <p:nvSpPr>
              <p:cNvPr id="1109" name="Rectangle: Rounded Corners 1108">
                <a:extLst>
                  <a:ext uri="{FF2B5EF4-FFF2-40B4-BE49-F238E27FC236}">
                    <a16:creationId xmlns:a16="http://schemas.microsoft.com/office/drawing/2014/main" id="{F0D760F6-47E3-4A7E-B729-EB1F1BD6B0CF}"/>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0" name="Oval 1109">
                <a:extLst>
                  <a:ext uri="{FF2B5EF4-FFF2-40B4-BE49-F238E27FC236}">
                    <a16:creationId xmlns:a16="http://schemas.microsoft.com/office/drawing/2014/main" id="{72F10FB8-76E1-47C7-AB8C-0780D4D7CABC}"/>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1053" name="Arrow: Bent 1052">
              <a:extLst>
                <a:ext uri="{FF2B5EF4-FFF2-40B4-BE49-F238E27FC236}">
                  <a16:creationId xmlns:a16="http://schemas.microsoft.com/office/drawing/2014/main" id="{757EBF90-6B56-4213-9EAE-995962BD893E}"/>
                </a:ext>
              </a:extLst>
            </p:cNvPr>
            <p:cNvSpPr/>
            <p:nvPr/>
          </p:nvSpPr>
          <p:spPr bwMode="auto">
            <a:xfrm rot="16200000">
              <a:off x="5266977" y="3980585"/>
              <a:ext cx="259319" cy="392595"/>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4" name="Arrow: Chevron 1053">
              <a:extLst>
                <a:ext uri="{FF2B5EF4-FFF2-40B4-BE49-F238E27FC236}">
                  <a16:creationId xmlns:a16="http://schemas.microsoft.com/office/drawing/2014/main" id="{80FCC1E0-7B9D-448A-A7E9-B3B16D34D144}"/>
                </a:ext>
              </a:extLst>
            </p:cNvPr>
            <p:cNvSpPr/>
            <p:nvPr/>
          </p:nvSpPr>
          <p:spPr bwMode="auto">
            <a:xfrm>
              <a:off x="5557899" y="4260419"/>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55" name="Arrow: Bent 1054">
              <a:extLst>
                <a:ext uri="{FF2B5EF4-FFF2-40B4-BE49-F238E27FC236}">
                  <a16:creationId xmlns:a16="http://schemas.microsoft.com/office/drawing/2014/main" id="{6D08DD9B-DFA5-4BC8-8F5E-CFA2ACEB2857}"/>
                </a:ext>
              </a:extLst>
            </p:cNvPr>
            <p:cNvSpPr/>
            <p:nvPr/>
          </p:nvSpPr>
          <p:spPr bwMode="auto">
            <a:xfrm rot="16200000">
              <a:off x="6318294" y="4577245"/>
              <a:ext cx="193190" cy="504422"/>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6" name="Arrow: Chevron 1055">
              <a:extLst>
                <a:ext uri="{FF2B5EF4-FFF2-40B4-BE49-F238E27FC236}">
                  <a16:creationId xmlns:a16="http://schemas.microsoft.com/office/drawing/2014/main" id="{F9EEC499-D484-4070-9F86-B2A446FB6318}"/>
                </a:ext>
              </a:extLst>
            </p:cNvPr>
            <p:cNvSpPr/>
            <p:nvPr/>
          </p:nvSpPr>
          <p:spPr bwMode="auto">
            <a:xfrm>
              <a:off x="6645551" y="4879508"/>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57" name="Group 1056">
              <a:extLst>
                <a:ext uri="{FF2B5EF4-FFF2-40B4-BE49-F238E27FC236}">
                  <a16:creationId xmlns:a16="http://schemas.microsoft.com/office/drawing/2014/main" id="{D8C39B14-486B-4AB8-99E3-81CD22A14F87}"/>
                </a:ext>
              </a:extLst>
            </p:cNvPr>
            <p:cNvGrpSpPr/>
            <p:nvPr/>
          </p:nvGrpSpPr>
          <p:grpSpPr>
            <a:xfrm rot="10800000">
              <a:off x="5600975" y="3636805"/>
              <a:ext cx="1342747" cy="816358"/>
              <a:chOff x="4939582" y="2502666"/>
              <a:chExt cx="1609732" cy="1044386"/>
            </a:xfrm>
          </p:grpSpPr>
          <p:sp>
            <p:nvSpPr>
              <p:cNvPr id="1107" name="Arrow: Bent 1106">
                <a:extLst>
                  <a:ext uri="{FF2B5EF4-FFF2-40B4-BE49-F238E27FC236}">
                    <a16:creationId xmlns:a16="http://schemas.microsoft.com/office/drawing/2014/main" id="{9BDE664F-F2B4-43CB-B66B-3A9BACEDF42B}"/>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8" name="Arrow: Chevron 1107">
                <a:extLst>
                  <a:ext uri="{FF2B5EF4-FFF2-40B4-BE49-F238E27FC236}">
                    <a16:creationId xmlns:a16="http://schemas.microsoft.com/office/drawing/2014/main" id="{D5484B2A-2623-4AAF-8E47-883ABBCCD3C3}"/>
                  </a:ext>
                </a:extLst>
              </p:cNvPr>
              <p:cNvSpPr/>
              <p:nvPr/>
            </p:nvSpPr>
            <p:spPr bwMode="auto">
              <a:xfrm>
                <a:off x="6503595" y="3448992"/>
                <a:ext cx="45719" cy="98060"/>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8" name="Group 1057">
              <a:extLst>
                <a:ext uri="{FF2B5EF4-FFF2-40B4-BE49-F238E27FC236}">
                  <a16:creationId xmlns:a16="http://schemas.microsoft.com/office/drawing/2014/main" id="{246C5390-FB4E-4FF2-823A-435E4B00CF8C}"/>
                </a:ext>
              </a:extLst>
            </p:cNvPr>
            <p:cNvGrpSpPr/>
            <p:nvPr/>
          </p:nvGrpSpPr>
          <p:grpSpPr>
            <a:xfrm>
              <a:off x="6773544" y="4510570"/>
              <a:ext cx="341208" cy="509838"/>
              <a:chOff x="16928640" y="5794182"/>
              <a:chExt cx="333504" cy="498326"/>
            </a:xfrm>
          </p:grpSpPr>
          <p:sp>
            <p:nvSpPr>
              <p:cNvPr id="1101" name="Freeform: Shape 1100">
                <a:extLst>
                  <a:ext uri="{FF2B5EF4-FFF2-40B4-BE49-F238E27FC236}">
                    <a16:creationId xmlns:a16="http://schemas.microsoft.com/office/drawing/2014/main" id="{2813D9E9-4C20-4CB7-BAE0-3ECF8D842182}"/>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1102" name="Straight Connector 1101">
                <a:extLst>
                  <a:ext uri="{FF2B5EF4-FFF2-40B4-BE49-F238E27FC236}">
                    <a16:creationId xmlns:a16="http://schemas.microsoft.com/office/drawing/2014/main" id="{FA8D7EB4-2980-478E-8C9E-4DC19BDF9FA6}"/>
                  </a:ext>
                </a:extLst>
              </p:cNvPr>
              <p:cNvCxnSpPr/>
              <p:nvPr/>
            </p:nvCxnSpPr>
            <p:spPr>
              <a:xfrm>
                <a:off x="17027338" y="6179152"/>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3" name="Straight Connector 1102">
                <a:extLst>
                  <a:ext uri="{FF2B5EF4-FFF2-40B4-BE49-F238E27FC236}">
                    <a16:creationId xmlns:a16="http://schemas.microsoft.com/office/drawing/2014/main" id="{556BAD13-B487-4EE3-80F2-A318C9B8B787}"/>
                  </a:ext>
                </a:extLst>
              </p:cNvPr>
              <p:cNvCxnSpPr/>
              <p:nvPr/>
            </p:nvCxnSpPr>
            <p:spPr>
              <a:xfrm>
                <a:off x="17027338" y="6218937"/>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4" name="Straight Connector 1103">
                <a:extLst>
                  <a:ext uri="{FF2B5EF4-FFF2-40B4-BE49-F238E27FC236}">
                    <a16:creationId xmlns:a16="http://schemas.microsoft.com/office/drawing/2014/main" id="{6696A62E-0A1B-4215-9BC3-9BC7CB890136}"/>
                  </a:ext>
                </a:extLst>
              </p:cNvPr>
              <p:cNvCxnSpPr/>
              <p:nvPr/>
            </p:nvCxnSpPr>
            <p:spPr>
              <a:xfrm>
                <a:off x="17027338" y="6255640"/>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5" name="Straight Connector 1104">
                <a:extLst>
                  <a:ext uri="{FF2B5EF4-FFF2-40B4-BE49-F238E27FC236}">
                    <a16:creationId xmlns:a16="http://schemas.microsoft.com/office/drawing/2014/main" id="{00AA5AED-038B-419C-849E-8F2D60A58ED4}"/>
                  </a:ext>
                </a:extLst>
              </p:cNvPr>
              <p:cNvCxnSpPr/>
              <p:nvPr/>
            </p:nvCxnSpPr>
            <p:spPr>
              <a:xfrm>
                <a:off x="17070997" y="6292508"/>
                <a:ext cx="54790" cy="0"/>
              </a:xfrm>
              <a:prstGeom prst="line">
                <a:avLst/>
              </a:prstGeom>
              <a:noFill/>
              <a:ln w="19050" cap="rnd" cmpd="sng" algn="ctr">
                <a:solidFill>
                  <a:schemeClr val="tx1"/>
                </a:solidFill>
                <a:prstDash val="solid"/>
                <a:headEnd type="none" w="med" len="med"/>
                <a:tailEnd type="none" w="med" len="med"/>
              </a:ln>
              <a:effectLst/>
            </p:spPr>
          </p:cxnSp>
          <p:sp>
            <p:nvSpPr>
              <p:cNvPr id="1106" name="Freeform: Shape 1105">
                <a:extLst>
                  <a:ext uri="{FF2B5EF4-FFF2-40B4-BE49-F238E27FC236}">
                    <a16:creationId xmlns:a16="http://schemas.microsoft.com/office/drawing/2014/main" id="{31CBCBD9-ECFB-4EC0-A122-D520B8B6C6BA}"/>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59" name="Group 1058">
              <a:extLst>
                <a:ext uri="{FF2B5EF4-FFF2-40B4-BE49-F238E27FC236}">
                  <a16:creationId xmlns:a16="http://schemas.microsoft.com/office/drawing/2014/main" id="{21E58C00-89C0-406A-98E6-0C0FD6A804B6}"/>
                </a:ext>
              </a:extLst>
            </p:cNvPr>
            <p:cNvGrpSpPr/>
            <p:nvPr/>
          </p:nvGrpSpPr>
          <p:grpSpPr>
            <a:xfrm>
              <a:off x="5681754" y="3938906"/>
              <a:ext cx="746127" cy="740828"/>
              <a:chOff x="4083667" y="1605730"/>
              <a:chExt cx="4436878" cy="4405367"/>
            </a:xfrm>
          </p:grpSpPr>
          <p:grpSp>
            <p:nvGrpSpPr>
              <p:cNvPr id="1060" name="Group 1059">
                <a:extLst>
                  <a:ext uri="{FF2B5EF4-FFF2-40B4-BE49-F238E27FC236}">
                    <a16:creationId xmlns:a16="http://schemas.microsoft.com/office/drawing/2014/main" id="{4357EC1E-6D9F-42B1-B506-466B1687D675}"/>
                  </a:ext>
                </a:extLst>
              </p:cNvPr>
              <p:cNvGrpSpPr/>
              <p:nvPr/>
            </p:nvGrpSpPr>
            <p:grpSpPr>
              <a:xfrm>
                <a:off x="4083667" y="1605730"/>
                <a:ext cx="4436878" cy="4405367"/>
                <a:chOff x="5569928" y="3877460"/>
                <a:chExt cx="956602" cy="949809"/>
              </a:xfrm>
            </p:grpSpPr>
            <p:sp>
              <p:nvSpPr>
                <p:cNvPr id="1085" name="Rectangle 1084">
                  <a:extLst>
                    <a:ext uri="{FF2B5EF4-FFF2-40B4-BE49-F238E27FC236}">
                      <a16:creationId xmlns:a16="http://schemas.microsoft.com/office/drawing/2014/main" id="{33669B9E-BAD9-4E0C-8F41-83770429DB55}"/>
                    </a:ext>
                  </a:extLst>
                </p:cNvPr>
                <p:cNvSpPr/>
                <p:nvPr/>
              </p:nvSpPr>
              <p:spPr bwMode="auto">
                <a:xfrm>
                  <a:off x="5569928"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6" name="Rectangle 1085">
                  <a:extLst>
                    <a:ext uri="{FF2B5EF4-FFF2-40B4-BE49-F238E27FC236}">
                      <a16:creationId xmlns:a16="http://schemas.microsoft.com/office/drawing/2014/main" id="{972F9435-867B-4D8E-A10D-6A93CAA5F0F4}"/>
                    </a:ext>
                  </a:extLst>
                </p:cNvPr>
                <p:cNvSpPr/>
                <p:nvPr/>
              </p:nvSpPr>
              <p:spPr bwMode="auto">
                <a:xfrm>
                  <a:off x="5898565"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7" name="Rectangle 1086">
                  <a:extLst>
                    <a:ext uri="{FF2B5EF4-FFF2-40B4-BE49-F238E27FC236}">
                      <a16:creationId xmlns:a16="http://schemas.microsoft.com/office/drawing/2014/main" id="{ADCAA8CC-54C1-4D4D-A74A-72BBF9EFF02B}"/>
                    </a:ext>
                  </a:extLst>
                </p:cNvPr>
                <p:cNvSpPr/>
                <p:nvPr/>
              </p:nvSpPr>
              <p:spPr bwMode="auto">
                <a:xfrm>
                  <a:off x="6242487"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8" name="Rectangle 1087">
                  <a:extLst>
                    <a:ext uri="{FF2B5EF4-FFF2-40B4-BE49-F238E27FC236}">
                      <a16:creationId xmlns:a16="http://schemas.microsoft.com/office/drawing/2014/main" id="{DBE58345-D4C2-47BB-AA49-350D868EF916}"/>
                    </a:ext>
                  </a:extLst>
                </p:cNvPr>
                <p:cNvSpPr/>
                <p:nvPr/>
              </p:nvSpPr>
              <p:spPr bwMode="auto">
                <a:xfrm>
                  <a:off x="556992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9" name="Rectangle 1088">
                  <a:extLst>
                    <a:ext uri="{FF2B5EF4-FFF2-40B4-BE49-F238E27FC236}">
                      <a16:creationId xmlns:a16="http://schemas.microsoft.com/office/drawing/2014/main" id="{05F2E793-FFEB-4ED4-8E43-CB882DC39645}"/>
                    </a:ext>
                  </a:extLst>
                </p:cNvPr>
                <p:cNvSpPr/>
                <p:nvPr/>
              </p:nvSpPr>
              <p:spPr bwMode="auto">
                <a:xfrm>
                  <a:off x="5898565" y="4207476"/>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0" name="Rectangle 1089">
                  <a:extLst>
                    <a:ext uri="{FF2B5EF4-FFF2-40B4-BE49-F238E27FC236}">
                      <a16:creationId xmlns:a16="http://schemas.microsoft.com/office/drawing/2014/main" id="{C524AA54-F8B5-4F3A-BEB9-757A57573D70}"/>
                    </a:ext>
                  </a:extLst>
                </p:cNvPr>
                <p:cNvSpPr/>
                <p:nvPr/>
              </p:nvSpPr>
              <p:spPr bwMode="auto">
                <a:xfrm>
                  <a:off x="624248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1" name="Rectangle 1090">
                  <a:extLst>
                    <a:ext uri="{FF2B5EF4-FFF2-40B4-BE49-F238E27FC236}">
                      <a16:creationId xmlns:a16="http://schemas.microsoft.com/office/drawing/2014/main" id="{6F50DEA1-C53E-4E82-8067-07672AB0DF02}"/>
                    </a:ext>
                  </a:extLst>
                </p:cNvPr>
                <p:cNvSpPr/>
                <p:nvPr/>
              </p:nvSpPr>
              <p:spPr bwMode="auto">
                <a:xfrm>
                  <a:off x="556992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2" name="Rectangle 1091">
                  <a:extLst>
                    <a:ext uri="{FF2B5EF4-FFF2-40B4-BE49-F238E27FC236}">
                      <a16:creationId xmlns:a16="http://schemas.microsoft.com/office/drawing/2014/main" id="{143753E5-605A-4DAD-BF09-88306CF81F45}"/>
                    </a:ext>
                  </a:extLst>
                </p:cNvPr>
                <p:cNvSpPr/>
                <p:nvPr/>
              </p:nvSpPr>
              <p:spPr bwMode="auto">
                <a:xfrm>
                  <a:off x="5898565"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3" name="Rectangle 1092">
                  <a:extLst>
                    <a:ext uri="{FF2B5EF4-FFF2-40B4-BE49-F238E27FC236}">
                      <a16:creationId xmlns:a16="http://schemas.microsoft.com/office/drawing/2014/main" id="{8684F0AA-1107-42D3-AC89-287A4AA125FD}"/>
                    </a:ext>
                  </a:extLst>
                </p:cNvPr>
                <p:cNvSpPr/>
                <p:nvPr/>
              </p:nvSpPr>
              <p:spPr bwMode="auto">
                <a:xfrm>
                  <a:off x="624248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4" name="Rectangle 1093">
                  <a:extLst>
                    <a:ext uri="{FF2B5EF4-FFF2-40B4-BE49-F238E27FC236}">
                      <a16:creationId xmlns:a16="http://schemas.microsoft.com/office/drawing/2014/main" id="{817EAEEB-81AA-440A-8875-560CFFF7AF4D}"/>
                    </a:ext>
                  </a:extLst>
                </p:cNvPr>
                <p:cNvSpPr/>
                <p:nvPr/>
              </p:nvSpPr>
              <p:spPr bwMode="auto">
                <a:xfrm>
                  <a:off x="5840730" y="4152900"/>
                  <a:ext cx="685800" cy="674369"/>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95" name="Group 1094">
                  <a:extLst>
                    <a:ext uri="{FF2B5EF4-FFF2-40B4-BE49-F238E27FC236}">
                      <a16:creationId xmlns:a16="http://schemas.microsoft.com/office/drawing/2014/main" id="{D17CDBB3-0374-451D-9DF8-A6FEE0F34D9B}"/>
                    </a:ext>
                  </a:extLst>
                </p:cNvPr>
                <p:cNvGrpSpPr/>
                <p:nvPr/>
              </p:nvGrpSpPr>
              <p:grpSpPr>
                <a:xfrm>
                  <a:off x="6124197" y="4318516"/>
                  <a:ext cx="108973" cy="337516"/>
                  <a:chOff x="6124189" y="4318516"/>
                  <a:chExt cx="118300" cy="337516"/>
                </a:xfrm>
              </p:grpSpPr>
              <p:cxnSp>
                <p:nvCxnSpPr>
                  <p:cNvPr id="1099" name="Straight Connector 1098">
                    <a:extLst>
                      <a:ext uri="{FF2B5EF4-FFF2-40B4-BE49-F238E27FC236}">
                        <a16:creationId xmlns:a16="http://schemas.microsoft.com/office/drawing/2014/main" id="{9BF763C3-1891-4977-A0DB-6A5802A3AABC}"/>
                      </a:ext>
                    </a:extLst>
                  </p:cNvPr>
                  <p:cNvCxnSpPr>
                    <a:cxnSpLocks/>
                    <a:stCxn id="1089" idx="3"/>
                    <a:endCxn id="1090" idx="1"/>
                  </p:cNvCxnSpPr>
                  <p:nvPr/>
                </p:nvCxnSpPr>
                <p:spPr>
                  <a:xfrm>
                    <a:off x="6124189" y="4318516"/>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100" name="Straight Connector 1099">
                    <a:extLst>
                      <a:ext uri="{FF2B5EF4-FFF2-40B4-BE49-F238E27FC236}">
                        <a16:creationId xmlns:a16="http://schemas.microsoft.com/office/drawing/2014/main" id="{6F382588-6057-4029-B295-279C9DAE7E6F}"/>
                      </a:ext>
                    </a:extLst>
                  </p:cNvPr>
                  <p:cNvCxnSpPr>
                    <a:cxnSpLocks/>
                    <a:stCxn id="1092" idx="3"/>
                    <a:endCxn id="1093" idx="1"/>
                  </p:cNvCxnSpPr>
                  <p:nvPr/>
                </p:nvCxnSpPr>
                <p:spPr>
                  <a:xfrm>
                    <a:off x="6124189" y="4656032"/>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cxnSp>
              <p:nvCxnSpPr>
                <p:cNvPr id="1096" name="Straight Connector 1095">
                  <a:extLst>
                    <a:ext uri="{FF2B5EF4-FFF2-40B4-BE49-F238E27FC236}">
                      <a16:creationId xmlns:a16="http://schemas.microsoft.com/office/drawing/2014/main" id="{3EA1748D-0DC4-4372-8E59-B55E580DAC20}"/>
                    </a:ext>
                  </a:extLst>
                </p:cNvPr>
                <p:cNvCxnSpPr>
                  <a:cxnSpLocks/>
                  <a:stCxn id="1089" idx="2"/>
                  <a:endCxn id="1092" idx="0"/>
                </p:cNvCxnSpPr>
                <p:nvPr/>
              </p:nvCxnSpPr>
              <p:spPr>
                <a:xfrm>
                  <a:off x="6011377"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097" name="Straight Connector 1096">
                  <a:extLst>
                    <a:ext uri="{FF2B5EF4-FFF2-40B4-BE49-F238E27FC236}">
                      <a16:creationId xmlns:a16="http://schemas.microsoft.com/office/drawing/2014/main" id="{FA19B58F-B53C-42D5-8709-2E889699CE31}"/>
                    </a:ext>
                  </a:extLst>
                </p:cNvPr>
                <p:cNvCxnSpPr>
                  <a:cxnSpLocks/>
                </p:cNvCxnSpPr>
                <p:nvPr/>
              </p:nvCxnSpPr>
              <p:spPr>
                <a:xfrm>
                  <a:off x="6355299"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098" name="Straight Connector 1097">
                  <a:extLst>
                    <a:ext uri="{FF2B5EF4-FFF2-40B4-BE49-F238E27FC236}">
                      <a16:creationId xmlns:a16="http://schemas.microsoft.com/office/drawing/2014/main" id="{2756C57E-B38D-41BF-A9AC-B175E6B9A1AD}"/>
                    </a:ext>
                  </a:extLst>
                </p:cNvPr>
                <p:cNvCxnSpPr>
                  <a:cxnSpLocks/>
                </p:cNvCxnSpPr>
                <p:nvPr/>
              </p:nvCxnSpPr>
              <p:spPr>
                <a:xfrm flipH="1">
                  <a:off x="6126481" y="4429125"/>
                  <a:ext cx="110489" cy="11620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grpSp>
            <p:nvGrpSpPr>
              <p:cNvPr id="1061" name="Group 1060">
                <a:extLst>
                  <a:ext uri="{FF2B5EF4-FFF2-40B4-BE49-F238E27FC236}">
                    <a16:creationId xmlns:a16="http://schemas.microsoft.com/office/drawing/2014/main" id="{A9F10B26-151F-4E96-8C80-13C5760070ED}"/>
                  </a:ext>
                </a:extLst>
              </p:cNvPr>
              <p:cNvGrpSpPr/>
              <p:nvPr/>
            </p:nvGrpSpPr>
            <p:grpSpPr>
              <a:xfrm>
                <a:off x="5703853" y="3200400"/>
                <a:ext cx="863303" cy="878977"/>
                <a:chOff x="5703853" y="3200400"/>
                <a:chExt cx="863303" cy="878977"/>
              </a:xfrm>
            </p:grpSpPr>
            <p:cxnSp>
              <p:nvCxnSpPr>
                <p:cNvPr id="1080" name="Straight Connector 1079">
                  <a:extLst>
                    <a:ext uri="{FF2B5EF4-FFF2-40B4-BE49-F238E27FC236}">
                      <a16:creationId xmlns:a16="http://schemas.microsoft.com/office/drawing/2014/main" id="{89E74352-6617-416D-AD3C-B696E7E82E11}"/>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81" name="Straight Connector 1080">
                  <a:extLst>
                    <a:ext uri="{FF2B5EF4-FFF2-40B4-BE49-F238E27FC236}">
                      <a16:creationId xmlns:a16="http://schemas.microsoft.com/office/drawing/2014/main" id="{78B7DD6E-D278-432E-9A3E-61A93542A60F}"/>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82" name="Straight Connector 1081">
                  <a:extLst>
                    <a:ext uri="{FF2B5EF4-FFF2-40B4-BE49-F238E27FC236}">
                      <a16:creationId xmlns:a16="http://schemas.microsoft.com/office/drawing/2014/main" id="{579D0745-64DD-4E2C-BDB5-C4EA8CEE2C44}"/>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83" name="Straight Connector 1082">
                  <a:extLst>
                    <a:ext uri="{FF2B5EF4-FFF2-40B4-BE49-F238E27FC236}">
                      <a16:creationId xmlns:a16="http://schemas.microsoft.com/office/drawing/2014/main" id="{E828B174-2A0A-483C-A082-FA62E5083823}"/>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84" name="Straight Connector 1083">
                  <a:extLst>
                    <a:ext uri="{FF2B5EF4-FFF2-40B4-BE49-F238E27FC236}">
                      <a16:creationId xmlns:a16="http://schemas.microsoft.com/office/drawing/2014/main" id="{9CE4803C-9C65-48CF-97FA-5FC1C6E3AB49}"/>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2" name="Group 1061">
                <a:extLst>
                  <a:ext uri="{FF2B5EF4-FFF2-40B4-BE49-F238E27FC236}">
                    <a16:creationId xmlns:a16="http://schemas.microsoft.com/office/drawing/2014/main" id="{6FA67E65-A7C2-4A39-802C-16BAB970C474}"/>
                  </a:ext>
                </a:extLst>
              </p:cNvPr>
              <p:cNvGrpSpPr/>
              <p:nvPr/>
            </p:nvGrpSpPr>
            <p:grpSpPr>
              <a:xfrm>
                <a:off x="7294695" y="3200400"/>
                <a:ext cx="863303" cy="878977"/>
                <a:chOff x="5703853" y="3200400"/>
                <a:chExt cx="863303" cy="878977"/>
              </a:xfrm>
            </p:grpSpPr>
            <p:cxnSp>
              <p:nvCxnSpPr>
                <p:cNvPr id="1075" name="Straight Connector 1074">
                  <a:extLst>
                    <a:ext uri="{FF2B5EF4-FFF2-40B4-BE49-F238E27FC236}">
                      <a16:creationId xmlns:a16="http://schemas.microsoft.com/office/drawing/2014/main" id="{3C78F874-1F0C-4D7C-91F2-05F5641EC4C3}"/>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76" name="Straight Connector 1075">
                  <a:extLst>
                    <a:ext uri="{FF2B5EF4-FFF2-40B4-BE49-F238E27FC236}">
                      <a16:creationId xmlns:a16="http://schemas.microsoft.com/office/drawing/2014/main" id="{4888B1FE-14CA-4078-B2FB-355791F8BC83}"/>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77" name="Straight Connector 1076">
                  <a:extLst>
                    <a:ext uri="{FF2B5EF4-FFF2-40B4-BE49-F238E27FC236}">
                      <a16:creationId xmlns:a16="http://schemas.microsoft.com/office/drawing/2014/main" id="{6525FF14-9B91-49B1-82F0-385777859DC6}"/>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78" name="Straight Connector 1077">
                  <a:extLst>
                    <a:ext uri="{FF2B5EF4-FFF2-40B4-BE49-F238E27FC236}">
                      <a16:creationId xmlns:a16="http://schemas.microsoft.com/office/drawing/2014/main" id="{B326DDB3-0793-4F49-ADBA-CB3FA5698308}"/>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79" name="Straight Connector 1078">
                  <a:extLst>
                    <a:ext uri="{FF2B5EF4-FFF2-40B4-BE49-F238E27FC236}">
                      <a16:creationId xmlns:a16="http://schemas.microsoft.com/office/drawing/2014/main" id="{DC91DBF8-4684-4013-929B-B41F9566D77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3" name="Group 1062">
                <a:extLst>
                  <a:ext uri="{FF2B5EF4-FFF2-40B4-BE49-F238E27FC236}">
                    <a16:creationId xmlns:a16="http://schemas.microsoft.com/office/drawing/2014/main" id="{AF6C803A-D2BA-4F16-8530-77B6BAAA280F}"/>
                  </a:ext>
                </a:extLst>
              </p:cNvPr>
              <p:cNvGrpSpPr/>
              <p:nvPr/>
            </p:nvGrpSpPr>
            <p:grpSpPr>
              <a:xfrm>
                <a:off x="7294695" y="4772549"/>
                <a:ext cx="863303" cy="878977"/>
                <a:chOff x="5703853" y="3200400"/>
                <a:chExt cx="863303" cy="878977"/>
              </a:xfrm>
            </p:grpSpPr>
            <p:cxnSp>
              <p:nvCxnSpPr>
                <p:cNvPr id="1070" name="Straight Connector 1069">
                  <a:extLst>
                    <a:ext uri="{FF2B5EF4-FFF2-40B4-BE49-F238E27FC236}">
                      <a16:creationId xmlns:a16="http://schemas.microsoft.com/office/drawing/2014/main" id="{24DAE4F1-86F9-4E27-81E2-8E7ABE63240F}"/>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71" name="Straight Connector 1070">
                  <a:extLst>
                    <a:ext uri="{FF2B5EF4-FFF2-40B4-BE49-F238E27FC236}">
                      <a16:creationId xmlns:a16="http://schemas.microsoft.com/office/drawing/2014/main" id="{C5CA6BF1-3CD1-4E6B-AF16-5B17150B3ABB}"/>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72" name="Straight Connector 1071">
                  <a:extLst>
                    <a:ext uri="{FF2B5EF4-FFF2-40B4-BE49-F238E27FC236}">
                      <a16:creationId xmlns:a16="http://schemas.microsoft.com/office/drawing/2014/main" id="{34B0E76A-3221-4EAC-A6BD-C3E49CF19162}"/>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73" name="Straight Connector 1072">
                  <a:extLst>
                    <a:ext uri="{FF2B5EF4-FFF2-40B4-BE49-F238E27FC236}">
                      <a16:creationId xmlns:a16="http://schemas.microsoft.com/office/drawing/2014/main" id="{7505F7C9-22A7-4105-93D7-71F8CB786BB8}"/>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74" name="Straight Connector 1073">
                  <a:extLst>
                    <a:ext uri="{FF2B5EF4-FFF2-40B4-BE49-F238E27FC236}">
                      <a16:creationId xmlns:a16="http://schemas.microsoft.com/office/drawing/2014/main" id="{0B41119B-D5EA-4A50-A274-65EA92DF83A9}"/>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4" name="Group 1063">
                <a:extLst>
                  <a:ext uri="{FF2B5EF4-FFF2-40B4-BE49-F238E27FC236}">
                    <a16:creationId xmlns:a16="http://schemas.microsoft.com/office/drawing/2014/main" id="{3B515185-9EED-4C82-BF88-FCAD6574FE6E}"/>
                  </a:ext>
                </a:extLst>
              </p:cNvPr>
              <p:cNvGrpSpPr/>
              <p:nvPr/>
            </p:nvGrpSpPr>
            <p:grpSpPr>
              <a:xfrm>
                <a:off x="5703853" y="4772549"/>
                <a:ext cx="863303" cy="878977"/>
                <a:chOff x="5703853" y="3200400"/>
                <a:chExt cx="863303" cy="878977"/>
              </a:xfrm>
            </p:grpSpPr>
            <p:cxnSp>
              <p:nvCxnSpPr>
                <p:cNvPr id="1065" name="Straight Connector 1064">
                  <a:extLst>
                    <a:ext uri="{FF2B5EF4-FFF2-40B4-BE49-F238E27FC236}">
                      <a16:creationId xmlns:a16="http://schemas.microsoft.com/office/drawing/2014/main" id="{FB08AAE2-101E-4ABE-B516-1B3F5A066419}"/>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66" name="Straight Connector 1065">
                  <a:extLst>
                    <a:ext uri="{FF2B5EF4-FFF2-40B4-BE49-F238E27FC236}">
                      <a16:creationId xmlns:a16="http://schemas.microsoft.com/office/drawing/2014/main" id="{72C25E07-A22D-40A3-BE96-345A1601D6AC}"/>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67" name="Straight Connector 1066">
                  <a:extLst>
                    <a:ext uri="{FF2B5EF4-FFF2-40B4-BE49-F238E27FC236}">
                      <a16:creationId xmlns:a16="http://schemas.microsoft.com/office/drawing/2014/main" id="{4F62E80B-A066-40C5-BD53-4B4C5C7F9C9B}"/>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68" name="Straight Connector 1067">
                  <a:extLst>
                    <a:ext uri="{FF2B5EF4-FFF2-40B4-BE49-F238E27FC236}">
                      <a16:creationId xmlns:a16="http://schemas.microsoft.com/office/drawing/2014/main" id="{77FBBDDA-452E-4FBA-A478-6E491A66FED6}"/>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69" name="Straight Connector 1068">
                  <a:extLst>
                    <a:ext uri="{FF2B5EF4-FFF2-40B4-BE49-F238E27FC236}">
                      <a16:creationId xmlns:a16="http://schemas.microsoft.com/office/drawing/2014/main" id="{840FFBD7-1BC2-4CF3-8F68-2A079A7F7DCB}"/>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grpSp>
      <p:pic>
        <p:nvPicPr>
          <p:cNvPr id="1115" name="Picture 1114">
            <a:extLst>
              <a:ext uri="{FF2B5EF4-FFF2-40B4-BE49-F238E27FC236}">
                <a16:creationId xmlns:a16="http://schemas.microsoft.com/office/drawing/2014/main" id="{CED1E454-1791-4F43-A0ED-3829D7A71AE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22800" y="1327414"/>
            <a:ext cx="479070" cy="558912"/>
          </a:xfrm>
          <a:prstGeom prst="rect">
            <a:avLst/>
          </a:prstGeom>
        </p:spPr>
      </p:pic>
      <p:grpSp>
        <p:nvGrpSpPr>
          <p:cNvPr id="1116" name="Group 1115">
            <a:extLst>
              <a:ext uri="{FF2B5EF4-FFF2-40B4-BE49-F238E27FC236}">
                <a16:creationId xmlns:a16="http://schemas.microsoft.com/office/drawing/2014/main" id="{A5D3BD21-9797-4A00-BF7E-0E87B03CECE3}"/>
              </a:ext>
            </a:extLst>
          </p:cNvPr>
          <p:cNvGrpSpPr/>
          <p:nvPr/>
        </p:nvGrpSpPr>
        <p:grpSpPr>
          <a:xfrm>
            <a:off x="5421578" y="2446120"/>
            <a:ext cx="1611151" cy="706395"/>
            <a:chOff x="2799720" y="2025951"/>
            <a:chExt cx="810016" cy="355144"/>
          </a:xfrm>
        </p:grpSpPr>
        <p:sp>
          <p:nvSpPr>
            <p:cNvPr id="1117" name="Beaker_F196" title="Icon of a scientific flask with liquid in it">
              <a:extLst>
                <a:ext uri="{FF2B5EF4-FFF2-40B4-BE49-F238E27FC236}">
                  <a16:creationId xmlns:a16="http://schemas.microsoft.com/office/drawing/2014/main" id="{D42F444C-F9A9-45A9-AD31-DFB44BA7FC23}"/>
                </a:ext>
              </a:extLst>
            </p:cNvPr>
            <p:cNvSpPr>
              <a:spLocks noChangeAspect="1" noEditPoints="1"/>
            </p:cNvSpPr>
            <p:nvPr/>
          </p:nvSpPr>
          <p:spPr bwMode="auto">
            <a:xfrm>
              <a:off x="3313381" y="2032316"/>
              <a:ext cx="296355" cy="342418"/>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18" name="3D" title="Icon of a 3D box with square points on each corner">
              <a:extLst>
                <a:ext uri="{FF2B5EF4-FFF2-40B4-BE49-F238E27FC236}">
                  <a16:creationId xmlns:a16="http://schemas.microsoft.com/office/drawing/2014/main" id="{76B099F8-9C46-4ED6-B5F6-DC3EFEE5136B}"/>
                </a:ext>
              </a:extLst>
            </p:cNvPr>
            <p:cNvSpPr>
              <a:spLocks noChangeAspect="1" noEditPoints="1"/>
            </p:cNvSpPr>
            <p:nvPr/>
          </p:nvSpPr>
          <p:spPr bwMode="auto">
            <a:xfrm>
              <a:off x="2799720" y="2025951"/>
              <a:ext cx="332133" cy="355144"/>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119" name="Oval 1118">
            <a:extLst>
              <a:ext uri="{FF2B5EF4-FFF2-40B4-BE49-F238E27FC236}">
                <a16:creationId xmlns:a16="http://schemas.microsoft.com/office/drawing/2014/main" id="{E30F7AF6-CA92-43DC-B051-6BDF4FB5842F}"/>
              </a:ext>
            </a:extLst>
          </p:cNvPr>
          <p:cNvSpPr/>
          <p:nvPr/>
        </p:nvSpPr>
        <p:spPr bwMode="auto">
          <a:xfrm>
            <a:off x="10777236"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120" name="TextBox 1119">
            <a:extLst>
              <a:ext uri="{FF2B5EF4-FFF2-40B4-BE49-F238E27FC236}">
                <a16:creationId xmlns:a16="http://schemas.microsoft.com/office/drawing/2014/main" id="{3068291E-B06C-4B00-BDEE-AD5D23E83762}"/>
              </a:ext>
            </a:extLst>
          </p:cNvPr>
          <p:cNvSpPr txBox="1"/>
          <p:nvPr/>
        </p:nvSpPr>
        <p:spPr>
          <a:xfrm>
            <a:off x="10913199" y="2042183"/>
            <a:ext cx="870253" cy="12311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CI</a:t>
            </a:r>
          </a:p>
        </p:txBody>
      </p:sp>
      <p:grpSp>
        <p:nvGrpSpPr>
          <p:cNvPr id="1163" name="Group 1162">
            <a:extLst>
              <a:ext uri="{FF2B5EF4-FFF2-40B4-BE49-F238E27FC236}">
                <a16:creationId xmlns:a16="http://schemas.microsoft.com/office/drawing/2014/main" id="{B1D9E037-FD95-4891-B392-2128531BCD79}"/>
              </a:ext>
            </a:extLst>
          </p:cNvPr>
          <p:cNvGrpSpPr/>
          <p:nvPr/>
        </p:nvGrpSpPr>
        <p:grpSpPr>
          <a:xfrm>
            <a:off x="9741049" y="2133600"/>
            <a:ext cx="757352" cy="631882"/>
            <a:chOff x="7929993" y="1754544"/>
            <a:chExt cx="520586" cy="434343"/>
          </a:xfrm>
        </p:grpSpPr>
        <p:sp>
          <p:nvSpPr>
            <p:cNvPr id="1164" name="Trapezoid 1163">
              <a:extLst>
                <a:ext uri="{FF2B5EF4-FFF2-40B4-BE49-F238E27FC236}">
                  <a16:creationId xmlns:a16="http://schemas.microsoft.com/office/drawing/2014/main" id="{57B48E29-D22C-43FA-A14E-C6F154A7B66A}"/>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5" name="Trapezoid 1164">
              <a:extLst>
                <a:ext uri="{FF2B5EF4-FFF2-40B4-BE49-F238E27FC236}">
                  <a16:creationId xmlns:a16="http://schemas.microsoft.com/office/drawing/2014/main" id="{7F252888-EAC5-413F-AD12-143F7D639920}"/>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166" name="Straight Connector 1165">
              <a:extLst>
                <a:ext uri="{FF2B5EF4-FFF2-40B4-BE49-F238E27FC236}">
                  <a16:creationId xmlns:a16="http://schemas.microsoft.com/office/drawing/2014/main" id="{26708A1B-1A26-492A-A8B1-CCACDB570111}"/>
                </a:ext>
              </a:extLst>
            </p:cNvPr>
            <p:cNvCxnSpPr>
              <a:cxnSpLocks/>
              <a:stCxn id="1164" idx="3"/>
              <a:endCxn id="116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10" name="Rectangle 1209">
            <a:extLst>
              <a:ext uri="{FF2B5EF4-FFF2-40B4-BE49-F238E27FC236}">
                <a16:creationId xmlns:a16="http://schemas.microsoft.com/office/drawing/2014/main" id="{9091291C-14D2-42AF-8810-0A6C4CD9C09C}"/>
              </a:ext>
            </a:extLst>
          </p:cNvPr>
          <p:cNvSpPr/>
          <p:nvPr/>
        </p:nvSpPr>
        <p:spPr bwMode="auto">
          <a:xfrm>
            <a:off x="9854024" y="3748573"/>
            <a:ext cx="644374" cy="161583"/>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05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IoT edge</a:t>
            </a:r>
          </a:p>
        </p:txBody>
      </p:sp>
      <p:grpSp>
        <p:nvGrpSpPr>
          <p:cNvPr id="1211" name="Group 1210">
            <a:extLst>
              <a:ext uri="{FF2B5EF4-FFF2-40B4-BE49-F238E27FC236}">
                <a16:creationId xmlns:a16="http://schemas.microsoft.com/office/drawing/2014/main" id="{8B2D04D7-C907-4895-968F-90A69E62127B}"/>
              </a:ext>
            </a:extLst>
          </p:cNvPr>
          <p:cNvGrpSpPr/>
          <p:nvPr/>
        </p:nvGrpSpPr>
        <p:grpSpPr>
          <a:xfrm>
            <a:off x="9910306" y="3219416"/>
            <a:ext cx="418829" cy="467775"/>
            <a:chOff x="-4151172" y="-1757493"/>
            <a:chExt cx="2559241" cy="2858335"/>
          </a:xfrm>
        </p:grpSpPr>
        <p:sp>
          <p:nvSpPr>
            <p:cNvPr id="1212" name="Rectangle: Rounded Corners 1211">
              <a:extLst>
                <a:ext uri="{FF2B5EF4-FFF2-40B4-BE49-F238E27FC236}">
                  <a16:creationId xmlns:a16="http://schemas.microsoft.com/office/drawing/2014/main" id="{D3CC7F7C-DFC5-4A08-A896-063726B498D2}"/>
                </a:ext>
              </a:extLst>
            </p:cNvPr>
            <p:cNvSpPr/>
            <p:nvPr/>
          </p:nvSpPr>
          <p:spPr bwMode="auto">
            <a:xfrm rot="20626360">
              <a:off x="-3046592" y="-1757493"/>
              <a:ext cx="471683" cy="47168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3" name="Rectangle: Rounded Corners 1212">
              <a:extLst>
                <a:ext uri="{FF2B5EF4-FFF2-40B4-BE49-F238E27FC236}">
                  <a16:creationId xmlns:a16="http://schemas.microsoft.com/office/drawing/2014/main" id="{2FC0371B-EF91-46D7-9464-92071D19A11E}"/>
                </a:ext>
              </a:extLst>
            </p:cNvPr>
            <p:cNvSpPr/>
            <p:nvPr/>
          </p:nvSpPr>
          <p:spPr bwMode="auto">
            <a:xfrm>
              <a:off x="-2749798" y="-590550"/>
              <a:ext cx="584705" cy="58470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4" name="Rectangle: Rounded Corners 1213">
              <a:extLst>
                <a:ext uri="{FF2B5EF4-FFF2-40B4-BE49-F238E27FC236}">
                  <a16:creationId xmlns:a16="http://schemas.microsoft.com/office/drawing/2014/main" id="{38384EAF-EE17-46F0-BF16-A3ABE1FA1757}"/>
                </a:ext>
              </a:extLst>
            </p:cNvPr>
            <p:cNvSpPr/>
            <p:nvPr/>
          </p:nvSpPr>
          <p:spPr bwMode="auto">
            <a:xfrm rot="19972402">
              <a:off x="-2063614" y="629159"/>
              <a:ext cx="471683" cy="47168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5" name="Rectangle: Rounded Corners 1214">
              <a:extLst>
                <a:ext uri="{FF2B5EF4-FFF2-40B4-BE49-F238E27FC236}">
                  <a16:creationId xmlns:a16="http://schemas.microsoft.com/office/drawing/2014/main" id="{85AE2989-044D-4149-A59D-12FE21E544D2}"/>
                </a:ext>
              </a:extLst>
            </p:cNvPr>
            <p:cNvSpPr/>
            <p:nvPr/>
          </p:nvSpPr>
          <p:spPr bwMode="auto">
            <a:xfrm rot="1973582">
              <a:off x="-3147736" y="527757"/>
              <a:ext cx="300586" cy="300584"/>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6" name="Rectangle: Rounded Corners 1215">
              <a:extLst>
                <a:ext uri="{FF2B5EF4-FFF2-40B4-BE49-F238E27FC236}">
                  <a16:creationId xmlns:a16="http://schemas.microsoft.com/office/drawing/2014/main" id="{11064751-4E04-4868-B48D-9884DEE5C9FD}"/>
                </a:ext>
              </a:extLst>
            </p:cNvPr>
            <p:cNvSpPr/>
            <p:nvPr/>
          </p:nvSpPr>
          <p:spPr bwMode="auto">
            <a:xfrm rot="17158960">
              <a:off x="-4151173" y="-799639"/>
              <a:ext cx="412211" cy="412209"/>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1217" name="Straight Connector 1216">
              <a:extLst>
                <a:ext uri="{FF2B5EF4-FFF2-40B4-BE49-F238E27FC236}">
                  <a16:creationId xmlns:a16="http://schemas.microsoft.com/office/drawing/2014/main" id="{B4268A32-5452-469D-8AAD-18DA6BB2ECD5}"/>
                </a:ext>
              </a:extLst>
            </p:cNvPr>
            <p:cNvCxnSpPr>
              <a:stCxn id="1212" idx="2"/>
              <a:endCxn id="1213" idx="0"/>
            </p:cNvCxnSpPr>
            <p:nvPr/>
          </p:nvCxnSpPr>
          <p:spPr>
            <a:xfrm>
              <a:off x="-2744844" y="-1295206"/>
              <a:ext cx="287399" cy="7046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8" name="Straight Connector 1217">
              <a:extLst>
                <a:ext uri="{FF2B5EF4-FFF2-40B4-BE49-F238E27FC236}">
                  <a16:creationId xmlns:a16="http://schemas.microsoft.com/office/drawing/2014/main" id="{E51E5FE7-21A1-40E9-BF16-8AF00898A2BF}"/>
                </a:ext>
              </a:extLst>
            </p:cNvPr>
            <p:cNvCxnSpPr>
              <a:cxnSpLocks/>
              <a:stCxn id="1213" idx="2"/>
              <a:endCxn id="1215" idx="0"/>
            </p:cNvCxnSpPr>
            <p:nvPr/>
          </p:nvCxnSpPr>
          <p:spPr>
            <a:xfrm flipH="1">
              <a:off x="-2915824" y="-5847"/>
              <a:ext cx="458379" cy="5576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9" name="Straight Connector 1218">
              <a:extLst>
                <a:ext uri="{FF2B5EF4-FFF2-40B4-BE49-F238E27FC236}">
                  <a16:creationId xmlns:a16="http://schemas.microsoft.com/office/drawing/2014/main" id="{FF0D994E-470B-427C-B4C2-7C6EF239A2D5}"/>
                </a:ext>
              </a:extLst>
            </p:cNvPr>
            <p:cNvCxnSpPr>
              <a:cxnSpLocks/>
            </p:cNvCxnSpPr>
            <p:nvPr/>
          </p:nvCxnSpPr>
          <p:spPr>
            <a:xfrm flipH="1">
              <a:off x="-2265679" y="9884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0" name="Straight Connector 1219">
              <a:extLst>
                <a:ext uri="{FF2B5EF4-FFF2-40B4-BE49-F238E27FC236}">
                  <a16:creationId xmlns:a16="http://schemas.microsoft.com/office/drawing/2014/main" id="{9F12DE58-6333-4F48-875B-F1A1D9865716}"/>
                </a:ext>
              </a:extLst>
            </p:cNvPr>
            <p:cNvCxnSpPr>
              <a:cxnSpLocks/>
            </p:cNvCxnSpPr>
            <p:nvPr/>
          </p:nvCxnSpPr>
          <p:spPr>
            <a:xfrm flipH="1">
              <a:off x="-2168007" y="30310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6CEE876F-C238-4ACA-A7E5-17D21A862D9C}"/>
                </a:ext>
              </a:extLst>
            </p:cNvPr>
            <p:cNvCxnSpPr>
              <a:cxnSpLocks/>
            </p:cNvCxnSpPr>
            <p:nvPr/>
          </p:nvCxnSpPr>
          <p:spPr>
            <a:xfrm flipH="1">
              <a:off x="-2051802" y="51912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2" name="Straight Connector 1221">
              <a:extLst>
                <a:ext uri="{FF2B5EF4-FFF2-40B4-BE49-F238E27FC236}">
                  <a16:creationId xmlns:a16="http://schemas.microsoft.com/office/drawing/2014/main" id="{2528A4BA-6727-4D65-BC3D-059CB0D15066}"/>
                </a:ext>
              </a:extLst>
            </p:cNvPr>
            <p:cNvCxnSpPr>
              <a:cxnSpLocks/>
            </p:cNvCxnSpPr>
            <p:nvPr/>
          </p:nvCxnSpPr>
          <p:spPr>
            <a:xfrm flipH="1">
              <a:off x="-2906065" y="-401232"/>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3" name="Straight Connector 1222">
              <a:extLst>
                <a:ext uri="{FF2B5EF4-FFF2-40B4-BE49-F238E27FC236}">
                  <a16:creationId xmlns:a16="http://schemas.microsoft.com/office/drawing/2014/main" id="{1C56FA2E-AC9E-4CF3-A1DE-16C59EAE0180}"/>
                </a:ext>
              </a:extLst>
            </p:cNvPr>
            <p:cNvCxnSpPr>
              <a:cxnSpLocks/>
            </p:cNvCxnSpPr>
            <p:nvPr/>
          </p:nvCxnSpPr>
          <p:spPr>
            <a:xfrm flipH="1">
              <a:off x="-3144190" y="-452749"/>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4" name="Straight Connector 1223">
              <a:extLst>
                <a:ext uri="{FF2B5EF4-FFF2-40B4-BE49-F238E27FC236}">
                  <a16:creationId xmlns:a16="http://schemas.microsoft.com/office/drawing/2014/main" id="{10C414E0-BB6C-4F85-8E23-B1FDC7501FF2}"/>
                </a:ext>
              </a:extLst>
            </p:cNvPr>
            <p:cNvCxnSpPr>
              <a:cxnSpLocks/>
            </p:cNvCxnSpPr>
            <p:nvPr/>
          </p:nvCxnSpPr>
          <p:spPr>
            <a:xfrm flipH="1">
              <a:off x="-3370106" y="-507354"/>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5" name="Straight Connector 1224">
              <a:extLst>
                <a:ext uri="{FF2B5EF4-FFF2-40B4-BE49-F238E27FC236}">
                  <a16:creationId xmlns:a16="http://schemas.microsoft.com/office/drawing/2014/main" id="{BFD1F7EB-E08B-4ACB-93B6-02404EDB43A3}"/>
                </a:ext>
              </a:extLst>
            </p:cNvPr>
            <p:cNvCxnSpPr>
              <a:cxnSpLocks/>
            </p:cNvCxnSpPr>
            <p:nvPr/>
          </p:nvCxnSpPr>
          <p:spPr>
            <a:xfrm flipH="1">
              <a:off x="-3601639" y="-558871"/>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Freeform: Shape 1">
            <a:extLst>
              <a:ext uri="{FF2B5EF4-FFF2-40B4-BE49-F238E27FC236}">
                <a16:creationId xmlns:a16="http://schemas.microsoft.com/office/drawing/2014/main" id="{11FC9243-7BC9-4D42-8E7A-6BC4CC0DAF03}"/>
              </a:ext>
            </a:extLst>
          </p:cNvPr>
          <p:cNvSpPr/>
          <p:nvPr/>
        </p:nvSpPr>
        <p:spPr bwMode="auto">
          <a:xfrm>
            <a:off x="8263055" y="2560320"/>
            <a:ext cx="1207515" cy="894080"/>
          </a:xfrm>
          <a:custGeom>
            <a:avLst/>
            <a:gdLst>
              <a:gd name="connsiteX0" fmla="*/ 508000 w 1544320"/>
              <a:gd name="connsiteY0" fmla="*/ 0 h 894080"/>
              <a:gd name="connsiteX1" fmla="*/ 0 w 1544320"/>
              <a:gd name="connsiteY1" fmla="*/ 0 h 894080"/>
              <a:gd name="connsiteX2" fmla="*/ 0 w 1544320"/>
              <a:gd name="connsiteY2" fmla="*/ 894080 h 894080"/>
              <a:gd name="connsiteX3" fmla="*/ 1544320 w 1544320"/>
              <a:gd name="connsiteY3" fmla="*/ 894080 h 894080"/>
            </a:gdLst>
            <a:ahLst/>
            <a:cxnLst>
              <a:cxn ang="0">
                <a:pos x="connsiteX0" y="connsiteY0"/>
              </a:cxn>
              <a:cxn ang="0">
                <a:pos x="connsiteX1" y="connsiteY1"/>
              </a:cxn>
              <a:cxn ang="0">
                <a:pos x="connsiteX2" y="connsiteY2"/>
              </a:cxn>
              <a:cxn ang="0">
                <a:pos x="connsiteX3" y="connsiteY3"/>
              </a:cxn>
            </a:cxnLst>
            <a:rect l="l" t="t" r="r" b="b"/>
            <a:pathLst>
              <a:path w="1544320" h="894080">
                <a:moveTo>
                  <a:pt x="508000" y="0"/>
                </a:moveTo>
                <a:lnTo>
                  <a:pt x="0" y="0"/>
                </a:lnTo>
                <a:lnTo>
                  <a:pt x="0" y="894080"/>
                </a:lnTo>
                <a:lnTo>
                  <a:pt x="1544320" y="894080"/>
                </a:lnTo>
              </a:path>
            </a:pathLst>
          </a:custGeom>
          <a:ln w="19050">
            <a:solidFill>
              <a:schemeClr val="tx2"/>
            </a:solidFill>
            <a:headEnd type="arrow"/>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5" name="Straight Connector 4">
            <a:extLst>
              <a:ext uri="{FF2B5EF4-FFF2-40B4-BE49-F238E27FC236}">
                <a16:creationId xmlns:a16="http://schemas.microsoft.com/office/drawing/2014/main" id="{6680CA65-13DF-4ADA-A2DF-C743E39494D8}"/>
              </a:ext>
            </a:extLst>
          </p:cNvPr>
          <p:cNvCxnSpPr>
            <a:cxnSpLocks/>
          </p:cNvCxnSpPr>
          <p:nvPr/>
        </p:nvCxnSpPr>
        <p:spPr>
          <a:xfrm>
            <a:off x="7569681" y="3054929"/>
            <a:ext cx="6933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1EA2CAA-E9B4-45F2-8B41-1F4B11D09EF5}"/>
              </a:ext>
            </a:extLst>
          </p:cNvPr>
          <p:cNvGrpSpPr/>
          <p:nvPr/>
        </p:nvGrpSpPr>
        <p:grpSpPr>
          <a:xfrm>
            <a:off x="8539459" y="1410718"/>
            <a:ext cx="725121" cy="534542"/>
            <a:chOff x="9313391" y="830409"/>
            <a:chExt cx="1248797" cy="920584"/>
          </a:xfrm>
        </p:grpSpPr>
        <p:grpSp>
          <p:nvGrpSpPr>
            <p:cNvPr id="171" name="Group 170">
              <a:extLst>
                <a:ext uri="{FF2B5EF4-FFF2-40B4-BE49-F238E27FC236}">
                  <a16:creationId xmlns:a16="http://schemas.microsoft.com/office/drawing/2014/main" id="{D92C18ED-A03A-463A-B50E-32BD101D0BF3}"/>
                </a:ext>
              </a:extLst>
            </p:cNvPr>
            <p:cNvGrpSpPr/>
            <p:nvPr/>
          </p:nvGrpSpPr>
          <p:grpSpPr>
            <a:xfrm>
              <a:off x="10193468" y="1137268"/>
              <a:ext cx="368720" cy="307634"/>
              <a:chOff x="7929993" y="1754544"/>
              <a:chExt cx="520586" cy="434343"/>
            </a:xfrm>
          </p:grpSpPr>
          <p:sp>
            <p:nvSpPr>
              <p:cNvPr id="172" name="Trapezoid 171">
                <a:extLst>
                  <a:ext uri="{FF2B5EF4-FFF2-40B4-BE49-F238E27FC236}">
                    <a16:creationId xmlns:a16="http://schemas.microsoft.com/office/drawing/2014/main" id="{0A8E1708-1882-4C6E-9904-CEDBF160048D}"/>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Trapezoid 172">
                <a:extLst>
                  <a:ext uri="{FF2B5EF4-FFF2-40B4-BE49-F238E27FC236}">
                    <a16:creationId xmlns:a16="http://schemas.microsoft.com/office/drawing/2014/main" id="{B7C074DE-C5FD-497A-9641-C563BC1E683E}"/>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35FC5ADC-DB49-4F3D-A197-1E1C58FDD25B}"/>
                  </a:ext>
                </a:extLst>
              </p:cNvPr>
              <p:cNvCxnSpPr>
                <a:cxnSpLocks/>
                <a:stCxn id="172" idx="3"/>
                <a:endCxn id="172"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5" name="Group 174">
              <a:extLst>
                <a:ext uri="{FF2B5EF4-FFF2-40B4-BE49-F238E27FC236}">
                  <a16:creationId xmlns:a16="http://schemas.microsoft.com/office/drawing/2014/main" id="{A6D931A5-48CC-4F94-B738-D6AA8ED54ADE}"/>
                </a:ext>
              </a:extLst>
            </p:cNvPr>
            <p:cNvGrpSpPr/>
            <p:nvPr/>
          </p:nvGrpSpPr>
          <p:grpSpPr>
            <a:xfrm>
              <a:off x="9971557" y="1441679"/>
              <a:ext cx="368720" cy="307634"/>
              <a:chOff x="7929993" y="1754544"/>
              <a:chExt cx="520586" cy="434343"/>
            </a:xfrm>
          </p:grpSpPr>
          <p:sp>
            <p:nvSpPr>
              <p:cNvPr id="176" name="Trapezoid 175">
                <a:extLst>
                  <a:ext uri="{FF2B5EF4-FFF2-40B4-BE49-F238E27FC236}">
                    <a16:creationId xmlns:a16="http://schemas.microsoft.com/office/drawing/2014/main" id="{6D9D8E17-9824-4D6F-9C51-FF9C944302F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Trapezoid 176">
                <a:extLst>
                  <a:ext uri="{FF2B5EF4-FFF2-40B4-BE49-F238E27FC236}">
                    <a16:creationId xmlns:a16="http://schemas.microsoft.com/office/drawing/2014/main" id="{4BC3AFC1-C6CC-4197-A112-49F84DF5D00E}"/>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8" name="Straight Connector 177">
                <a:extLst>
                  <a:ext uri="{FF2B5EF4-FFF2-40B4-BE49-F238E27FC236}">
                    <a16:creationId xmlns:a16="http://schemas.microsoft.com/office/drawing/2014/main" id="{B1A38A25-9FC4-40BC-9CE8-02483A738283}"/>
                  </a:ext>
                </a:extLst>
              </p:cNvPr>
              <p:cNvCxnSpPr>
                <a:cxnSpLocks/>
                <a:stCxn id="176" idx="3"/>
                <a:endCxn id="176"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9" name="Group 178">
              <a:extLst>
                <a:ext uri="{FF2B5EF4-FFF2-40B4-BE49-F238E27FC236}">
                  <a16:creationId xmlns:a16="http://schemas.microsoft.com/office/drawing/2014/main" id="{5214B54B-45A3-414B-BF87-428DBDB9B837}"/>
                </a:ext>
              </a:extLst>
            </p:cNvPr>
            <p:cNvGrpSpPr/>
            <p:nvPr/>
          </p:nvGrpSpPr>
          <p:grpSpPr>
            <a:xfrm>
              <a:off x="9753430" y="1137268"/>
              <a:ext cx="368720" cy="307634"/>
              <a:chOff x="7929993" y="1754544"/>
              <a:chExt cx="520586" cy="434343"/>
            </a:xfrm>
          </p:grpSpPr>
          <p:sp>
            <p:nvSpPr>
              <p:cNvPr id="180" name="Trapezoid 179">
                <a:extLst>
                  <a:ext uri="{FF2B5EF4-FFF2-40B4-BE49-F238E27FC236}">
                    <a16:creationId xmlns:a16="http://schemas.microsoft.com/office/drawing/2014/main" id="{48A5BE6A-ED8E-40E6-A4B0-56ACB5FD1B05}"/>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Trapezoid 180">
                <a:extLst>
                  <a:ext uri="{FF2B5EF4-FFF2-40B4-BE49-F238E27FC236}">
                    <a16:creationId xmlns:a16="http://schemas.microsoft.com/office/drawing/2014/main" id="{07DAAE30-CFA4-4F3B-9360-58E5E9C9E189}"/>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2" name="Straight Connector 181">
                <a:extLst>
                  <a:ext uri="{FF2B5EF4-FFF2-40B4-BE49-F238E27FC236}">
                    <a16:creationId xmlns:a16="http://schemas.microsoft.com/office/drawing/2014/main" id="{BBFAB71F-7DA7-48B6-BBE6-95E5A385FC79}"/>
                  </a:ext>
                </a:extLst>
              </p:cNvPr>
              <p:cNvCxnSpPr>
                <a:cxnSpLocks/>
                <a:stCxn id="180" idx="3"/>
                <a:endCxn id="180"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3" name="Group 182">
              <a:extLst>
                <a:ext uri="{FF2B5EF4-FFF2-40B4-BE49-F238E27FC236}">
                  <a16:creationId xmlns:a16="http://schemas.microsoft.com/office/drawing/2014/main" id="{3AD934CE-70F5-4F3D-AB5C-EB4442CE614A}"/>
                </a:ext>
              </a:extLst>
            </p:cNvPr>
            <p:cNvGrpSpPr/>
            <p:nvPr/>
          </p:nvGrpSpPr>
          <p:grpSpPr>
            <a:xfrm>
              <a:off x="9531111" y="1443359"/>
              <a:ext cx="368720" cy="307634"/>
              <a:chOff x="7929993" y="1754544"/>
              <a:chExt cx="520586" cy="434343"/>
            </a:xfrm>
          </p:grpSpPr>
          <p:sp>
            <p:nvSpPr>
              <p:cNvPr id="184" name="Trapezoid 183">
                <a:extLst>
                  <a:ext uri="{FF2B5EF4-FFF2-40B4-BE49-F238E27FC236}">
                    <a16:creationId xmlns:a16="http://schemas.microsoft.com/office/drawing/2014/main" id="{783AE4D3-48D4-44FE-AF47-CE8171543432}"/>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apezoid 184">
                <a:extLst>
                  <a:ext uri="{FF2B5EF4-FFF2-40B4-BE49-F238E27FC236}">
                    <a16:creationId xmlns:a16="http://schemas.microsoft.com/office/drawing/2014/main" id="{C4328C64-A40F-402A-9278-3A6577A41FF8}"/>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F6C7AA2E-5E96-4C59-A383-EB21136C53CA}"/>
                  </a:ext>
                </a:extLst>
              </p:cNvPr>
              <p:cNvCxnSpPr>
                <a:cxnSpLocks/>
                <a:stCxn id="184" idx="3"/>
                <a:endCxn id="18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7" name="Group 186">
              <a:extLst>
                <a:ext uri="{FF2B5EF4-FFF2-40B4-BE49-F238E27FC236}">
                  <a16:creationId xmlns:a16="http://schemas.microsoft.com/office/drawing/2014/main" id="{0C8091DD-DDB7-4D24-8051-6823183ED113}"/>
                </a:ext>
              </a:extLst>
            </p:cNvPr>
            <p:cNvGrpSpPr/>
            <p:nvPr/>
          </p:nvGrpSpPr>
          <p:grpSpPr>
            <a:xfrm>
              <a:off x="9943085" y="830409"/>
              <a:ext cx="368720" cy="307634"/>
              <a:chOff x="7929993" y="1754544"/>
              <a:chExt cx="520586" cy="434343"/>
            </a:xfrm>
          </p:grpSpPr>
          <p:sp>
            <p:nvSpPr>
              <p:cNvPr id="188" name="Trapezoid 187">
                <a:extLst>
                  <a:ext uri="{FF2B5EF4-FFF2-40B4-BE49-F238E27FC236}">
                    <a16:creationId xmlns:a16="http://schemas.microsoft.com/office/drawing/2014/main" id="{D2448403-0144-4A87-9AB7-BC17AAD93EF9}"/>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Trapezoid 188">
                <a:extLst>
                  <a:ext uri="{FF2B5EF4-FFF2-40B4-BE49-F238E27FC236}">
                    <a16:creationId xmlns:a16="http://schemas.microsoft.com/office/drawing/2014/main" id="{45724A18-938F-4CEE-B31C-E8CB8DCA0EC8}"/>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50717D4F-D164-4A95-A718-AED082D6F004}"/>
                  </a:ext>
                </a:extLst>
              </p:cNvPr>
              <p:cNvCxnSpPr>
                <a:cxnSpLocks/>
                <a:stCxn id="188" idx="3"/>
                <a:endCxn id="188"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1" name="Group 190">
              <a:extLst>
                <a:ext uri="{FF2B5EF4-FFF2-40B4-BE49-F238E27FC236}">
                  <a16:creationId xmlns:a16="http://schemas.microsoft.com/office/drawing/2014/main" id="{71C76CEE-1CC2-4643-8316-A7FC7FC77FC5}"/>
                </a:ext>
              </a:extLst>
            </p:cNvPr>
            <p:cNvGrpSpPr/>
            <p:nvPr/>
          </p:nvGrpSpPr>
          <p:grpSpPr>
            <a:xfrm>
              <a:off x="9512682" y="842134"/>
              <a:ext cx="368720" cy="307634"/>
              <a:chOff x="7929993" y="1754544"/>
              <a:chExt cx="520586" cy="434343"/>
            </a:xfrm>
          </p:grpSpPr>
          <p:sp>
            <p:nvSpPr>
              <p:cNvPr id="192" name="Trapezoid 191">
                <a:extLst>
                  <a:ext uri="{FF2B5EF4-FFF2-40B4-BE49-F238E27FC236}">
                    <a16:creationId xmlns:a16="http://schemas.microsoft.com/office/drawing/2014/main" id="{DF08F217-E1D7-46D5-8314-2E02B8ED5C7E}"/>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Trapezoid 192">
                <a:extLst>
                  <a:ext uri="{FF2B5EF4-FFF2-40B4-BE49-F238E27FC236}">
                    <a16:creationId xmlns:a16="http://schemas.microsoft.com/office/drawing/2014/main" id="{013FA5BC-2B19-4529-A459-1FCCEF1AE093}"/>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66400931-85CF-4B9F-90FC-7C19F0E7B51F}"/>
                  </a:ext>
                </a:extLst>
              </p:cNvPr>
              <p:cNvCxnSpPr>
                <a:cxnSpLocks/>
                <a:stCxn id="192" idx="3"/>
                <a:endCxn id="192"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07" name="Group 206">
              <a:extLst>
                <a:ext uri="{FF2B5EF4-FFF2-40B4-BE49-F238E27FC236}">
                  <a16:creationId xmlns:a16="http://schemas.microsoft.com/office/drawing/2014/main" id="{34A4835F-2A17-4751-B165-6D9EFB71AED8}"/>
                </a:ext>
              </a:extLst>
            </p:cNvPr>
            <p:cNvGrpSpPr/>
            <p:nvPr/>
          </p:nvGrpSpPr>
          <p:grpSpPr>
            <a:xfrm>
              <a:off x="9313391" y="1137268"/>
              <a:ext cx="368720" cy="307634"/>
              <a:chOff x="7929993" y="1754544"/>
              <a:chExt cx="520586" cy="434343"/>
            </a:xfrm>
          </p:grpSpPr>
          <p:sp>
            <p:nvSpPr>
              <p:cNvPr id="208" name="Trapezoid 207">
                <a:extLst>
                  <a:ext uri="{FF2B5EF4-FFF2-40B4-BE49-F238E27FC236}">
                    <a16:creationId xmlns:a16="http://schemas.microsoft.com/office/drawing/2014/main" id="{D35CB709-2225-4AE2-A7CD-DE7C570E1908}"/>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apezoid 208">
                <a:extLst>
                  <a:ext uri="{FF2B5EF4-FFF2-40B4-BE49-F238E27FC236}">
                    <a16:creationId xmlns:a16="http://schemas.microsoft.com/office/drawing/2014/main" id="{2C8E6AFB-80A2-4949-8E71-C1D0331104AF}"/>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10" name="Straight Connector 209">
                <a:extLst>
                  <a:ext uri="{FF2B5EF4-FFF2-40B4-BE49-F238E27FC236}">
                    <a16:creationId xmlns:a16="http://schemas.microsoft.com/office/drawing/2014/main" id="{72077540-536B-422E-920A-6ACC1D1EDCC0}"/>
                  </a:ext>
                </a:extLst>
              </p:cNvPr>
              <p:cNvCxnSpPr>
                <a:cxnSpLocks/>
                <a:stCxn id="208" idx="3"/>
                <a:endCxn id="208"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nvGrpSpPr>
          <p:cNvPr id="211" name="Group 36">
            <a:extLst>
              <a:ext uri="{FF2B5EF4-FFF2-40B4-BE49-F238E27FC236}">
                <a16:creationId xmlns:a16="http://schemas.microsoft.com/office/drawing/2014/main" id="{D9659063-2C37-488A-B8DD-72F66D16F88F}"/>
              </a:ext>
            </a:extLst>
          </p:cNvPr>
          <p:cNvGrpSpPr>
            <a:grpSpLocks noChangeAspect="1"/>
          </p:cNvGrpSpPr>
          <p:nvPr/>
        </p:nvGrpSpPr>
        <p:grpSpPr bwMode="auto">
          <a:xfrm>
            <a:off x="11047842" y="1393768"/>
            <a:ext cx="579290" cy="572192"/>
            <a:chOff x="5516" y="449"/>
            <a:chExt cx="408" cy="403"/>
          </a:xfrm>
          <a:solidFill>
            <a:schemeClr val="tx1"/>
          </a:solidFill>
        </p:grpSpPr>
        <p:sp>
          <p:nvSpPr>
            <p:cNvPr id="212" name="Freeform 37">
              <a:extLst>
                <a:ext uri="{FF2B5EF4-FFF2-40B4-BE49-F238E27FC236}">
                  <a16:creationId xmlns:a16="http://schemas.microsoft.com/office/drawing/2014/main" id="{CFACC227-B0D4-48D7-A612-A22684FD3721}"/>
                </a:ext>
              </a:extLst>
            </p:cNvPr>
            <p:cNvSpPr>
              <a:spLocks/>
            </p:cNvSpPr>
            <p:nvPr/>
          </p:nvSpPr>
          <p:spPr bwMode="auto">
            <a:xfrm>
              <a:off x="5516" y="449"/>
              <a:ext cx="408" cy="252"/>
            </a:xfrm>
            <a:custGeom>
              <a:avLst/>
              <a:gdLst>
                <a:gd name="T0" fmla="*/ 218 w 276"/>
                <a:gd name="T1" fmla="*/ 170 h 170"/>
                <a:gd name="T2" fmla="*/ 212 w 276"/>
                <a:gd name="T3" fmla="*/ 165 h 170"/>
                <a:gd name="T4" fmla="*/ 218 w 276"/>
                <a:gd name="T5" fmla="*/ 158 h 170"/>
                <a:gd name="T6" fmla="*/ 264 w 276"/>
                <a:gd name="T7" fmla="*/ 108 h 170"/>
                <a:gd name="T8" fmla="*/ 248 w 276"/>
                <a:gd name="T9" fmla="*/ 72 h 170"/>
                <a:gd name="T10" fmla="*/ 211 w 276"/>
                <a:gd name="T11" fmla="*/ 57 h 170"/>
                <a:gd name="T12" fmla="*/ 205 w 276"/>
                <a:gd name="T13" fmla="*/ 54 h 170"/>
                <a:gd name="T14" fmla="*/ 138 w 276"/>
                <a:gd name="T15" fmla="*/ 12 h 170"/>
                <a:gd name="T16" fmla="*/ 64 w 276"/>
                <a:gd name="T17" fmla="*/ 82 h 170"/>
                <a:gd name="T18" fmla="*/ 61 w 276"/>
                <a:gd name="T19" fmla="*/ 86 h 170"/>
                <a:gd name="T20" fmla="*/ 57 w 276"/>
                <a:gd name="T21" fmla="*/ 87 h 170"/>
                <a:gd name="T22" fmla="*/ 25 w 276"/>
                <a:gd name="T23" fmla="*/ 95 h 170"/>
                <a:gd name="T24" fmla="*/ 12 w 276"/>
                <a:gd name="T25" fmla="*/ 122 h 170"/>
                <a:gd name="T26" fmla="*/ 41 w 276"/>
                <a:gd name="T27" fmla="*/ 157 h 170"/>
                <a:gd name="T28" fmla="*/ 45 w 276"/>
                <a:gd name="T29" fmla="*/ 164 h 170"/>
                <a:gd name="T30" fmla="*/ 38 w 276"/>
                <a:gd name="T31" fmla="*/ 169 h 170"/>
                <a:gd name="T32" fmla="*/ 0 w 276"/>
                <a:gd name="T33" fmla="*/ 122 h 170"/>
                <a:gd name="T34" fmla="*/ 17 w 276"/>
                <a:gd name="T35" fmla="*/ 85 h 170"/>
                <a:gd name="T36" fmla="*/ 52 w 276"/>
                <a:gd name="T37" fmla="*/ 75 h 170"/>
                <a:gd name="T38" fmla="*/ 138 w 276"/>
                <a:gd name="T39" fmla="*/ 0 h 170"/>
                <a:gd name="T40" fmla="*/ 214 w 276"/>
                <a:gd name="T41" fmla="*/ 45 h 170"/>
                <a:gd name="T42" fmla="*/ 257 w 276"/>
                <a:gd name="T43" fmla="*/ 63 h 170"/>
                <a:gd name="T44" fmla="*/ 276 w 276"/>
                <a:gd name="T45" fmla="*/ 108 h 170"/>
                <a:gd name="T46" fmla="*/ 219 w 276"/>
                <a:gd name="T47" fmla="*/ 170 h 170"/>
                <a:gd name="T48" fmla="*/ 218 w 276"/>
                <a:gd name="T4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 h="170">
                  <a:moveTo>
                    <a:pt x="218" y="170"/>
                  </a:moveTo>
                  <a:cubicBezTo>
                    <a:pt x="215" y="170"/>
                    <a:pt x="213" y="168"/>
                    <a:pt x="212" y="165"/>
                  </a:cubicBezTo>
                  <a:cubicBezTo>
                    <a:pt x="212" y="162"/>
                    <a:pt x="214" y="159"/>
                    <a:pt x="218" y="158"/>
                  </a:cubicBezTo>
                  <a:cubicBezTo>
                    <a:pt x="219" y="158"/>
                    <a:pt x="264" y="153"/>
                    <a:pt x="264" y="108"/>
                  </a:cubicBezTo>
                  <a:cubicBezTo>
                    <a:pt x="264" y="94"/>
                    <a:pt x="258" y="81"/>
                    <a:pt x="248" y="72"/>
                  </a:cubicBezTo>
                  <a:cubicBezTo>
                    <a:pt x="238" y="62"/>
                    <a:pt x="225" y="57"/>
                    <a:pt x="211" y="57"/>
                  </a:cubicBezTo>
                  <a:cubicBezTo>
                    <a:pt x="208" y="57"/>
                    <a:pt x="206" y="56"/>
                    <a:pt x="205" y="54"/>
                  </a:cubicBezTo>
                  <a:cubicBezTo>
                    <a:pt x="193" y="28"/>
                    <a:pt x="167" y="12"/>
                    <a:pt x="138" y="12"/>
                  </a:cubicBezTo>
                  <a:cubicBezTo>
                    <a:pt x="99" y="12"/>
                    <a:pt x="66" y="42"/>
                    <a:pt x="64" y="82"/>
                  </a:cubicBezTo>
                  <a:cubicBezTo>
                    <a:pt x="64" y="83"/>
                    <a:pt x="63" y="85"/>
                    <a:pt x="61" y="86"/>
                  </a:cubicBezTo>
                  <a:cubicBezTo>
                    <a:pt x="60" y="87"/>
                    <a:pt x="58" y="88"/>
                    <a:pt x="57" y="87"/>
                  </a:cubicBezTo>
                  <a:cubicBezTo>
                    <a:pt x="45" y="85"/>
                    <a:pt x="34" y="88"/>
                    <a:pt x="25" y="95"/>
                  </a:cubicBezTo>
                  <a:cubicBezTo>
                    <a:pt x="16" y="102"/>
                    <a:pt x="12" y="111"/>
                    <a:pt x="12" y="122"/>
                  </a:cubicBezTo>
                  <a:cubicBezTo>
                    <a:pt x="12" y="142"/>
                    <a:pt x="22" y="153"/>
                    <a:pt x="41" y="157"/>
                  </a:cubicBezTo>
                  <a:cubicBezTo>
                    <a:pt x="44" y="158"/>
                    <a:pt x="46" y="161"/>
                    <a:pt x="45" y="164"/>
                  </a:cubicBezTo>
                  <a:cubicBezTo>
                    <a:pt x="45" y="168"/>
                    <a:pt x="42" y="170"/>
                    <a:pt x="38" y="169"/>
                  </a:cubicBezTo>
                  <a:cubicBezTo>
                    <a:pt x="24" y="166"/>
                    <a:pt x="0" y="156"/>
                    <a:pt x="0" y="122"/>
                  </a:cubicBezTo>
                  <a:cubicBezTo>
                    <a:pt x="0" y="108"/>
                    <a:pt x="6" y="94"/>
                    <a:pt x="17" y="85"/>
                  </a:cubicBezTo>
                  <a:cubicBezTo>
                    <a:pt x="27" y="77"/>
                    <a:pt x="40" y="74"/>
                    <a:pt x="52" y="75"/>
                  </a:cubicBezTo>
                  <a:cubicBezTo>
                    <a:pt x="58" y="32"/>
                    <a:pt x="94" y="0"/>
                    <a:pt x="138" y="0"/>
                  </a:cubicBezTo>
                  <a:cubicBezTo>
                    <a:pt x="170" y="0"/>
                    <a:pt x="199" y="17"/>
                    <a:pt x="214" y="45"/>
                  </a:cubicBezTo>
                  <a:cubicBezTo>
                    <a:pt x="230" y="46"/>
                    <a:pt x="245" y="52"/>
                    <a:pt x="257" y="63"/>
                  </a:cubicBezTo>
                  <a:cubicBezTo>
                    <a:pt x="269" y="75"/>
                    <a:pt x="276" y="91"/>
                    <a:pt x="276" y="108"/>
                  </a:cubicBezTo>
                  <a:cubicBezTo>
                    <a:pt x="276" y="164"/>
                    <a:pt x="219" y="170"/>
                    <a:pt x="219" y="170"/>
                  </a:cubicBezTo>
                  <a:cubicBezTo>
                    <a:pt x="219" y="170"/>
                    <a:pt x="218" y="170"/>
                    <a:pt x="218"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3" name="Freeform 38">
              <a:extLst>
                <a:ext uri="{FF2B5EF4-FFF2-40B4-BE49-F238E27FC236}">
                  <a16:creationId xmlns:a16="http://schemas.microsoft.com/office/drawing/2014/main" id="{A0EB6440-840B-49AC-A27A-455CF6F36DD7}"/>
                </a:ext>
              </a:extLst>
            </p:cNvPr>
            <p:cNvSpPr>
              <a:spLocks noEditPoints="1"/>
            </p:cNvSpPr>
            <p:nvPr/>
          </p:nvSpPr>
          <p:spPr bwMode="auto">
            <a:xfrm>
              <a:off x="5658" y="656"/>
              <a:ext cx="124" cy="196"/>
            </a:xfrm>
            <a:custGeom>
              <a:avLst/>
              <a:gdLst>
                <a:gd name="T0" fmla="*/ 66 w 84"/>
                <a:gd name="T1" fmla="*/ 132 h 132"/>
                <a:gd name="T2" fmla="*/ 18 w 84"/>
                <a:gd name="T3" fmla="*/ 132 h 132"/>
                <a:gd name="T4" fmla="*/ 0 w 84"/>
                <a:gd name="T5" fmla="*/ 114 h 132"/>
                <a:gd name="T6" fmla="*/ 0 w 84"/>
                <a:gd name="T7" fmla="*/ 18 h 132"/>
                <a:gd name="T8" fmla="*/ 18 w 84"/>
                <a:gd name="T9" fmla="*/ 0 h 132"/>
                <a:gd name="T10" fmla="*/ 66 w 84"/>
                <a:gd name="T11" fmla="*/ 0 h 132"/>
                <a:gd name="T12" fmla="*/ 84 w 84"/>
                <a:gd name="T13" fmla="*/ 18 h 132"/>
                <a:gd name="T14" fmla="*/ 84 w 84"/>
                <a:gd name="T15" fmla="*/ 114 h 132"/>
                <a:gd name="T16" fmla="*/ 66 w 84"/>
                <a:gd name="T17" fmla="*/ 132 h 132"/>
                <a:gd name="T18" fmla="*/ 18 w 84"/>
                <a:gd name="T19" fmla="*/ 12 h 132"/>
                <a:gd name="T20" fmla="*/ 12 w 84"/>
                <a:gd name="T21" fmla="*/ 18 h 132"/>
                <a:gd name="T22" fmla="*/ 12 w 84"/>
                <a:gd name="T23" fmla="*/ 114 h 132"/>
                <a:gd name="T24" fmla="*/ 18 w 84"/>
                <a:gd name="T25" fmla="*/ 120 h 132"/>
                <a:gd name="T26" fmla="*/ 66 w 84"/>
                <a:gd name="T27" fmla="*/ 120 h 132"/>
                <a:gd name="T28" fmla="*/ 72 w 84"/>
                <a:gd name="T29" fmla="*/ 114 h 132"/>
                <a:gd name="T30" fmla="*/ 72 w 84"/>
                <a:gd name="T31" fmla="*/ 18 h 132"/>
                <a:gd name="T32" fmla="*/ 66 w 84"/>
                <a:gd name="T33" fmla="*/ 12 h 132"/>
                <a:gd name="T34" fmla="*/ 18 w 84"/>
                <a:gd name="T35"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32">
                  <a:moveTo>
                    <a:pt x="66" y="132"/>
                  </a:moveTo>
                  <a:cubicBezTo>
                    <a:pt x="18" y="132"/>
                    <a:pt x="18" y="132"/>
                    <a:pt x="18" y="132"/>
                  </a:cubicBezTo>
                  <a:cubicBezTo>
                    <a:pt x="8" y="132"/>
                    <a:pt x="0" y="124"/>
                    <a:pt x="0" y="114"/>
                  </a:cubicBezTo>
                  <a:cubicBezTo>
                    <a:pt x="0" y="18"/>
                    <a:pt x="0" y="18"/>
                    <a:pt x="0" y="18"/>
                  </a:cubicBezTo>
                  <a:cubicBezTo>
                    <a:pt x="0" y="8"/>
                    <a:pt x="8" y="0"/>
                    <a:pt x="18" y="0"/>
                  </a:cubicBezTo>
                  <a:cubicBezTo>
                    <a:pt x="66" y="0"/>
                    <a:pt x="66" y="0"/>
                    <a:pt x="66" y="0"/>
                  </a:cubicBezTo>
                  <a:cubicBezTo>
                    <a:pt x="76" y="0"/>
                    <a:pt x="84" y="8"/>
                    <a:pt x="84" y="18"/>
                  </a:cubicBezTo>
                  <a:cubicBezTo>
                    <a:pt x="84" y="114"/>
                    <a:pt x="84" y="114"/>
                    <a:pt x="84" y="114"/>
                  </a:cubicBezTo>
                  <a:cubicBezTo>
                    <a:pt x="84" y="124"/>
                    <a:pt x="76" y="132"/>
                    <a:pt x="66" y="132"/>
                  </a:cubicBezTo>
                  <a:close/>
                  <a:moveTo>
                    <a:pt x="18" y="12"/>
                  </a:moveTo>
                  <a:cubicBezTo>
                    <a:pt x="15" y="12"/>
                    <a:pt x="12" y="15"/>
                    <a:pt x="12" y="18"/>
                  </a:cubicBezTo>
                  <a:cubicBezTo>
                    <a:pt x="12" y="114"/>
                    <a:pt x="12" y="114"/>
                    <a:pt x="12" y="114"/>
                  </a:cubicBezTo>
                  <a:cubicBezTo>
                    <a:pt x="12" y="118"/>
                    <a:pt x="15" y="120"/>
                    <a:pt x="18" y="120"/>
                  </a:cubicBezTo>
                  <a:cubicBezTo>
                    <a:pt x="66" y="120"/>
                    <a:pt x="66" y="120"/>
                    <a:pt x="66" y="120"/>
                  </a:cubicBezTo>
                  <a:cubicBezTo>
                    <a:pt x="69" y="120"/>
                    <a:pt x="72" y="118"/>
                    <a:pt x="72" y="114"/>
                  </a:cubicBezTo>
                  <a:cubicBezTo>
                    <a:pt x="72" y="18"/>
                    <a:pt x="72" y="18"/>
                    <a:pt x="72" y="18"/>
                  </a:cubicBezTo>
                  <a:cubicBezTo>
                    <a:pt x="72" y="15"/>
                    <a:pt x="69" y="12"/>
                    <a:pt x="6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4" name="Freeform 39">
              <a:extLst>
                <a:ext uri="{FF2B5EF4-FFF2-40B4-BE49-F238E27FC236}">
                  <a16:creationId xmlns:a16="http://schemas.microsoft.com/office/drawing/2014/main" id="{12D05239-A2A0-4246-825A-8F093C5F79D7}"/>
                </a:ext>
              </a:extLst>
            </p:cNvPr>
            <p:cNvSpPr>
              <a:spLocks/>
            </p:cNvSpPr>
            <p:nvPr/>
          </p:nvSpPr>
          <p:spPr bwMode="auto">
            <a:xfrm>
              <a:off x="5658" y="798"/>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5" name="Freeform 40">
              <a:extLst>
                <a:ext uri="{FF2B5EF4-FFF2-40B4-BE49-F238E27FC236}">
                  <a16:creationId xmlns:a16="http://schemas.microsoft.com/office/drawing/2014/main" id="{CD87A20B-D720-43B6-A9A0-C474695B1255}"/>
                </a:ext>
              </a:extLst>
            </p:cNvPr>
            <p:cNvSpPr>
              <a:spLocks/>
            </p:cNvSpPr>
            <p:nvPr/>
          </p:nvSpPr>
          <p:spPr bwMode="auto">
            <a:xfrm>
              <a:off x="5711" y="523"/>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9" y="0"/>
                    <a:pt x="12" y="3"/>
                    <a:pt x="12" y="6"/>
                  </a:cubicBezTo>
                  <a:cubicBezTo>
                    <a:pt x="12" y="66"/>
                    <a:pt x="12" y="66"/>
                    <a:pt x="12" y="66"/>
                  </a:cubicBezTo>
                  <a:cubicBezTo>
                    <a:pt x="12" y="70"/>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6" name="Freeform 41">
              <a:extLst>
                <a:ext uri="{FF2B5EF4-FFF2-40B4-BE49-F238E27FC236}">
                  <a16:creationId xmlns:a16="http://schemas.microsoft.com/office/drawing/2014/main" id="{2262D0E6-B6DF-4B15-BF59-C7461C571385}"/>
                </a:ext>
              </a:extLst>
            </p:cNvPr>
            <p:cNvSpPr>
              <a:spLocks/>
            </p:cNvSpPr>
            <p:nvPr/>
          </p:nvSpPr>
          <p:spPr bwMode="auto">
            <a:xfrm>
              <a:off x="5674" y="523"/>
              <a:ext cx="90" cy="55"/>
            </a:xfrm>
            <a:custGeom>
              <a:avLst/>
              <a:gdLst>
                <a:gd name="T0" fmla="*/ 55 w 61"/>
                <a:gd name="T1" fmla="*/ 36 h 37"/>
                <a:gd name="T2" fmla="*/ 51 w 61"/>
                <a:gd name="T3" fmla="*/ 35 h 37"/>
                <a:gd name="T4" fmla="*/ 31 w 61"/>
                <a:gd name="T5" fmla="*/ 15 h 37"/>
                <a:gd name="T6" fmla="*/ 11 w 61"/>
                <a:gd name="T7" fmla="*/ 35 h 37"/>
                <a:gd name="T8" fmla="*/ 3 w 61"/>
                <a:gd name="T9" fmla="*/ 35 h 37"/>
                <a:gd name="T10" fmla="*/ 3 w 61"/>
                <a:gd name="T11" fmla="*/ 26 h 37"/>
                <a:gd name="T12" fmla="*/ 27 w 61"/>
                <a:gd name="T13" fmla="*/ 2 h 37"/>
                <a:gd name="T14" fmla="*/ 35 w 61"/>
                <a:gd name="T15" fmla="*/ 2 h 37"/>
                <a:gd name="T16" fmla="*/ 59 w 61"/>
                <a:gd name="T17" fmla="*/ 26 h 37"/>
                <a:gd name="T18" fmla="*/ 59 w 61"/>
                <a:gd name="T19" fmla="*/ 35 h 37"/>
                <a:gd name="T20" fmla="*/ 55 w 61"/>
                <a:gd name="T21"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7">
                  <a:moveTo>
                    <a:pt x="55" y="36"/>
                  </a:moveTo>
                  <a:cubicBezTo>
                    <a:pt x="53" y="36"/>
                    <a:pt x="52" y="36"/>
                    <a:pt x="51" y="35"/>
                  </a:cubicBezTo>
                  <a:cubicBezTo>
                    <a:pt x="31" y="15"/>
                    <a:pt x="31" y="15"/>
                    <a:pt x="31" y="15"/>
                  </a:cubicBezTo>
                  <a:cubicBezTo>
                    <a:pt x="11" y="35"/>
                    <a:pt x="11" y="35"/>
                    <a:pt x="11" y="35"/>
                  </a:cubicBezTo>
                  <a:cubicBezTo>
                    <a:pt x="9" y="37"/>
                    <a:pt x="5" y="37"/>
                    <a:pt x="3" y="35"/>
                  </a:cubicBezTo>
                  <a:cubicBezTo>
                    <a:pt x="0" y="32"/>
                    <a:pt x="0" y="28"/>
                    <a:pt x="3" y="26"/>
                  </a:cubicBezTo>
                  <a:cubicBezTo>
                    <a:pt x="27" y="2"/>
                    <a:pt x="27" y="2"/>
                    <a:pt x="27" y="2"/>
                  </a:cubicBezTo>
                  <a:cubicBezTo>
                    <a:pt x="29" y="0"/>
                    <a:pt x="33" y="0"/>
                    <a:pt x="35" y="2"/>
                  </a:cubicBezTo>
                  <a:cubicBezTo>
                    <a:pt x="59" y="26"/>
                    <a:pt x="59" y="26"/>
                    <a:pt x="59" y="26"/>
                  </a:cubicBezTo>
                  <a:cubicBezTo>
                    <a:pt x="61" y="28"/>
                    <a:pt x="61" y="32"/>
                    <a:pt x="59" y="35"/>
                  </a:cubicBezTo>
                  <a:cubicBezTo>
                    <a:pt x="58" y="36"/>
                    <a:pt x="56" y="36"/>
                    <a:pt x="5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160" name="Picture 159">
            <a:extLst>
              <a:ext uri="{FF2B5EF4-FFF2-40B4-BE49-F238E27FC236}">
                <a16:creationId xmlns:a16="http://schemas.microsoft.com/office/drawing/2014/main" id="{C22C91DA-6E3B-4685-B2C1-0655BF4A4FB3}"/>
              </a:ext>
            </a:extLst>
          </p:cNvPr>
          <p:cNvPicPr>
            <a:picLocks noChangeAspect="1"/>
          </p:cNvPicPr>
          <p:nvPr/>
        </p:nvPicPr>
        <p:blipFill>
          <a:blip r:embed="rId4"/>
          <a:stretch>
            <a:fillRect/>
          </a:stretch>
        </p:blipFill>
        <p:spPr>
          <a:xfrm>
            <a:off x="574555" y="1426414"/>
            <a:ext cx="514902" cy="464972"/>
          </a:xfrm>
          <a:prstGeom prst="rect">
            <a:avLst/>
          </a:prstGeom>
        </p:spPr>
      </p:pic>
    </p:spTree>
    <p:extLst>
      <p:ext uri="{BB962C8B-B14F-4D97-AF65-F5344CB8AC3E}">
        <p14:creationId xmlns:p14="http://schemas.microsoft.com/office/powerpoint/2010/main" val="247513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BF70A95-1418-4642-81CC-363583C81CA0}"/>
              </a:ext>
            </a:extLst>
          </p:cNvPr>
          <p:cNvCxnSpPr>
            <a:cxnSpLocks/>
          </p:cNvCxnSpPr>
          <p:nvPr/>
        </p:nvCxnSpPr>
        <p:spPr>
          <a:xfrm>
            <a:off x="3042696" y="3594892"/>
            <a:ext cx="0" cy="1150621"/>
          </a:xfrm>
          <a:prstGeom prst="line">
            <a:avLst/>
          </a:prstGeom>
          <a:ln w="19050">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967E071-4F48-424A-B438-F9DEF24DD1DA}"/>
              </a:ext>
            </a:extLst>
          </p:cNvPr>
          <p:cNvGrpSpPr/>
          <p:nvPr/>
        </p:nvGrpSpPr>
        <p:grpSpPr>
          <a:xfrm>
            <a:off x="9479220" y="3584882"/>
            <a:ext cx="2300766" cy="311386"/>
            <a:chOff x="9479220" y="3584882"/>
            <a:chExt cx="2300766" cy="311386"/>
          </a:xfrm>
        </p:grpSpPr>
        <p:sp>
          <p:nvSpPr>
            <p:cNvPr id="51" name="Rectangle 50">
              <a:extLst>
                <a:ext uri="{FF2B5EF4-FFF2-40B4-BE49-F238E27FC236}">
                  <a16:creationId xmlns:a16="http://schemas.microsoft.com/office/drawing/2014/main" id="{42854E3C-D1D0-4343-AEAA-45855560E542}"/>
                </a:ext>
              </a:extLst>
            </p:cNvPr>
            <p:cNvSpPr/>
            <p:nvPr/>
          </p:nvSpPr>
          <p:spPr bwMode="auto">
            <a:xfrm>
              <a:off x="9479220"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2</a:t>
              </a:r>
            </a:p>
          </p:txBody>
        </p:sp>
        <p:sp>
          <p:nvSpPr>
            <p:cNvPr id="22" name="Rectangle 21">
              <a:extLst>
                <a:ext uri="{FF2B5EF4-FFF2-40B4-BE49-F238E27FC236}">
                  <a16:creationId xmlns:a16="http://schemas.microsoft.com/office/drawing/2014/main" id="{9AC1D5AB-DCA1-4D28-8C97-4FCD9492BD78}"/>
                </a:ext>
              </a:extLst>
            </p:cNvPr>
            <p:cNvSpPr/>
            <p:nvPr/>
          </p:nvSpPr>
          <p:spPr bwMode="auto">
            <a:xfrm>
              <a:off x="9479220"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2" name="Isosceles Triangle 51">
              <a:extLst>
                <a:ext uri="{FF2B5EF4-FFF2-40B4-BE49-F238E27FC236}">
                  <a16:creationId xmlns:a16="http://schemas.microsoft.com/office/drawing/2014/main" id="{77578BF3-71B9-4327-82B9-D675D21E2929}"/>
                </a:ext>
              </a:extLst>
            </p:cNvPr>
            <p:cNvSpPr/>
            <p:nvPr/>
          </p:nvSpPr>
          <p:spPr bwMode="auto">
            <a:xfrm rot="5400000">
              <a:off x="11734662" y="3584486"/>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9CD0317B-203A-46E8-B2FB-4C46BA401FC9}"/>
              </a:ext>
            </a:extLst>
          </p:cNvPr>
          <p:cNvGrpSpPr/>
          <p:nvPr/>
        </p:nvGrpSpPr>
        <p:grpSpPr>
          <a:xfrm>
            <a:off x="7223384" y="3585026"/>
            <a:ext cx="2301556" cy="311242"/>
            <a:chOff x="7223384" y="3585026"/>
            <a:chExt cx="2301556" cy="311242"/>
          </a:xfrm>
        </p:grpSpPr>
        <p:sp>
          <p:nvSpPr>
            <p:cNvPr id="50" name="Rectangle 49">
              <a:extLst>
                <a:ext uri="{FF2B5EF4-FFF2-40B4-BE49-F238E27FC236}">
                  <a16:creationId xmlns:a16="http://schemas.microsoft.com/office/drawing/2014/main" id="{57039AD6-8106-4D69-8600-5FA208001E0F}"/>
                </a:ext>
              </a:extLst>
            </p:cNvPr>
            <p:cNvSpPr/>
            <p:nvPr/>
          </p:nvSpPr>
          <p:spPr bwMode="auto">
            <a:xfrm>
              <a:off x="7223384"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2021</a:t>
              </a:r>
            </a:p>
          </p:txBody>
        </p:sp>
        <p:sp>
          <p:nvSpPr>
            <p:cNvPr id="16" name="Rectangle 15">
              <a:extLst>
                <a:ext uri="{FF2B5EF4-FFF2-40B4-BE49-F238E27FC236}">
                  <a16:creationId xmlns:a16="http://schemas.microsoft.com/office/drawing/2014/main" id="{E9435962-FADF-4CA6-AC26-9A3BC1F892F2}"/>
                </a:ext>
              </a:extLst>
            </p:cNvPr>
            <p:cNvSpPr/>
            <p:nvPr/>
          </p:nvSpPr>
          <p:spPr bwMode="auto">
            <a:xfrm>
              <a:off x="7223384" y="3585026"/>
              <a:ext cx="2255581" cy="45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3" name="Isosceles Triangle 52">
              <a:extLst>
                <a:ext uri="{FF2B5EF4-FFF2-40B4-BE49-F238E27FC236}">
                  <a16:creationId xmlns:a16="http://schemas.microsoft.com/office/drawing/2014/main" id="{BB7AC3DD-0013-423A-84CC-43A96AEC6BCB}"/>
                </a:ext>
              </a:extLst>
            </p:cNvPr>
            <p:cNvSpPr/>
            <p:nvPr/>
          </p:nvSpPr>
          <p:spPr bwMode="auto">
            <a:xfrm rot="5400000">
              <a:off x="9479616" y="3585280"/>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D71E0034-6BB4-4C9D-BE22-DF4202A95B1D}"/>
              </a:ext>
            </a:extLst>
          </p:cNvPr>
          <p:cNvGrpSpPr/>
          <p:nvPr/>
        </p:nvGrpSpPr>
        <p:grpSpPr>
          <a:xfrm>
            <a:off x="4968083" y="3585026"/>
            <a:ext cx="2301021" cy="311242"/>
            <a:chOff x="4968083" y="3585026"/>
            <a:chExt cx="2301021" cy="311242"/>
          </a:xfrm>
        </p:grpSpPr>
        <p:sp>
          <p:nvSpPr>
            <p:cNvPr id="49" name="Rectangle 48">
              <a:extLst>
                <a:ext uri="{FF2B5EF4-FFF2-40B4-BE49-F238E27FC236}">
                  <a16:creationId xmlns:a16="http://schemas.microsoft.com/office/drawing/2014/main" id="{07D40A5F-9415-4DC8-B178-D5CBB39DF9C2}"/>
                </a:ext>
              </a:extLst>
            </p:cNvPr>
            <p:cNvSpPr/>
            <p:nvPr/>
          </p:nvSpPr>
          <p:spPr bwMode="auto">
            <a:xfrm>
              <a:off x="4968083"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0</a:t>
              </a:r>
            </a:p>
          </p:txBody>
        </p:sp>
        <p:sp>
          <p:nvSpPr>
            <p:cNvPr id="15" name="Rectangle 14">
              <a:extLst>
                <a:ext uri="{FF2B5EF4-FFF2-40B4-BE49-F238E27FC236}">
                  <a16:creationId xmlns:a16="http://schemas.microsoft.com/office/drawing/2014/main" id="{C8DD42AF-891B-46F2-9A0D-20A791EC49ED}"/>
                </a:ext>
              </a:extLst>
            </p:cNvPr>
            <p:cNvSpPr/>
            <p:nvPr/>
          </p:nvSpPr>
          <p:spPr bwMode="auto">
            <a:xfrm>
              <a:off x="4968083"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5" name="Isosceles Triangle 34">
              <a:extLst>
                <a:ext uri="{FF2B5EF4-FFF2-40B4-BE49-F238E27FC236}">
                  <a16:creationId xmlns:a16="http://schemas.microsoft.com/office/drawing/2014/main" id="{46AABE7C-C3CB-4AD0-BA28-8AD8224B5477}"/>
                </a:ext>
              </a:extLst>
            </p:cNvPr>
            <p:cNvSpPr/>
            <p:nvPr/>
          </p:nvSpPr>
          <p:spPr bwMode="auto">
            <a:xfrm rot="5400000">
              <a:off x="7223780"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9AA41C17-3B79-4DEE-A968-C768AAE682E3}"/>
              </a:ext>
            </a:extLst>
          </p:cNvPr>
          <p:cNvGrpSpPr/>
          <p:nvPr/>
        </p:nvGrpSpPr>
        <p:grpSpPr>
          <a:xfrm>
            <a:off x="2712502" y="3585026"/>
            <a:ext cx="2301301" cy="311242"/>
            <a:chOff x="2712502" y="3585026"/>
            <a:chExt cx="2301301" cy="311242"/>
          </a:xfrm>
        </p:grpSpPr>
        <p:sp>
          <p:nvSpPr>
            <p:cNvPr id="48" name="Rectangle 47">
              <a:extLst>
                <a:ext uri="{FF2B5EF4-FFF2-40B4-BE49-F238E27FC236}">
                  <a16:creationId xmlns:a16="http://schemas.microsoft.com/office/drawing/2014/main" id="{0DAE123A-C7BE-4FFB-8AA7-44840A9B865F}"/>
                </a:ext>
              </a:extLst>
            </p:cNvPr>
            <p:cNvSpPr/>
            <p:nvPr/>
          </p:nvSpPr>
          <p:spPr bwMode="auto">
            <a:xfrm>
              <a:off x="2712502"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2019</a:t>
              </a:r>
            </a:p>
          </p:txBody>
        </p:sp>
        <p:sp>
          <p:nvSpPr>
            <p:cNvPr id="14" name="Rectangle 13">
              <a:extLst>
                <a:ext uri="{FF2B5EF4-FFF2-40B4-BE49-F238E27FC236}">
                  <a16:creationId xmlns:a16="http://schemas.microsoft.com/office/drawing/2014/main" id="{A8015AE5-EFCC-4EF5-805F-984E1E132DD2}"/>
                </a:ext>
              </a:extLst>
            </p:cNvPr>
            <p:cNvSpPr/>
            <p:nvPr/>
          </p:nvSpPr>
          <p:spPr bwMode="auto">
            <a:xfrm>
              <a:off x="2712502" y="3585026"/>
              <a:ext cx="2255581" cy="45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4" name="Isosceles Triangle 33">
              <a:extLst>
                <a:ext uri="{FF2B5EF4-FFF2-40B4-BE49-F238E27FC236}">
                  <a16:creationId xmlns:a16="http://schemas.microsoft.com/office/drawing/2014/main" id="{36CB9ECB-D5AE-4671-9291-B74416B05B95}"/>
                </a:ext>
              </a:extLst>
            </p:cNvPr>
            <p:cNvSpPr/>
            <p:nvPr/>
          </p:nvSpPr>
          <p:spPr bwMode="auto">
            <a:xfrm rot="5400000">
              <a:off x="4968479" y="3585279"/>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grpSp>
      <p:sp>
        <p:nvSpPr>
          <p:cNvPr id="2" name="Title 1">
            <a:extLst>
              <a:ext uri="{FF2B5EF4-FFF2-40B4-BE49-F238E27FC236}">
                <a16:creationId xmlns:a16="http://schemas.microsoft.com/office/drawing/2014/main" id="{9654E4C0-D20F-45FA-A331-0A10E2A650B1}"/>
              </a:ext>
            </a:extLst>
          </p:cNvPr>
          <p:cNvSpPr>
            <a:spLocks noGrp="1"/>
          </p:cNvSpPr>
          <p:nvPr>
            <p:ph type="title"/>
          </p:nvPr>
        </p:nvSpPr>
        <p:spPr/>
        <p:txBody>
          <a:bodyPr vert="horz" wrap="square" lIns="0" tIns="164592" rIns="0" bIns="0" rtlCol="0" anchor="t">
            <a:noAutofit/>
          </a:bodyPr>
          <a:lstStyle/>
          <a:p>
            <a:r>
              <a:rPr lang="en-US" dirty="0"/>
              <a:t>What are companies looking to do next?</a:t>
            </a:r>
          </a:p>
        </p:txBody>
      </p:sp>
      <p:cxnSp>
        <p:nvCxnSpPr>
          <p:cNvPr id="25" name="Straight Connector 24">
            <a:extLst>
              <a:ext uri="{FF2B5EF4-FFF2-40B4-BE49-F238E27FC236}">
                <a16:creationId xmlns:a16="http://schemas.microsoft.com/office/drawing/2014/main" id="{313F6DFF-B8ED-4376-B2C4-AA10090CB56B}"/>
              </a:ext>
            </a:extLst>
          </p:cNvPr>
          <p:cNvCxnSpPr>
            <a:cxnSpLocks/>
          </p:cNvCxnSpPr>
          <p:nvPr/>
        </p:nvCxnSpPr>
        <p:spPr>
          <a:xfrm flipV="1">
            <a:off x="1584991" y="2431213"/>
            <a:ext cx="0" cy="1150621"/>
          </a:xfrm>
          <a:prstGeom prst="line">
            <a:avLst/>
          </a:prstGeom>
          <a:ln w="190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A970CCA-4029-4E0D-A48C-732C774F63A5}"/>
              </a:ext>
            </a:extLst>
          </p:cNvPr>
          <p:cNvSpPr/>
          <p:nvPr/>
        </p:nvSpPr>
        <p:spPr>
          <a:xfrm>
            <a:off x="651629" y="1279174"/>
            <a:ext cx="2141043"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Deep neural networks will be a standard tool for </a:t>
            </a: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80%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data scientist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28" name="Straight Connector 27">
            <a:extLst>
              <a:ext uri="{FF2B5EF4-FFF2-40B4-BE49-F238E27FC236}">
                <a16:creationId xmlns:a16="http://schemas.microsoft.com/office/drawing/2014/main" id="{FAA43E20-ADAD-4F1B-8293-D23CC6D897D1}"/>
              </a:ext>
            </a:extLst>
          </p:cNvPr>
          <p:cNvCxnSpPr>
            <a:cxnSpLocks/>
          </p:cNvCxnSpPr>
          <p:nvPr/>
        </p:nvCxnSpPr>
        <p:spPr>
          <a:xfrm>
            <a:off x="6559480" y="3594892"/>
            <a:ext cx="0" cy="1150621"/>
          </a:xfrm>
          <a:prstGeom prst="line">
            <a:avLst/>
          </a:prstGeom>
          <a:ln w="190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DBB2AF-589C-42A9-AD33-17B3FF27FF8A}"/>
              </a:ext>
            </a:extLst>
          </p:cNvPr>
          <p:cNvSpPr/>
          <p:nvPr/>
        </p:nvSpPr>
        <p:spPr>
          <a:xfrm>
            <a:off x="5547360" y="4991158"/>
            <a:ext cx="2542755"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More than </a:t>
            </a: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4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data science tasks will be automated</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38EE2B5A-7E49-4F4B-B116-360169692907}"/>
              </a:ext>
            </a:extLst>
          </p:cNvPr>
          <p:cNvCxnSpPr>
            <a:cxnSpLocks/>
          </p:cNvCxnSpPr>
          <p:nvPr/>
        </p:nvCxnSpPr>
        <p:spPr>
          <a:xfrm flipV="1">
            <a:off x="5323411" y="2431213"/>
            <a:ext cx="0" cy="1150621"/>
          </a:xfrm>
          <a:prstGeom prst="line">
            <a:avLst/>
          </a:prstGeom>
          <a:ln w="190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501EAD9-89E9-4D6F-ABF1-A31B421B732D}"/>
              </a:ext>
            </a:extLst>
          </p:cNvPr>
          <p:cNvSpPr/>
          <p:nvPr/>
        </p:nvSpPr>
        <p:spPr>
          <a:xfrm>
            <a:off x="4252889" y="1279174"/>
            <a:ext cx="2141043"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2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companies will dedicate workers to monitor neural network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0F4CFFA6-A1B7-464C-8323-C82D4CA3B2F8}"/>
              </a:ext>
            </a:extLst>
          </p:cNvPr>
          <p:cNvSpPr/>
          <p:nvPr/>
        </p:nvSpPr>
        <p:spPr>
          <a:xfrm>
            <a:off x="2005052" y="4991158"/>
            <a:ext cx="2518904"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9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modern analytics platforms will feature natural-language generation</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39" name="Straight Connector 38">
            <a:extLst>
              <a:ext uri="{FF2B5EF4-FFF2-40B4-BE49-F238E27FC236}">
                <a16:creationId xmlns:a16="http://schemas.microsoft.com/office/drawing/2014/main" id="{48F5CD1F-87BE-4FD5-9096-2B7222924F30}"/>
              </a:ext>
            </a:extLst>
          </p:cNvPr>
          <p:cNvCxnSpPr>
            <a:cxnSpLocks/>
          </p:cNvCxnSpPr>
          <p:nvPr/>
        </p:nvCxnSpPr>
        <p:spPr>
          <a:xfrm flipV="1">
            <a:off x="8925621" y="2431213"/>
            <a:ext cx="0" cy="1150621"/>
          </a:xfrm>
          <a:prstGeom prst="line">
            <a:avLst/>
          </a:prstGeom>
          <a:ln w="19050">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F6BC850-6219-4A87-AEFC-9C3B5205BC89}"/>
              </a:ext>
            </a:extLst>
          </p:cNvPr>
          <p:cNvSpPr/>
          <p:nvPr/>
        </p:nvSpPr>
        <p:spPr>
          <a:xfrm>
            <a:off x="7946539" y="1279174"/>
            <a:ext cx="2258720"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3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of net new revenue growth from industry-specific solutions will include AI</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41" name="Straight Connector 40">
            <a:extLst>
              <a:ext uri="{FF2B5EF4-FFF2-40B4-BE49-F238E27FC236}">
                <a16:creationId xmlns:a16="http://schemas.microsoft.com/office/drawing/2014/main" id="{A8D54469-57BF-47BE-8AFA-58783729D0E7}"/>
              </a:ext>
            </a:extLst>
          </p:cNvPr>
          <p:cNvCxnSpPr>
            <a:cxnSpLocks/>
          </p:cNvCxnSpPr>
          <p:nvPr/>
        </p:nvCxnSpPr>
        <p:spPr>
          <a:xfrm>
            <a:off x="10281733" y="3594892"/>
            <a:ext cx="0" cy="1150621"/>
          </a:xfrm>
          <a:prstGeom prst="line">
            <a:avLst/>
          </a:prstGeom>
          <a:ln w="190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9011A3D-A60A-4924-B96F-008D8085B2BA}"/>
              </a:ext>
            </a:extLst>
          </p:cNvPr>
          <p:cNvSpPr/>
          <p:nvPr/>
        </p:nvSpPr>
        <p:spPr>
          <a:xfrm>
            <a:off x="9113519" y="4991158"/>
            <a:ext cx="2377441"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1 in 5</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workers engaged in mostly nonroutine tasks will rely on AI to do their job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2</a:t>
            </a:r>
            <a:endPar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1107A892-BA7F-4AD9-ACAD-2F67D187F1D2}"/>
              </a:ext>
            </a:extLst>
          </p:cNvPr>
          <p:cNvGrpSpPr/>
          <p:nvPr/>
        </p:nvGrpSpPr>
        <p:grpSpPr>
          <a:xfrm>
            <a:off x="457201" y="3585026"/>
            <a:ext cx="2301021" cy="311242"/>
            <a:chOff x="457201" y="3585026"/>
            <a:chExt cx="2301021" cy="311242"/>
          </a:xfrm>
        </p:grpSpPr>
        <p:sp>
          <p:nvSpPr>
            <p:cNvPr id="47" name="Rectangle 46">
              <a:extLst>
                <a:ext uri="{FF2B5EF4-FFF2-40B4-BE49-F238E27FC236}">
                  <a16:creationId xmlns:a16="http://schemas.microsoft.com/office/drawing/2014/main" id="{2DABB227-D93E-4633-9CFC-EA4D02A74618}"/>
                </a:ext>
              </a:extLst>
            </p:cNvPr>
            <p:cNvSpPr/>
            <p:nvPr/>
          </p:nvSpPr>
          <p:spPr bwMode="auto">
            <a:xfrm>
              <a:off x="457201"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18</a:t>
              </a:r>
            </a:p>
          </p:txBody>
        </p:sp>
        <p:sp>
          <p:nvSpPr>
            <p:cNvPr id="13" name="Rectangle 12">
              <a:extLst>
                <a:ext uri="{FF2B5EF4-FFF2-40B4-BE49-F238E27FC236}">
                  <a16:creationId xmlns:a16="http://schemas.microsoft.com/office/drawing/2014/main" id="{4BADF9B1-412E-4278-8CFB-8C232B744519}"/>
                </a:ext>
              </a:extLst>
            </p:cNvPr>
            <p:cNvSpPr/>
            <p:nvPr/>
          </p:nvSpPr>
          <p:spPr bwMode="auto">
            <a:xfrm>
              <a:off x="457201"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Isosceles Triangle 5">
              <a:extLst>
                <a:ext uri="{FF2B5EF4-FFF2-40B4-BE49-F238E27FC236}">
                  <a16:creationId xmlns:a16="http://schemas.microsoft.com/office/drawing/2014/main" id="{2D81C8EE-2823-49BE-9326-8CB7F118654C}"/>
                </a:ext>
              </a:extLst>
            </p:cNvPr>
            <p:cNvSpPr/>
            <p:nvPr/>
          </p:nvSpPr>
          <p:spPr bwMode="auto">
            <a:xfrm rot="5400000">
              <a:off x="2712898"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69AAE091-8F85-42FF-B388-A8FFC96CEB7A}"/>
              </a:ext>
            </a:extLst>
          </p:cNvPr>
          <p:cNvSpPr txBox="1"/>
          <p:nvPr/>
        </p:nvSpPr>
        <p:spPr>
          <a:xfrm>
            <a:off x="1424609" y="6355709"/>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1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100 Data and Analytics Predictions Through 2021”, Gartner, 2017.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cs typeface="Segoe UI" panose="020B0502040204020203" pitchFamily="34" charset="0"/>
              </a:rPr>
              <a:t>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2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Predicts 2018: AI and the Future of Work”, Gartner, 2018.</a:t>
            </a:r>
          </a:p>
        </p:txBody>
      </p:sp>
    </p:spTree>
    <p:extLst>
      <p:ext uri="{BB962C8B-B14F-4D97-AF65-F5344CB8AC3E}">
        <p14:creationId xmlns:p14="http://schemas.microsoft.com/office/powerpoint/2010/main" val="157521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down)">
                                      <p:cBhvr>
                                        <p:cTn id="11" dur="500"/>
                                        <p:tgtEl>
                                          <p:spTgt spid="2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up)">
                                      <p:cBhvr>
                                        <p:cTn id="24" dur="500"/>
                                        <p:tgtEl>
                                          <p:spTgt spid="36"/>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down)">
                                      <p:cBhvr>
                                        <p:cTn id="37" dur="500"/>
                                        <p:tgtEl>
                                          <p:spTgt spid="30"/>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childTnLst>
                          </p:cTn>
                        </p:par>
                        <p:par>
                          <p:cTn id="42" fill="hold">
                            <p:stCondLst>
                              <p:cond delay="1500"/>
                            </p:stCondLst>
                            <p:childTnLst>
                              <p:par>
                                <p:cTn id="43" presetID="22" presetClass="entr" presetSubtype="1" fill="hold"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up)">
                                      <p:cBhvr>
                                        <p:cTn id="45" dur="500"/>
                                        <p:tgtEl>
                                          <p:spTgt spid="28"/>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wipe(left)">
                                      <p:cBhvr>
                                        <p:cTn id="54" dur="500"/>
                                        <p:tgtEl>
                                          <p:spTgt spid="10"/>
                                        </p:tgtEl>
                                      </p:cBhvr>
                                    </p:animEffect>
                                  </p:childTnLst>
                                </p:cTn>
                              </p:par>
                            </p:childTnLst>
                          </p:cTn>
                        </p:par>
                        <p:par>
                          <p:cTn id="55" fill="hold">
                            <p:stCondLst>
                              <p:cond delay="500"/>
                            </p:stCondLst>
                            <p:childTnLst>
                              <p:par>
                                <p:cTn id="56" presetID="22" presetClass="entr" presetSubtype="4" fill="hold" nodeType="after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wipe(down)">
                                      <p:cBhvr>
                                        <p:cTn id="58" dur="500"/>
                                        <p:tgtEl>
                                          <p:spTgt spid="39"/>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wipe(left)">
                                      <p:cBhvr>
                                        <p:cTn id="67" dur="500"/>
                                        <p:tgtEl>
                                          <p:spTgt spid="11"/>
                                        </p:tgtEl>
                                      </p:cBhvr>
                                    </p:animEffect>
                                  </p:childTnLst>
                                </p:cTn>
                              </p:par>
                            </p:childTnLst>
                          </p:cTn>
                        </p:par>
                        <p:par>
                          <p:cTn id="68" fill="hold">
                            <p:stCondLst>
                              <p:cond delay="500"/>
                            </p:stCondLst>
                            <p:childTnLst>
                              <p:par>
                                <p:cTn id="69" presetID="22" presetClass="entr" presetSubtype="1" fill="hold" nodeType="after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wipe(up)">
                                      <p:cBhvr>
                                        <p:cTn id="71" dur="500"/>
                                        <p:tgtEl>
                                          <p:spTgt spid="41"/>
                                        </p:tgtEl>
                                      </p:cBhvr>
                                    </p:animEffect>
                                  </p:childTnLst>
                                </p:cTn>
                              </p:par>
                            </p:childTnLst>
                          </p:cTn>
                        </p:par>
                        <p:par>
                          <p:cTn id="72" fill="hold">
                            <p:stCondLst>
                              <p:cond delay="1000"/>
                            </p:stCondLst>
                            <p:childTnLst>
                              <p:par>
                                <p:cTn id="73" presetID="10" presetClass="entr" presetSubtype="0" fill="hold" grpId="0" nodeType="after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9" grpId="0"/>
      <p:bldP spid="31" grpId="0"/>
      <p:bldP spid="37" grpId="0"/>
      <p:bldP spid="40" grpId="0"/>
      <p:bldP spid="4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pPr>
              <a:spcBef>
                <a:spcPts val="2400"/>
              </a:spcBef>
            </a:pPr>
            <a:r>
              <a:rPr lang="en-US" spc="-150" dirty="0"/>
              <a:t>Deep learning with Azure</a:t>
            </a:r>
          </a:p>
        </p:txBody>
      </p:sp>
    </p:spTree>
    <p:extLst>
      <p:ext uri="{BB962C8B-B14F-4D97-AF65-F5344CB8AC3E}">
        <p14:creationId xmlns:p14="http://schemas.microsoft.com/office/powerpoint/2010/main" val="158881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IN" dirty="0"/>
              <a:t>Advanced Analytics</a:t>
            </a:r>
            <a:br>
              <a:rPr lang="en-IN" dirty="0"/>
            </a:br>
            <a:r>
              <a:rPr lang="en-IN" sz="4000" dirty="0">
                <a:solidFill>
                  <a:schemeClr val="tx1"/>
                </a:solidFill>
              </a:rPr>
              <a:t>Transform data into actionable insights</a:t>
            </a:r>
            <a:endParaRPr lang="en-US" dirty="0">
              <a:solidFill>
                <a:schemeClr val="tx1"/>
              </a:solidFill>
            </a:endParaRPr>
          </a:p>
        </p:txBody>
      </p:sp>
      <p:sp>
        <p:nvSpPr>
          <p:cNvPr id="3" name="Text Placeholder 2">
            <a:extLst>
              <a:ext uri="{FF2B5EF4-FFF2-40B4-BE49-F238E27FC236}">
                <a16:creationId xmlns:a16="http://schemas.microsoft.com/office/drawing/2014/main" id="{92A7185B-E0D2-4C29-9401-EE714742000A}"/>
              </a:ext>
            </a:extLst>
          </p:cNvPr>
          <p:cNvSpPr>
            <a:spLocks noGrp="1"/>
          </p:cNvSpPr>
          <p:nvPr>
            <p:ph type="body" sz="quarter" idx="12"/>
          </p:nvPr>
        </p:nvSpPr>
        <p:spPr/>
        <p:txBody>
          <a:bodyPr/>
          <a:lstStyle/>
          <a:p>
            <a:r>
              <a:rPr lang="en-US" dirty="0"/>
              <a:t>Date</a:t>
            </a:r>
          </a:p>
        </p:txBody>
      </p:sp>
    </p:spTree>
    <p:extLst>
      <p:ext uri="{BB962C8B-B14F-4D97-AF65-F5344CB8AC3E}">
        <p14:creationId xmlns:p14="http://schemas.microsoft.com/office/powerpoint/2010/main" val="158577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46">
            <a:extLst>
              <a:ext uri="{FF2B5EF4-FFF2-40B4-BE49-F238E27FC236}">
                <a16:creationId xmlns:a16="http://schemas.microsoft.com/office/drawing/2014/main" id="{CEF23FCB-42C8-471E-8928-96747A2763DD}"/>
              </a:ext>
            </a:extLst>
          </p:cNvPr>
          <p:cNvSpPr>
            <a:spLocks noGrp="1"/>
          </p:cNvSpPr>
          <p:nvPr>
            <p:ph type="title"/>
          </p:nvPr>
        </p:nvSpPr>
        <p:spPr/>
        <p:txBody>
          <a:bodyPr/>
          <a:lstStyle/>
          <a:p>
            <a:r>
              <a:rPr lang="en-US" dirty="0">
                <a:solidFill>
                  <a:schemeClr val="tx2"/>
                </a:solidFill>
              </a:rPr>
              <a:t>Build and deploy deep learning models</a:t>
            </a:r>
            <a:endParaRPr lang="en-IN" dirty="0">
              <a:solidFill>
                <a:schemeClr val="tx2"/>
              </a:solidFill>
            </a:endParaRPr>
          </a:p>
        </p:txBody>
      </p:sp>
      <p:grpSp>
        <p:nvGrpSpPr>
          <p:cNvPr id="279" name="Group 278">
            <a:extLst>
              <a:ext uri="{FF2B5EF4-FFF2-40B4-BE49-F238E27FC236}">
                <a16:creationId xmlns:a16="http://schemas.microsoft.com/office/drawing/2014/main" id="{1E3E1633-A882-494D-BF2A-4985BF09AE59}"/>
              </a:ext>
            </a:extLst>
          </p:cNvPr>
          <p:cNvGrpSpPr/>
          <p:nvPr/>
        </p:nvGrpSpPr>
        <p:grpSpPr>
          <a:xfrm>
            <a:off x="5816844" y="3104348"/>
            <a:ext cx="1593761" cy="587238"/>
            <a:chOff x="1794550" y="1943796"/>
            <a:chExt cx="4797273" cy="1767603"/>
          </a:xfrm>
        </p:grpSpPr>
        <p:pic>
          <p:nvPicPr>
            <p:cNvPr id="459" name="Picture 458">
              <a:extLst>
                <a:ext uri="{FF2B5EF4-FFF2-40B4-BE49-F238E27FC236}">
                  <a16:creationId xmlns:a16="http://schemas.microsoft.com/office/drawing/2014/main" id="{25FF8908-6A73-4107-BD58-11ABBFABB6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88878" y="1943796"/>
              <a:ext cx="805084" cy="939261"/>
            </a:xfrm>
            <a:prstGeom prst="rect">
              <a:avLst/>
            </a:prstGeom>
          </p:spPr>
        </p:pic>
        <p:sp>
          <p:nvSpPr>
            <p:cNvPr id="460" name="Rectangle 459">
              <a:extLst>
                <a:ext uri="{FF2B5EF4-FFF2-40B4-BE49-F238E27FC236}">
                  <a16:creationId xmlns:a16="http://schemas.microsoft.com/office/drawing/2014/main" id="{49CB4F4E-4110-4470-AB3B-BF469FF9F966}"/>
                </a:ext>
              </a:extLst>
            </p:cNvPr>
            <p:cNvSpPr/>
            <p:nvPr/>
          </p:nvSpPr>
          <p:spPr>
            <a:xfrm>
              <a:off x="1794550" y="2877624"/>
              <a:ext cx="4797273" cy="833775"/>
            </a:xfrm>
            <a:prstGeom prst="rect">
              <a:avLst/>
            </a:prstGeom>
          </p:spPr>
          <p:txBody>
            <a:bodyPr wrap="square">
              <a:spAutoFit/>
            </a:bodyPr>
            <a:lstStyle/>
            <a:p>
              <a:pPr algn="ctr" defTabSz="932472" fontAlgn="base">
                <a:spcBef>
                  <a:spcPct val="0"/>
                </a:spcBef>
                <a:spcAft>
                  <a:spcPct val="0"/>
                </a:spcAft>
                <a:defRPr/>
              </a:pPr>
              <a:r>
                <a:rPr lang="en-US" sz="1200" dirty="0">
                  <a:latin typeface="Segoe UI Semibold" panose="020B0702040204020203" pitchFamily="34" charset="0"/>
                  <a:cs typeface="Segoe UI Semibold" panose="020B0702040204020203" pitchFamily="34" charset="0"/>
                </a:rPr>
                <a:t>Azure ML Services</a:t>
              </a:r>
            </a:p>
          </p:txBody>
        </p:sp>
      </p:grpSp>
      <p:sp>
        <p:nvSpPr>
          <p:cNvPr id="280" name="Freeform: Shape 279">
            <a:extLst>
              <a:ext uri="{FF2B5EF4-FFF2-40B4-BE49-F238E27FC236}">
                <a16:creationId xmlns:a16="http://schemas.microsoft.com/office/drawing/2014/main" id="{B0FC1168-599A-4350-AFD1-5FB6351B9536}"/>
              </a:ext>
            </a:extLst>
          </p:cNvPr>
          <p:cNvSpPr/>
          <p:nvPr/>
        </p:nvSpPr>
        <p:spPr bwMode="auto">
          <a:xfrm>
            <a:off x="5859021" y="2112403"/>
            <a:ext cx="1960790" cy="1583011"/>
          </a:xfrm>
          <a:custGeom>
            <a:avLst/>
            <a:gdLst>
              <a:gd name="connsiteX0" fmla="*/ 703384 w 703384"/>
              <a:gd name="connsiteY0" fmla="*/ 0 h 3356150"/>
              <a:gd name="connsiteX1" fmla="*/ 0 w 703384"/>
              <a:gd name="connsiteY1" fmla="*/ 0 h 3356150"/>
              <a:gd name="connsiteX2" fmla="*/ 0 w 703384"/>
              <a:gd name="connsiteY2" fmla="*/ 3356150 h 3356150"/>
              <a:gd name="connsiteX3" fmla="*/ 703384 w 703384"/>
              <a:gd name="connsiteY3" fmla="*/ 3356150 h 3356150"/>
            </a:gdLst>
            <a:ahLst/>
            <a:cxnLst>
              <a:cxn ang="0">
                <a:pos x="connsiteX0" y="connsiteY0"/>
              </a:cxn>
              <a:cxn ang="0">
                <a:pos x="connsiteX1" y="connsiteY1"/>
              </a:cxn>
              <a:cxn ang="0">
                <a:pos x="connsiteX2" y="connsiteY2"/>
              </a:cxn>
              <a:cxn ang="0">
                <a:pos x="connsiteX3" y="connsiteY3"/>
              </a:cxn>
            </a:cxnLst>
            <a:rect l="l" t="t" r="r" b="b"/>
            <a:pathLst>
              <a:path w="703384" h="3356150">
                <a:moveTo>
                  <a:pt x="703384" y="0"/>
                </a:moveTo>
                <a:lnTo>
                  <a:pt x="0" y="0"/>
                </a:lnTo>
                <a:lnTo>
                  <a:pt x="0" y="3356150"/>
                </a:lnTo>
                <a:lnTo>
                  <a:pt x="703384" y="3356150"/>
                </a:lnTo>
              </a:path>
            </a:pathLst>
          </a:custGeom>
          <a:noFill/>
          <a:ln w="19050">
            <a:solidFill>
              <a:schemeClr val="bg1">
                <a:lumMod val="75000"/>
              </a:schemeClr>
            </a:solidFill>
            <a:prstDash val="solid"/>
            <a:headEnd type="arrow" w="lg"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281" name="Straight Connector 280">
            <a:extLst>
              <a:ext uri="{FF2B5EF4-FFF2-40B4-BE49-F238E27FC236}">
                <a16:creationId xmlns:a16="http://schemas.microsoft.com/office/drawing/2014/main" id="{0D3E838E-FE79-4734-816D-C2D902C888B8}"/>
              </a:ext>
            </a:extLst>
          </p:cNvPr>
          <p:cNvCxnSpPr>
            <a:cxnSpLocks/>
          </p:cNvCxnSpPr>
          <p:nvPr/>
        </p:nvCxnSpPr>
        <p:spPr>
          <a:xfrm flipH="1">
            <a:off x="5238481" y="2903908"/>
            <a:ext cx="620886" cy="0"/>
          </a:xfrm>
          <a:prstGeom prst="line">
            <a:avLst/>
          </a:prstGeom>
          <a:noFill/>
          <a:ln w="19050">
            <a:solidFill>
              <a:schemeClr val="bg1">
                <a:lumMod val="75000"/>
              </a:schemeClr>
            </a:solidFill>
            <a:prstDash val="solid"/>
            <a:headEnd type="none" w="lg" len="med"/>
            <a:tailEnd type="arrow" w="lg" len="med"/>
          </a:ln>
          <a:effectLst/>
        </p:spPr>
        <p:style>
          <a:lnRef idx="1">
            <a:schemeClr val="accent2"/>
          </a:lnRef>
          <a:fillRef idx="3">
            <a:schemeClr val="accent2"/>
          </a:fillRef>
          <a:effectRef idx="2">
            <a:schemeClr val="accent2"/>
          </a:effectRef>
          <a:fontRef idx="minor">
            <a:schemeClr val="lt1"/>
          </a:fontRef>
        </p:style>
      </p:cxnSp>
      <p:sp>
        <p:nvSpPr>
          <p:cNvPr id="282" name="Rectangle: Rounded Corners 281">
            <a:extLst>
              <a:ext uri="{FF2B5EF4-FFF2-40B4-BE49-F238E27FC236}">
                <a16:creationId xmlns:a16="http://schemas.microsoft.com/office/drawing/2014/main" id="{191D437A-F417-42A3-A07E-40357D9E7F2E}"/>
              </a:ext>
            </a:extLst>
          </p:cNvPr>
          <p:cNvSpPr/>
          <p:nvPr/>
        </p:nvSpPr>
        <p:spPr bwMode="auto">
          <a:xfrm>
            <a:off x="7817615" y="1523431"/>
            <a:ext cx="2456562" cy="1081749"/>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algn="ctr" defTabSz="932472" fontAlgn="base">
              <a:spcBef>
                <a:spcPct val="0"/>
              </a:spcBef>
              <a:spcAft>
                <a:spcPct val="0"/>
              </a:spcAft>
              <a:defRPr/>
            </a:pPr>
            <a:r>
              <a:rPr lang="en-IN" sz="1200" dirty="0">
                <a:solidFill>
                  <a:schemeClr val="tx2"/>
                </a:solidFill>
                <a:latin typeface="Segoe UI Semibold" panose="020B0702040204020203" pitchFamily="34" charset="0"/>
                <a:cs typeface="Segoe UI Semibold" panose="020B0702040204020203" pitchFamily="34" charset="0"/>
              </a:rPr>
              <a:t>Scale out clusters</a:t>
            </a:r>
          </a:p>
        </p:txBody>
      </p:sp>
      <p:sp>
        <p:nvSpPr>
          <p:cNvPr id="450" name="Oval 449">
            <a:extLst>
              <a:ext uri="{FF2B5EF4-FFF2-40B4-BE49-F238E27FC236}">
                <a16:creationId xmlns:a16="http://schemas.microsoft.com/office/drawing/2014/main" id="{4A66C5E0-67FB-44BD-B464-C8256AE0E581}"/>
              </a:ext>
            </a:extLst>
          </p:cNvPr>
          <p:cNvSpPr/>
          <p:nvPr/>
        </p:nvSpPr>
        <p:spPr bwMode="auto">
          <a:xfrm>
            <a:off x="7439437" y="1142071"/>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51" name="TextBox 450">
            <a:extLst>
              <a:ext uri="{FF2B5EF4-FFF2-40B4-BE49-F238E27FC236}">
                <a16:creationId xmlns:a16="http://schemas.microsoft.com/office/drawing/2014/main" id="{096491E5-3888-4909-9A63-A238DE437385}"/>
              </a:ext>
            </a:extLst>
          </p:cNvPr>
          <p:cNvSpPr txBox="1"/>
          <p:nvPr/>
        </p:nvSpPr>
        <p:spPr>
          <a:xfrm>
            <a:off x="7587607" y="1574363"/>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86" name="Group 285">
            <a:extLst>
              <a:ext uri="{FF2B5EF4-FFF2-40B4-BE49-F238E27FC236}">
                <a16:creationId xmlns:a16="http://schemas.microsoft.com/office/drawing/2014/main" id="{F37A3D88-8542-41B3-BB1F-CC4B026C097B}"/>
              </a:ext>
            </a:extLst>
          </p:cNvPr>
          <p:cNvGrpSpPr/>
          <p:nvPr/>
        </p:nvGrpSpPr>
        <p:grpSpPr>
          <a:xfrm>
            <a:off x="8083210" y="1230074"/>
            <a:ext cx="509795" cy="509795"/>
            <a:chOff x="8303519" y="1692273"/>
            <a:chExt cx="702207" cy="702207"/>
          </a:xfrm>
        </p:grpSpPr>
        <p:sp>
          <p:nvSpPr>
            <p:cNvPr id="431" name="Oval 430">
              <a:extLst>
                <a:ext uri="{FF2B5EF4-FFF2-40B4-BE49-F238E27FC236}">
                  <a16:creationId xmlns:a16="http://schemas.microsoft.com/office/drawing/2014/main" id="{0BBFAAA6-000D-4ABD-AD80-11034EC76EF5}"/>
                </a:ext>
              </a:extLst>
            </p:cNvPr>
            <p:cNvSpPr/>
            <p:nvPr/>
          </p:nvSpPr>
          <p:spPr bwMode="auto">
            <a:xfrm>
              <a:off x="8303519" y="1692273"/>
              <a:ext cx="702207" cy="702207"/>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432" name="Graphic 30">
              <a:extLst>
                <a:ext uri="{FF2B5EF4-FFF2-40B4-BE49-F238E27FC236}">
                  <a16:creationId xmlns:a16="http://schemas.microsoft.com/office/drawing/2014/main" id="{0701E7DF-3910-4D79-B6A9-D3AE1F8C00A5}"/>
                </a:ext>
              </a:extLst>
            </p:cNvPr>
            <p:cNvGrpSpPr/>
            <p:nvPr/>
          </p:nvGrpSpPr>
          <p:grpSpPr>
            <a:xfrm>
              <a:off x="8386379" y="1901962"/>
              <a:ext cx="536488" cy="282829"/>
              <a:chOff x="10530517" y="1546860"/>
              <a:chExt cx="819476" cy="432016"/>
            </a:xfrm>
          </p:grpSpPr>
          <p:sp>
            <p:nvSpPr>
              <p:cNvPr id="433" name="Freeform: Shape 432">
                <a:extLst>
                  <a:ext uri="{FF2B5EF4-FFF2-40B4-BE49-F238E27FC236}">
                    <a16:creationId xmlns:a16="http://schemas.microsoft.com/office/drawing/2014/main" id="{186A6A60-7BBD-40C2-9EEE-0CD53AF667D5}"/>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4" name="Freeform: Shape 433">
                <a:extLst>
                  <a:ext uri="{FF2B5EF4-FFF2-40B4-BE49-F238E27FC236}">
                    <a16:creationId xmlns:a16="http://schemas.microsoft.com/office/drawing/2014/main" id="{FA7F2539-422F-4088-8B11-A8FBB3D8498F}"/>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5" name="Freeform: Shape 434">
                <a:extLst>
                  <a:ext uri="{FF2B5EF4-FFF2-40B4-BE49-F238E27FC236}">
                    <a16:creationId xmlns:a16="http://schemas.microsoft.com/office/drawing/2014/main" id="{51CC2D93-BB1C-4A1F-83F5-7B0EBA1D2DD2}"/>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6" name="Freeform: Shape 435">
                <a:extLst>
                  <a:ext uri="{FF2B5EF4-FFF2-40B4-BE49-F238E27FC236}">
                    <a16:creationId xmlns:a16="http://schemas.microsoft.com/office/drawing/2014/main" id="{0A20E2E6-B311-4238-B61C-A39F285A26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7" name="Freeform: Shape 436">
                <a:extLst>
                  <a:ext uri="{FF2B5EF4-FFF2-40B4-BE49-F238E27FC236}">
                    <a16:creationId xmlns:a16="http://schemas.microsoft.com/office/drawing/2014/main" id="{09871E06-7464-4288-9D22-FBD5F1A61F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8" name="Freeform: Shape 437">
                <a:extLst>
                  <a:ext uri="{FF2B5EF4-FFF2-40B4-BE49-F238E27FC236}">
                    <a16:creationId xmlns:a16="http://schemas.microsoft.com/office/drawing/2014/main" id="{388568EE-19C3-4FBD-8CE6-85DD37C51226}"/>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9" name="Freeform: Shape 438">
                <a:extLst>
                  <a:ext uri="{FF2B5EF4-FFF2-40B4-BE49-F238E27FC236}">
                    <a16:creationId xmlns:a16="http://schemas.microsoft.com/office/drawing/2014/main" id="{E59EA7FB-2FCB-46BF-96CD-8E85B43883B1}"/>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0" name="Freeform: Shape 439">
                <a:extLst>
                  <a:ext uri="{FF2B5EF4-FFF2-40B4-BE49-F238E27FC236}">
                    <a16:creationId xmlns:a16="http://schemas.microsoft.com/office/drawing/2014/main" id="{FA94487F-3249-4D55-A56F-FB3E7CA8C8ED}"/>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1" name="Freeform: Shape 440">
                <a:extLst>
                  <a:ext uri="{FF2B5EF4-FFF2-40B4-BE49-F238E27FC236}">
                    <a16:creationId xmlns:a16="http://schemas.microsoft.com/office/drawing/2014/main" id="{818E7340-D8F5-4A4C-8F28-C1F7866C2691}"/>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2" name="Freeform: Shape 441">
                <a:extLst>
                  <a:ext uri="{FF2B5EF4-FFF2-40B4-BE49-F238E27FC236}">
                    <a16:creationId xmlns:a16="http://schemas.microsoft.com/office/drawing/2014/main" id="{3911005A-B7D6-41AB-821D-8412738D999E}"/>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3" name="Freeform: Shape 442">
                <a:extLst>
                  <a:ext uri="{FF2B5EF4-FFF2-40B4-BE49-F238E27FC236}">
                    <a16:creationId xmlns:a16="http://schemas.microsoft.com/office/drawing/2014/main" id="{E2AEB4BB-5831-4888-B65F-2B6A2749FDCC}"/>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4" name="Freeform: Shape 443">
                <a:extLst>
                  <a:ext uri="{FF2B5EF4-FFF2-40B4-BE49-F238E27FC236}">
                    <a16:creationId xmlns:a16="http://schemas.microsoft.com/office/drawing/2014/main" id="{3032EFFF-BFCB-4505-B641-6FF5DC805796}"/>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5" name="Freeform: Shape 444">
                <a:extLst>
                  <a:ext uri="{FF2B5EF4-FFF2-40B4-BE49-F238E27FC236}">
                    <a16:creationId xmlns:a16="http://schemas.microsoft.com/office/drawing/2014/main" id="{7FBF9DBA-86A1-462F-8EAE-ADC2356673B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B6871F6C-2159-484F-BAA0-D9C31955B58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nvGrpSpPr>
          <p:cNvPr id="288" name="Group 287">
            <a:extLst>
              <a:ext uri="{FF2B5EF4-FFF2-40B4-BE49-F238E27FC236}">
                <a16:creationId xmlns:a16="http://schemas.microsoft.com/office/drawing/2014/main" id="{DA84E787-B3AA-4C1B-A160-4D22B7807C6B}"/>
              </a:ext>
            </a:extLst>
          </p:cNvPr>
          <p:cNvGrpSpPr/>
          <p:nvPr/>
        </p:nvGrpSpPr>
        <p:grpSpPr>
          <a:xfrm>
            <a:off x="8631099" y="1603197"/>
            <a:ext cx="829595" cy="757953"/>
            <a:chOff x="4903652" y="4265116"/>
            <a:chExt cx="1320766" cy="1206708"/>
          </a:xfrm>
        </p:grpSpPr>
        <p:grpSp>
          <p:nvGrpSpPr>
            <p:cNvPr id="367" name="Group 366">
              <a:extLst>
                <a:ext uri="{FF2B5EF4-FFF2-40B4-BE49-F238E27FC236}">
                  <a16:creationId xmlns:a16="http://schemas.microsoft.com/office/drawing/2014/main" id="{19EF6898-70A7-4A12-BA9F-293B60FBA4EC}"/>
                </a:ext>
              </a:extLst>
            </p:cNvPr>
            <p:cNvGrpSpPr/>
            <p:nvPr/>
          </p:nvGrpSpPr>
          <p:grpSpPr>
            <a:xfrm>
              <a:off x="5391150" y="4603436"/>
              <a:ext cx="833268" cy="868388"/>
              <a:chOff x="4199491" y="3361552"/>
              <a:chExt cx="2024927" cy="2110272"/>
            </a:xfrm>
          </p:grpSpPr>
          <p:grpSp>
            <p:nvGrpSpPr>
              <p:cNvPr id="384" name="Group 383">
                <a:extLst>
                  <a:ext uri="{FF2B5EF4-FFF2-40B4-BE49-F238E27FC236}">
                    <a16:creationId xmlns:a16="http://schemas.microsoft.com/office/drawing/2014/main" id="{38EC2D01-27CE-47BD-97FA-82D3CAADC212}"/>
                  </a:ext>
                </a:extLst>
              </p:cNvPr>
              <p:cNvGrpSpPr/>
              <p:nvPr/>
            </p:nvGrpSpPr>
            <p:grpSpPr>
              <a:xfrm>
                <a:off x="4199491" y="3361552"/>
                <a:ext cx="2024927" cy="2110272"/>
                <a:chOff x="2862096" y="5372526"/>
                <a:chExt cx="556717" cy="580181"/>
              </a:xfrm>
            </p:grpSpPr>
            <p:sp>
              <p:nvSpPr>
                <p:cNvPr id="392" name="Freeform: Shape 391">
                  <a:extLst>
                    <a:ext uri="{FF2B5EF4-FFF2-40B4-BE49-F238E27FC236}">
                      <a16:creationId xmlns:a16="http://schemas.microsoft.com/office/drawing/2014/main" id="{434DC819-3388-4E03-ACB6-AC11D3DDB19D}"/>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423ED431-ED79-4508-900A-7D51C49A1D2E}"/>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BD6EFE12-D1B7-4F63-BC62-3955FB6E97E2}"/>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E79447FA-0084-4C1E-87DE-5347DAB4F8A7}"/>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D85C7DF2-4229-422E-9454-461A0F03E2B2}"/>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D2F7E733-750C-4891-BF3A-6ED3F14533D6}"/>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B27AA808-989F-4972-B726-14228B2D502E}"/>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385" name="Oval 384">
                <a:extLst>
                  <a:ext uri="{FF2B5EF4-FFF2-40B4-BE49-F238E27FC236}">
                    <a16:creationId xmlns:a16="http://schemas.microsoft.com/office/drawing/2014/main" id="{A8A6B5C2-3E94-4430-B2C0-8FFDD56EC342}"/>
                  </a:ext>
                </a:extLst>
              </p:cNvPr>
              <p:cNvSpPr/>
              <p:nvPr/>
            </p:nvSpPr>
            <p:spPr bwMode="auto">
              <a:xfrm>
                <a:off x="5154128" y="436149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B7E9192C-88EB-475A-9A8B-F4D459EEF9C4}"/>
                  </a:ext>
                </a:extLst>
              </p:cNvPr>
              <p:cNvSpPr/>
              <p:nvPr/>
            </p:nvSpPr>
            <p:spPr bwMode="auto">
              <a:xfrm>
                <a:off x="5782652"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B9F92770-C1C2-4676-92D3-CBA10BAFED0F}"/>
                  </a:ext>
                </a:extLst>
              </p:cNvPr>
              <p:cNvSpPr/>
              <p:nvPr/>
            </p:nvSpPr>
            <p:spPr bwMode="auto">
              <a:xfrm>
                <a:off x="5154128" y="3622567"/>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66459B13-EC53-4E89-8FC0-CE235820ADD1}"/>
                  </a:ext>
                </a:extLst>
              </p:cNvPr>
              <p:cNvSpPr/>
              <p:nvPr/>
            </p:nvSpPr>
            <p:spPr bwMode="auto">
              <a:xfrm>
                <a:off x="5156601" y="5079481"/>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Oval 388">
                <a:extLst>
                  <a:ext uri="{FF2B5EF4-FFF2-40B4-BE49-F238E27FC236}">
                    <a16:creationId xmlns:a16="http://schemas.microsoft.com/office/drawing/2014/main" id="{585B477B-A78A-4C2B-93ED-47AF573B12EB}"/>
                  </a:ext>
                </a:extLst>
              </p:cNvPr>
              <p:cNvSpPr/>
              <p:nvPr/>
            </p:nvSpPr>
            <p:spPr bwMode="auto">
              <a:xfrm>
                <a:off x="4509929" y="4715485"/>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Oval 389">
                <a:extLst>
                  <a:ext uri="{FF2B5EF4-FFF2-40B4-BE49-F238E27FC236}">
                    <a16:creationId xmlns:a16="http://schemas.microsoft.com/office/drawing/2014/main" id="{222D23A2-2A12-4F45-88E4-FC8928A36707}"/>
                  </a:ext>
                </a:extLst>
              </p:cNvPr>
              <p:cNvSpPr/>
              <p:nvPr/>
            </p:nvSpPr>
            <p:spPr bwMode="auto">
              <a:xfrm>
                <a:off x="4509929"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Oval 390">
                <a:extLst>
                  <a:ext uri="{FF2B5EF4-FFF2-40B4-BE49-F238E27FC236}">
                    <a16:creationId xmlns:a16="http://schemas.microsoft.com/office/drawing/2014/main" id="{8B70733D-8A1F-4D83-93F2-A7C35078EF33}"/>
                  </a:ext>
                </a:extLst>
              </p:cNvPr>
              <p:cNvSpPr/>
              <p:nvPr/>
            </p:nvSpPr>
            <p:spPr bwMode="auto">
              <a:xfrm>
                <a:off x="5782652" y="471905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8" name="Group 367">
              <a:extLst>
                <a:ext uri="{FF2B5EF4-FFF2-40B4-BE49-F238E27FC236}">
                  <a16:creationId xmlns:a16="http://schemas.microsoft.com/office/drawing/2014/main" id="{F6C36ADA-9C48-4442-A655-F432986F7F07}"/>
                </a:ext>
              </a:extLst>
            </p:cNvPr>
            <p:cNvGrpSpPr/>
            <p:nvPr/>
          </p:nvGrpSpPr>
          <p:grpSpPr>
            <a:xfrm>
              <a:off x="4903652" y="4265116"/>
              <a:ext cx="669287" cy="388899"/>
              <a:chOff x="4849610" y="4257156"/>
              <a:chExt cx="335619" cy="171805"/>
            </a:xfrm>
          </p:grpSpPr>
          <p:sp>
            <p:nvSpPr>
              <p:cNvPr id="380" name="Freeform: Shape 379">
                <a:extLst>
                  <a:ext uri="{FF2B5EF4-FFF2-40B4-BE49-F238E27FC236}">
                    <a16:creationId xmlns:a16="http://schemas.microsoft.com/office/drawing/2014/main" id="{B2D1B3F0-5997-45CC-98B3-83FE6458ACA7}"/>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7B93B234-0C94-43EB-A5EA-066301BBC788}"/>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E6A1BE8E-18D8-492D-AD06-4FDFADA9F32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DA0DAB71-0345-4245-92AC-50061CE54B33}"/>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369" name="Connector: Elbow 368">
              <a:extLst>
                <a:ext uri="{FF2B5EF4-FFF2-40B4-BE49-F238E27FC236}">
                  <a16:creationId xmlns:a16="http://schemas.microsoft.com/office/drawing/2014/main" id="{50C6EEC3-0F0C-4014-9C27-8ADDB186992B}"/>
                </a:ext>
              </a:extLst>
            </p:cNvPr>
            <p:cNvCxnSpPr>
              <a:stCxn id="389" idx="0"/>
              <a:endCxn id="380" idx="1"/>
            </p:cNvCxnSpPr>
            <p:nvPr/>
          </p:nvCxnSpPr>
          <p:spPr>
            <a:xfrm rot="16200000" flipV="1">
              <a:off x="4997823" y="4612492"/>
              <a:ext cx="506358" cy="589832"/>
            </a:xfrm>
            <a:prstGeom prst="bentConnector4">
              <a:avLst>
                <a:gd name="adj1" fmla="val 10518"/>
                <a:gd name="adj2" fmla="val 61243"/>
              </a:avLst>
            </a:prstGeom>
            <a:noFill/>
            <a:ln w="19050" cap="flat" cmpd="sng" algn="ctr">
              <a:solidFill>
                <a:schemeClr val="tx1"/>
              </a:solidFill>
              <a:prstDash val="solid"/>
              <a:headEnd type="none"/>
              <a:tailEnd type="none"/>
            </a:ln>
            <a:effectLst/>
          </p:spPr>
        </p:cxnSp>
        <p:cxnSp>
          <p:nvCxnSpPr>
            <p:cNvPr id="370" name="Straight Connector 369">
              <a:extLst>
                <a:ext uri="{FF2B5EF4-FFF2-40B4-BE49-F238E27FC236}">
                  <a16:creationId xmlns:a16="http://schemas.microsoft.com/office/drawing/2014/main" id="{826C0637-655C-49CB-9D7A-7AF2A92FBCEA}"/>
                </a:ext>
              </a:extLst>
            </p:cNvPr>
            <p:cNvCxnSpPr>
              <a:stCxn id="390" idx="4"/>
              <a:endCxn id="389" idx="0"/>
            </p:cNvCxnSpPr>
            <p:nvPr/>
          </p:nvCxnSpPr>
          <p:spPr>
            <a:xfrm>
              <a:off x="5545918" y="4922875"/>
              <a:ext cx="0" cy="237712"/>
            </a:xfrm>
            <a:prstGeom prst="line">
              <a:avLst/>
            </a:prstGeom>
            <a:noFill/>
            <a:ln w="19050" cap="flat" cmpd="sng" algn="ctr">
              <a:solidFill>
                <a:schemeClr val="tx1"/>
              </a:solidFill>
              <a:prstDash val="solid"/>
              <a:headEnd type="none"/>
              <a:tailEnd type="none"/>
            </a:ln>
            <a:effectLst/>
          </p:spPr>
        </p:cxnSp>
        <p:cxnSp>
          <p:nvCxnSpPr>
            <p:cNvPr id="371" name="Straight Connector 370">
              <a:extLst>
                <a:ext uri="{FF2B5EF4-FFF2-40B4-BE49-F238E27FC236}">
                  <a16:creationId xmlns:a16="http://schemas.microsoft.com/office/drawing/2014/main" id="{7E2CF02C-F8B9-4332-926C-56DBF183EE04}"/>
                </a:ext>
              </a:extLst>
            </p:cNvPr>
            <p:cNvCxnSpPr>
              <a:stCxn id="389" idx="5"/>
              <a:endCxn id="388" idx="2"/>
            </p:cNvCxnSpPr>
            <p:nvPr/>
          </p:nvCxnSpPr>
          <p:spPr>
            <a:xfrm>
              <a:off x="5565025" y="5206715"/>
              <a:ext cx="219981" cy="130679"/>
            </a:xfrm>
            <a:prstGeom prst="line">
              <a:avLst/>
            </a:prstGeom>
            <a:noFill/>
            <a:ln w="19050" cap="flat" cmpd="sng" algn="ctr">
              <a:solidFill>
                <a:schemeClr val="tx1"/>
              </a:solidFill>
              <a:prstDash val="solid"/>
              <a:headEnd type="none"/>
              <a:tailEnd type="none"/>
            </a:ln>
            <a:effectLst/>
          </p:spPr>
        </p:cxnSp>
        <p:cxnSp>
          <p:nvCxnSpPr>
            <p:cNvPr id="372" name="Straight Connector 371">
              <a:extLst>
                <a:ext uri="{FF2B5EF4-FFF2-40B4-BE49-F238E27FC236}">
                  <a16:creationId xmlns:a16="http://schemas.microsoft.com/office/drawing/2014/main" id="{A6D00F8F-513D-4A24-86A4-1778A8EAF725}"/>
                </a:ext>
              </a:extLst>
            </p:cNvPr>
            <p:cNvCxnSpPr>
              <a:cxnSpLocks/>
              <a:stCxn id="388" idx="6"/>
              <a:endCxn id="391" idx="3"/>
            </p:cNvCxnSpPr>
            <p:nvPr/>
          </p:nvCxnSpPr>
          <p:spPr>
            <a:xfrm flipV="1">
              <a:off x="5839048" y="5208182"/>
              <a:ext cx="211495" cy="129212"/>
            </a:xfrm>
            <a:prstGeom prst="line">
              <a:avLst/>
            </a:prstGeom>
            <a:noFill/>
            <a:ln w="19050" cap="flat" cmpd="sng" algn="ctr">
              <a:solidFill>
                <a:schemeClr val="tx1"/>
              </a:solidFill>
              <a:prstDash val="solid"/>
              <a:headEnd type="none"/>
              <a:tailEnd type="none"/>
            </a:ln>
            <a:effectLst/>
          </p:spPr>
        </p:cxnSp>
        <p:cxnSp>
          <p:nvCxnSpPr>
            <p:cNvPr id="373" name="Straight Connector 372">
              <a:extLst>
                <a:ext uri="{FF2B5EF4-FFF2-40B4-BE49-F238E27FC236}">
                  <a16:creationId xmlns:a16="http://schemas.microsoft.com/office/drawing/2014/main" id="{B5632994-D6F0-467D-8161-FD0AFF46C8C8}"/>
                </a:ext>
              </a:extLst>
            </p:cNvPr>
            <p:cNvCxnSpPr>
              <a:stCxn id="391" idx="0"/>
              <a:endCxn id="386" idx="4"/>
            </p:cNvCxnSpPr>
            <p:nvPr/>
          </p:nvCxnSpPr>
          <p:spPr>
            <a:xfrm flipV="1">
              <a:off x="6069650" y="4922875"/>
              <a:ext cx="0" cy="239179"/>
            </a:xfrm>
            <a:prstGeom prst="line">
              <a:avLst/>
            </a:prstGeom>
            <a:noFill/>
            <a:ln w="19050" cap="flat" cmpd="sng" algn="ctr">
              <a:solidFill>
                <a:schemeClr val="tx1"/>
              </a:solidFill>
              <a:prstDash val="solid"/>
              <a:headEnd type="none"/>
              <a:tailEnd type="none"/>
            </a:ln>
            <a:effectLst/>
          </p:spPr>
        </p:cxnSp>
        <p:cxnSp>
          <p:nvCxnSpPr>
            <p:cNvPr id="374" name="Straight Connector 373">
              <a:extLst>
                <a:ext uri="{FF2B5EF4-FFF2-40B4-BE49-F238E27FC236}">
                  <a16:creationId xmlns:a16="http://schemas.microsoft.com/office/drawing/2014/main" id="{0321E71B-E509-4AE7-88CC-AB3AA75256B2}"/>
                </a:ext>
              </a:extLst>
            </p:cNvPr>
            <p:cNvCxnSpPr>
              <a:cxnSpLocks/>
              <a:stCxn id="386" idx="1"/>
              <a:endCxn id="387" idx="5"/>
            </p:cNvCxnSpPr>
            <p:nvPr/>
          </p:nvCxnSpPr>
          <p:spPr>
            <a:xfrm flipH="1" flipV="1">
              <a:off x="5830116" y="4756973"/>
              <a:ext cx="220427" cy="119774"/>
            </a:xfrm>
            <a:prstGeom prst="line">
              <a:avLst/>
            </a:prstGeom>
            <a:noFill/>
            <a:ln w="19050" cap="flat" cmpd="sng" algn="ctr">
              <a:solidFill>
                <a:schemeClr val="tx1"/>
              </a:solidFill>
              <a:prstDash val="solid"/>
              <a:headEnd type="none"/>
              <a:tailEnd type="none"/>
            </a:ln>
            <a:effectLst/>
          </p:spPr>
        </p:cxnSp>
        <p:cxnSp>
          <p:nvCxnSpPr>
            <p:cNvPr id="375" name="Straight Connector 374">
              <a:extLst>
                <a:ext uri="{FF2B5EF4-FFF2-40B4-BE49-F238E27FC236}">
                  <a16:creationId xmlns:a16="http://schemas.microsoft.com/office/drawing/2014/main" id="{766551E4-2FEE-4D67-8897-43C8E7EB663A}"/>
                </a:ext>
              </a:extLst>
            </p:cNvPr>
            <p:cNvCxnSpPr>
              <a:stCxn id="387" idx="3"/>
              <a:endCxn id="390" idx="7"/>
            </p:cNvCxnSpPr>
            <p:nvPr/>
          </p:nvCxnSpPr>
          <p:spPr>
            <a:xfrm flipH="1">
              <a:off x="5565025" y="4756973"/>
              <a:ext cx="226877" cy="119774"/>
            </a:xfrm>
            <a:prstGeom prst="line">
              <a:avLst/>
            </a:prstGeom>
            <a:noFill/>
            <a:ln w="19050" cap="flat" cmpd="sng" algn="ctr">
              <a:solidFill>
                <a:schemeClr val="tx1"/>
              </a:solidFill>
              <a:prstDash val="solid"/>
              <a:headEnd type="none"/>
              <a:tailEnd type="none"/>
            </a:ln>
            <a:effectLst/>
          </p:spPr>
        </p:cxnSp>
        <p:cxnSp>
          <p:nvCxnSpPr>
            <p:cNvPr id="376" name="Straight Connector 375">
              <a:extLst>
                <a:ext uri="{FF2B5EF4-FFF2-40B4-BE49-F238E27FC236}">
                  <a16:creationId xmlns:a16="http://schemas.microsoft.com/office/drawing/2014/main" id="{7F75C137-7472-4364-8BB9-BE7648467163}"/>
                </a:ext>
              </a:extLst>
            </p:cNvPr>
            <p:cNvCxnSpPr>
              <a:cxnSpLocks/>
              <a:stCxn id="385" idx="5"/>
              <a:endCxn id="391" idx="1"/>
            </p:cNvCxnSpPr>
            <p:nvPr/>
          </p:nvCxnSpPr>
          <p:spPr>
            <a:xfrm>
              <a:off x="5830116" y="5061044"/>
              <a:ext cx="220427" cy="108924"/>
            </a:xfrm>
            <a:prstGeom prst="line">
              <a:avLst/>
            </a:prstGeom>
            <a:noFill/>
            <a:ln w="19050" cap="flat" cmpd="sng" algn="ctr">
              <a:solidFill>
                <a:schemeClr val="tx1"/>
              </a:solidFill>
              <a:prstDash val="solid"/>
              <a:headEnd type="none"/>
              <a:tailEnd type="none"/>
            </a:ln>
            <a:effectLst/>
          </p:spPr>
        </p:cxnSp>
        <p:cxnSp>
          <p:nvCxnSpPr>
            <p:cNvPr id="377" name="Straight Connector 376">
              <a:extLst>
                <a:ext uri="{FF2B5EF4-FFF2-40B4-BE49-F238E27FC236}">
                  <a16:creationId xmlns:a16="http://schemas.microsoft.com/office/drawing/2014/main" id="{3FD51F42-5E01-4CC3-9A70-30E3D3E8DA50}"/>
                </a:ext>
              </a:extLst>
            </p:cNvPr>
            <p:cNvCxnSpPr>
              <a:stCxn id="385" idx="3"/>
              <a:endCxn id="389" idx="6"/>
            </p:cNvCxnSpPr>
            <p:nvPr/>
          </p:nvCxnSpPr>
          <p:spPr>
            <a:xfrm flipH="1">
              <a:off x="5572939" y="5061044"/>
              <a:ext cx="218963" cy="126564"/>
            </a:xfrm>
            <a:prstGeom prst="line">
              <a:avLst/>
            </a:prstGeom>
            <a:noFill/>
            <a:ln w="19050" cap="flat" cmpd="sng" algn="ctr">
              <a:solidFill>
                <a:schemeClr val="tx1"/>
              </a:solidFill>
              <a:prstDash val="solid"/>
              <a:headEnd type="none"/>
              <a:tailEnd type="none"/>
            </a:ln>
            <a:effectLst/>
          </p:spPr>
        </p:cxnSp>
        <p:cxnSp>
          <p:nvCxnSpPr>
            <p:cNvPr id="378" name="Straight Connector 377">
              <a:extLst>
                <a:ext uri="{FF2B5EF4-FFF2-40B4-BE49-F238E27FC236}">
                  <a16:creationId xmlns:a16="http://schemas.microsoft.com/office/drawing/2014/main" id="{37614BF7-BDC4-46BA-919E-D97F4DEE930A}"/>
                </a:ext>
              </a:extLst>
            </p:cNvPr>
            <p:cNvCxnSpPr>
              <a:stCxn id="385" idx="7"/>
              <a:endCxn id="386" idx="3"/>
            </p:cNvCxnSpPr>
            <p:nvPr/>
          </p:nvCxnSpPr>
          <p:spPr>
            <a:xfrm flipV="1">
              <a:off x="5830116" y="4914961"/>
              <a:ext cx="220427" cy="107869"/>
            </a:xfrm>
            <a:prstGeom prst="line">
              <a:avLst/>
            </a:prstGeom>
            <a:noFill/>
            <a:ln w="19050" cap="flat" cmpd="sng" algn="ctr">
              <a:solidFill>
                <a:schemeClr val="tx1"/>
              </a:solidFill>
              <a:prstDash val="solid"/>
              <a:headEnd type="none"/>
              <a:tailEnd type="none"/>
            </a:ln>
            <a:effectLst/>
          </p:spPr>
        </p:cxnSp>
        <p:cxnSp>
          <p:nvCxnSpPr>
            <p:cNvPr id="379" name="Straight Connector 378">
              <a:extLst>
                <a:ext uri="{FF2B5EF4-FFF2-40B4-BE49-F238E27FC236}">
                  <a16:creationId xmlns:a16="http://schemas.microsoft.com/office/drawing/2014/main" id="{1D15C8AE-A6B2-4E05-85F3-A3EC96E44D7F}"/>
                </a:ext>
              </a:extLst>
            </p:cNvPr>
            <p:cNvCxnSpPr>
              <a:stCxn id="385" idx="1"/>
              <a:endCxn id="390" idx="5"/>
            </p:cNvCxnSpPr>
            <p:nvPr/>
          </p:nvCxnSpPr>
          <p:spPr>
            <a:xfrm flipH="1" flipV="1">
              <a:off x="5565025" y="4914961"/>
              <a:ext cx="226877" cy="107869"/>
            </a:xfrm>
            <a:prstGeom prst="line">
              <a:avLst/>
            </a:prstGeom>
            <a:noFill/>
            <a:ln w="19050" cap="flat" cmpd="sng" algn="ctr">
              <a:solidFill>
                <a:schemeClr val="tx1"/>
              </a:solidFill>
              <a:prstDash val="solid"/>
              <a:headEnd type="none"/>
              <a:tailEnd type="none"/>
            </a:ln>
            <a:effectLst/>
          </p:spPr>
        </p:cxnSp>
      </p:grpSp>
      <p:sp>
        <p:nvSpPr>
          <p:cNvPr id="277" name="Rectangle: Rounded Corners 276">
            <a:extLst>
              <a:ext uri="{FF2B5EF4-FFF2-40B4-BE49-F238E27FC236}">
                <a16:creationId xmlns:a16="http://schemas.microsoft.com/office/drawing/2014/main" id="{52124EC3-EAFA-411E-9C0F-5F1B3567CE04}"/>
              </a:ext>
            </a:extLst>
          </p:cNvPr>
          <p:cNvSpPr/>
          <p:nvPr/>
        </p:nvSpPr>
        <p:spPr bwMode="auto">
          <a:xfrm>
            <a:off x="2778745" y="2359419"/>
            <a:ext cx="2459736" cy="1078992"/>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Notebooks</a:t>
            </a:r>
          </a:p>
        </p:txBody>
      </p:sp>
      <p:sp>
        <p:nvSpPr>
          <p:cNvPr id="461" name="Oval 460">
            <a:extLst>
              <a:ext uri="{FF2B5EF4-FFF2-40B4-BE49-F238E27FC236}">
                <a16:creationId xmlns:a16="http://schemas.microsoft.com/office/drawing/2014/main" id="{BAF3CFD5-8350-47B5-A091-07B55AC74E90}"/>
              </a:ext>
            </a:extLst>
          </p:cNvPr>
          <p:cNvSpPr/>
          <p:nvPr/>
        </p:nvSpPr>
        <p:spPr bwMode="auto">
          <a:xfrm>
            <a:off x="2394609" y="1970521"/>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62" name="TextBox 461">
            <a:extLst>
              <a:ext uri="{FF2B5EF4-FFF2-40B4-BE49-F238E27FC236}">
                <a16:creationId xmlns:a16="http://schemas.microsoft.com/office/drawing/2014/main" id="{30CE3C66-6EAF-4B44-B3AF-3FAA1E7EB5A7}"/>
              </a:ext>
            </a:extLst>
          </p:cNvPr>
          <p:cNvSpPr txBox="1"/>
          <p:nvPr/>
        </p:nvSpPr>
        <p:spPr>
          <a:xfrm>
            <a:off x="2546866" y="2385766"/>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89" name="Group 288">
            <a:extLst>
              <a:ext uri="{FF2B5EF4-FFF2-40B4-BE49-F238E27FC236}">
                <a16:creationId xmlns:a16="http://schemas.microsoft.com/office/drawing/2014/main" id="{A559975E-05DE-43DF-85B1-B0F73E36A434}"/>
              </a:ext>
            </a:extLst>
          </p:cNvPr>
          <p:cNvGrpSpPr/>
          <p:nvPr/>
        </p:nvGrpSpPr>
        <p:grpSpPr>
          <a:xfrm>
            <a:off x="3392769" y="2528797"/>
            <a:ext cx="1231689" cy="592811"/>
            <a:chOff x="9374531" y="4508039"/>
            <a:chExt cx="2506138" cy="1206201"/>
          </a:xfrm>
        </p:grpSpPr>
        <p:grpSp>
          <p:nvGrpSpPr>
            <p:cNvPr id="290" name="Group 289">
              <a:extLst>
                <a:ext uri="{FF2B5EF4-FFF2-40B4-BE49-F238E27FC236}">
                  <a16:creationId xmlns:a16="http://schemas.microsoft.com/office/drawing/2014/main" id="{4F06719E-BEFB-4517-9ACC-AD5615FDDA9C}"/>
                </a:ext>
              </a:extLst>
            </p:cNvPr>
            <p:cNvGrpSpPr/>
            <p:nvPr/>
          </p:nvGrpSpPr>
          <p:grpSpPr>
            <a:xfrm>
              <a:off x="10646904" y="4643752"/>
              <a:ext cx="1233765" cy="902565"/>
              <a:chOff x="13829626" y="4796630"/>
              <a:chExt cx="1791120" cy="1310299"/>
            </a:xfrm>
          </p:grpSpPr>
          <p:grpSp>
            <p:nvGrpSpPr>
              <p:cNvPr id="343" name="Group 342">
                <a:extLst>
                  <a:ext uri="{FF2B5EF4-FFF2-40B4-BE49-F238E27FC236}">
                    <a16:creationId xmlns:a16="http://schemas.microsoft.com/office/drawing/2014/main" id="{AEC00C0A-1CD8-421A-A998-B2B2C9EEFCB6}"/>
                  </a:ext>
                </a:extLst>
              </p:cNvPr>
              <p:cNvGrpSpPr/>
              <p:nvPr/>
            </p:nvGrpSpPr>
            <p:grpSpPr>
              <a:xfrm>
                <a:off x="15083636" y="5056077"/>
                <a:ext cx="537110" cy="802560"/>
                <a:chOff x="16928640" y="5794182"/>
                <a:chExt cx="333504" cy="498326"/>
              </a:xfrm>
            </p:grpSpPr>
            <p:sp>
              <p:nvSpPr>
                <p:cNvPr id="361" name="Freeform: Shape 360">
                  <a:extLst>
                    <a:ext uri="{FF2B5EF4-FFF2-40B4-BE49-F238E27FC236}">
                      <a16:creationId xmlns:a16="http://schemas.microsoft.com/office/drawing/2014/main" id="{B4578246-F2F3-47D5-A0E5-2F7FFB94927E}"/>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362" name="Straight Connector 361">
                  <a:extLst>
                    <a:ext uri="{FF2B5EF4-FFF2-40B4-BE49-F238E27FC236}">
                      <a16:creationId xmlns:a16="http://schemas.microsoft.com/office/drawing/2014/main" id="{5631591B-61CB-43B6-BF06-A880B10F6896}"/>
                    </a:ext>
                  </a:extLst>
                </p:cNvPr>
                <p:cNvCxnSpPr/>
                <p:nvPr/>
              </p:nvCxnSpPr>
              <p:spPr>
                <a:xfrm>
                  <a:off x="17027338" y="6179152"/>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3" name="Straight Connector 362">
                  <a:extLst>
                    <a:ext uri="{FF2B5EF4-FFF2-40B4-BE49-F238E27FC236}">
                      <a16:creationId xmlns:a16="http://schemas.microsoft.com/office/drawing/2014/main" id="{D3FD47C8-7985-4683-9F73-FF5BA3F60C81}"/>
                    </a:ext>
                  </a:extLst>
                </p:cNvPr>
                <p:cNvCxnSpPr/>
                <p:nvPr/>
              </p:nvCxnSpPr>
              <p:spPr>
                <a:xfrm>
                  <a:off x="17027338" y="6218937"/>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4" name="Straight Connector 363">
                  <a:extLst>
                    <a:ext uri="{FF2B5EF4-FFF2-40B4-BE49-F238E27FC236}">
                      <a16:creationId xmlns:a16="http://schemas.microsoft.com/office/drawing/2014/main" id="{5085B8AD-4F17-4E2A-B65A-A925F0D4E13E}"/>
                    </a:ext>
                  </a:extLst>
                </p:cNvPr>
                <p:cNvCxnSpPr/>
                <p:nvPr/>
              </p:nvCxnSpPr>
              <p:spPr>
                <a:xfrm>
                  <a:off x="17027338" y="6255640"/>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5" name="Straight Connector 364">
                  <a:extLst>
                    <a:ext uri="{FF2B5EF4-FFF2-40B4-BE49-F238E27FC236}">
                      <a16:creationId xmlns:a16="http://schemas.microsoft.com/office/drawing/2014/main" id="{481E6347-7D97-416E-8AFD-3CA71C7ED205}"/>
                    </a:ext>
                  </a:extLst>
                </p:cNvPr>
                <p:cNvCxnSpPr/>
                <p:nvPr/>
              </p:nvCxnSpPr>
              <p:spPr>
                <a:xfrm>
                  <a:off x="17070997" y="6292508"/>
                  <a:ext cx="5479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6" name="Freeform: Shape 365">
                  <a:extLst>
                    <a:ext uri="{FF2B5EF4-FFF2-40B4-BE49-F238E27FC236}">
                      <a16:creationId xmlns:a16="http://schemas.microsoft.com/office/drawing/2014/main" id="{0F893FCC-227A-4C70-BA17-8D809CF99E6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4" name="Oval 343">
                <a:extLst>
                  <a:ext uri="{FF2B5EF4-FFF2-40B4-BE49-F238E27FC236}">
                    <a16:creationId xmlns:a16="http://schemas.microsoft.com/office/drawing/2014/main" id="{B292B3E5-24D0-4272-AC26-C8A16D8F26F6}"/>
                  </a:ext>
                </a:extLst>
              </p:cNvPr>
              <p:cNvSpPr/>
              <p:nvPr/>
            </p:nvSpPr>
            <p:spPr bwMode="auto">
              <a:xfrm>
                <a:off x="13829626" y="4796630"/>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5" name="Oval 344">
                <a:extLst>
                  <a:ext uri="{FF2B5EF4-FFF2-40B4-BE49-F238E27FC236}">
                    <a16:creationId xmlns:a16="http://schemas.microsoft.com/office/drawing/2014/main" id="{1E587A7E-CE88-4383-9812-44D1ACFDE896}"/>
                  </a:ext>
                </a:extLst>
              </p:cNvPr>
              <p:cNvSpPr/>
              <p:nvPr/>
            </p:nvSpPr>
            <p:spPr bwMode="auto">
              <a:xfrm>
                <a:off x="13829626" y="5288745"/>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6" name="Oval 345">
                <a:extLst>
                  <a:ext uri="{FF2B5EF4-FFF2-40B4-BE49-F238E27FC236}">
                    <a16:creationId xmlns:a16="http://schemas.microsoft.com/office/drawing/2014/main" id="{46275E1E-396E-429A-B3BD-BA884FA677A9}"/>
                  </a:ext>
                </a:extLst>
              </p:cNvPr>
              <p:cNvSpPr/>
              <p:nvPr/>
            </p:nvSpPr>
            <p:spPr bwMode="auto">
              <a:xfrm>
                <a:off x="13829626" y="5780859"/>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7" name="Oval 346">
                <a:extLst>
                  <a:ext uri="{FF2B5EF4-FFF2-40B4-BE49-F238E27FC236}">
                    <a16:creationId xmlns:a16="http://schemas.microsoft.com/office/drawing/2014/main" id="{07988815-8085-401D-8BCB-CE5DAD63DACB}"/>
                  </a:ext>
                </a:extLst>
              </p:cNvPr>
              <p:cNvSpPr/>
              <p:nvPr/>
            </p:nvSpPr>
            <p:spPr bwMode="auto">
              <a:xfrm>
                <a:off x="14416600" y="4796630"/>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8" name="Oval 347">
                <a:extLst>
                  <a:ext uri="{FF2B5EF4-FFF2-40B4-BE49-F238E27FC236}">
                    <a16:creationId xmlns:a16="http://schemas.microsoft.com/office/drawing/2014/main" id="{A4E447AF-AB02-4D75-B3EA-6B934B83648D}"/>
                  </a:ext>
                </a:extLst>
              </p:cNvPr>
              <p:cNvSpPr/>
              <p:nvPr/>
            </p:nvSpPr>
            <p:spPr bwMode="auto">
              <a:xfrm>
                <a:off x="14416600" y="5288745"/>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9" name="Oval 348">
                <a:extLst>
                  <a:ext uri="{FF2B5EF4-FFF2-40B4-BE49-F238E27FC236}">
                    <a16:creationId xmlns:a16="http://schemas.microsoft.com/office/drawing/2014/main" id="{8651B9C2-0697-4EC0-A8F9-FB5F47E677EB}"/>
                  </a:ext>
                </a:extLst>
              </p:cNvPr>
              <p:cNvSpPr/>
              <p:nvPr/>
            </p:nvSpPr>
            <p:spPr bwMode="auto">
              <a:xfrm>
                <a:off x="14416600" y="5780859"/>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350" name="Straight Connector 349">
                <a:extLst>
                  <a:ext uri="{FF2B5EF4-FFF2-40B4-BE49-F238E27FC236}">
                    <a16:creationId xmlns:a16="http://schemas.microsoft.com/office/drawing/2014/main" id="{AACDF2E1-1374-46D6-81E6-D19954588CE5}"/>
                  </a:ext>
                </a:extLst>
              </p:cNvPr>
              <p:cNvCxnSpPr>
                <a:cxnSpLocks/>
                <a:stCxn id="344" idx="6"/>
                <a:endCxn id="347" idx="2"/>
              </p:cNvCxnSpPr>
              <p:nvPr/>
            </p:nvCxnSpPr>
            <p:spPr>
              <a:xfrm>
                <a:off x="14155696" y="4959665"/>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1" name="Straight Connector 350">
                <a:extLst>
                  <a:ext uri="{FF2B5EF4-FFF2-40B4-BE49-F238E27FC236}">
                    <a16:creationId xmlns:a16="http://schemas.microsoft.com/office/drawing/2014/main" id="{DA46506E-D930-4BA5-ACE6-3B3BE391DDAF}"/>
                  </a:ext>
                </a:extLst>
              </p:cNvPr>
              <p:cNvCxnSpPr>
                <a:cxnSpLocks/>
                <a:stCxn id="345" idx="6"/>
                <a:endCxn id="348" idx="2"/>
              </p:cNvCxnSpPr>
              <p:nvPr/>
            </p:nvCxnSpPr>
            <p:spPr>
              <a:xfrm>
                <a:off x="14155696" y="5451780"/>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2" name="Straight Connector 351">
                <a:extLst>
                  <a:ext uri="{FF2B5EF4-FFF2-40B4-BE49-F238E27FC236}">
                    <a16:creationId xmlns:a16="http://schemas.microsoft.com/office/drawing/2014/main" id="{C6818AE7-272F-4D30-98F9-F6A1A0C481A0}"/>
                  </a:ext>
                </a:extLst>
              </p:cNvPr>
              <p:cNvCxnSpPr>
                <a:cxnSpLocks/>
                <a:stCxn id="346" idx="6"/>
                <a:endCxn id="349" idx="2"/>
              </p:cNvCxnSpPr>
              <p:nvPr/>
            </p:nvCxnSpPr>
            <p:spPr>
              <a:xfrm>
                <a:off x="14155696" y="5943894"/>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3" name="Straight Connector 352">
                <a:extLst>
                  <a:ext uri="{FF2B5EF4-FFF2-40B4-BE49-F238E27FC236}">
                    <a16:creationId xmlns:a16="http://schemas.microsoft.com/office/drawing/2014/main" id="{9EBBA4C6-98A3-4249-ADAE-CAE92BDA8AF3}"/>
                  </a:ext>
                </a:extLst>
              </p:cNvPr>
              <p:cNvCxnSpPr>
                <a:cxnSpLocks/>
                <a:stCxn id="344" idx="5"/>
                <a:endCxn id="348" idx="1"/>
              </p:cNvCxnSpPr>
              <p:nvPr/>
            </p:nvCxnSpPr>
            <p:spPr>
              <a:xfrm>
                <a:off x="14107944" y="5074948"/>
                <a:ext cx="356408" cy="261549"/>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4" name="Straight Connector 353">
                <a:extLst>
                  <a:ext uri="{FF2B5EF4-FFF2-40B4-BE49-F238E27FC236}">
                    <a16:creationId xmlns:a16="http://schemas.microsoft.com/office/drawing/2014/main" id="{9BCDBD39-8FE7-4FC3-9CDF-F40576442B73}"/>
                  </a:ext>
                </a:extLst>
              </p:cNvPr>
              <p:cNvCxnSpPr>
                <a:cxnSpLocks/>
                <a:stCxn id="345" idx="5"/>
                <a:endCxn id="349" idx="1"/>
              </p:cNvCxnSpPr>
              <p:nvPr/>
            </p:nvCxnSpPr>
            <p:spPr>
              <a:xfrm>
                <a:off x="14107944" y="5567063"/>
                <a:ext cx="356408" cy="261548"/>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5" name="Straight Connector 354">
                <a:extLst>
                  <a:ext uri="{FF2B5EF4-FFF2-40B4-BE49-F238E27FC236}">
                    <a16:creationId xmlns:a16="http://schemas.microsoft.com/office/drawing/2014/main" id="{0093778D-4816-4ED7-9B97-2079FF06FB5E}"/>
                  </a:ext>
                </a:extLst>
              </p:cNvPr>
              <p:cNvCxnSpPr>
                <a:cxnSpLocks/>
                <a:stCxn id="348" idx="3"/>
                <a:endCxn id="346" idx="7"/>
              </p:cNvCxnSpPr>
              <p:nvPr/>
            </p:nvCxnSpPr>
            <p:spPr>
              <a:xfrm flipH="1">
                <a:off x="14107944" y="5567063"/>
                <a:ext cx="356408" cy="261548"/>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6" name="Straight Connector 355">
                <a:extLst>
                  <a:ext uri="{FF2B5EF4-FFF2-40B4-BE49-F238E27FC236}">
                    <a16:creationId xmlns:a16="http://schemas.microsoft.com/office/drawing/2014/main" id="{FBB8DBE8-8040-4DB4-9EAA-8C6A150EECC8}"/>
                  </a:ext>
                </a:extLst>
              </p:cNvPr>
              <p:cNvCxnSpPr>
                <a:cxnSpLocks/>
                <a:stCxn id="347" idx="3"/>
                <a:endCxn id="345" idx="7"/>
              </p:cNvCxnSpPr>
              <p:nvPr/>
            </p:nvCxnSpPr>
            <p:spPr>
              <a:xfrm flipH="1">
                <a:off x="14107944" y="5074948"/>
                <a:ext cx="356408" cy="261549"/>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57" name="Group 356">
                <a:extLst>
                  <a:ext uri="{FF2B5EF4-FFF2-40B4-BE49-F238E27FC236}">
                    <a16:creationId xmlns:a16="http://schemas.microsoft.com/office/drawing/2014/main" id="{C09F1DC9-1B7D-4251-B17C-A57E8207E4AE}"/>
                  </a:ext>
                </a:extLst>
              </p:cNvPr>
              <p:cNvGrpSpPr/>
              <p:nvPr/>
            </p:nvGrpSpPr>
            <p:grpSpPr>
              <a:xfrm>
                <a:off x="14742670" y="5451780"/>
                <a:ext cx="141583" cy="492114"/>
                <a:chOff x="14931730" y="5991076"/>
                <a:chExt cx="165918" cy="492114"/>
              </a:xfrm>
            </p:grpSpPr>
            <p:cxnSp>
              <p:nvCxnSpPr>
                <p:cNvPr id="359" name="Straight Connector 358">
                  <a:extLst>
                    <a:ext uri="{FF2B5EF4-FFF2-40B4-BE49-F238E27FC236}">
                      <a16:creationId xmlns:a16="http://schemas.microsoft.com/office/drawing/2014/main" id="{992A850E-51C0-4844-9DBE-1FEEB4EAB4D1}"/>
                    </a:ext>
                  </a:extLst>
                </p:cNvPr>
                <p:cNvCxnSpPr>
                  <a:cxnSpLocks/>
                  <a:stCxn id="348" idx="6"/>
                </p:cNvCxnSpPr>
                <p:nvPr/>
              </p:nvCxnSpPr>
              <p:spPr>
                <a:xfrm>
                  <a:off x="14931730" y="5991076"/>
                  <a:ext cx="165918"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0" name="Straight Connector 359">
                  <a:extLst>
                    <a:ext uri="{FF2B5EF4-FFF2-40B4-BE49-F238E27FC236}">
                      <a16:creationId xmlns:a16="http://schemas.microsoft.com/office/drawing/2014/main" id="{863FBBF5-267B-423B-8C3D-96D082FBA26F}"/>
                    </a:ext>
                  </a:extLst>
                </p:cNvPr>
                <p:cNvCxnSpPr>
                  <a:cxnSpLocks/>
                  <a:stCxn id="349" idx="6"/>
                </p:cNvCxnSpPr>
                <p:nvPr/>
              </p:nvCxnSpPr>
              <p:spPr>
                <a:xfrm>
                  <a:off x="14931730" y="6483190"/>
                  <a:ext cx="165918"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58" name="Freeform: Shape 357">
                <a:extLst>
                  <a:ext uri="{FF2B5EF4-FFF2-40B4-BE49-F238E27FC236}">
                    <a16:creationId xmlns:a16="http://schemas.microsoft.com/office/drawing/2014/main" id="{18A28A8F-2ED6-4E6F-8E5B-1FE0CF10E0A3}"/>
                  </a:ext>
                </a:extLst>
              </p:cNvPr>
              <p:cNvSpPr/>
              <p:nvPr/>
            </p:nvSpPr>
            <p:spPr bwMode="auto">
              <a:xfrm>
                <a:off x="14748497" y="4959665"/>
                <a:ext cx="606552" cy="1143000"/>
              </a:xfrm>
              <a:custGeom>
                <a:avLst/>
                <a:gdLst>
                  <a:gd name="connsiteX0" fmla="*/ 0 w 602901"/>
                  <a:gd name="connsiteY0" fmla="*/ 5025 h 1170633"/>
                  <a:gd name="connsiteX1" fmla="*/ 155750 w 602901"/>
                  <a:gd name="connsiteY1" fmla="*/ 0 h 1170633"/>
                  <a:gd name="connsiteX2" fmla="*/ 150725 w 602901"/>
                  <a:gd name="connsiteY2" fmla="*/ 1170633 h 1170633"/>
                  <a:gd name="connsiteX3" fmla="*/ 597877 w 602901"/>
                  <a:gd name="connsiteY3" fmla="*/ 1170633 h 1170633"/>
                  <a:gd name="connsiteX4" fmla="*/ 602901 w 602901"/>
                  <a:gd name="connsiteY4" fmla="*/ 934497 h 1170633"/>
                  <a:gd name="connsiteX0" fmla="*/ 0 w 602901"/>
                  <a:gd name="connsiteY0" fmla="*/ 2168 h 1167776"/>
                  <a:gd name="connsiteX1" fmla="*/ 158608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2893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0036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01" h="1167776">
                    <a:moveTo>
                      <a:pt x="0" y="2168"/>
                    </a:moveTo>
                    <a:lnTo>
                      <a:pt x="150036" y="0"/>
                    </a:lnTo>
                    <a:cubicBezTo>
                      <a:pt x="147408" y="389259"/>
                      <a:pt x="153353" y="778517"/>
                      <a:pt x="150725" y="1167776"/>
                    </a:cubicBezTo>
                    <a:lnTo>
                      <a:pt x="597877" y="1167776"/>
                    </a:lnTo>
                    <a:lnTo>
                      <a:pt x="602901" y="931640"/>
                    </a:ln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291" name="Isosceles Triangle 290">
              <a:extLst>
                <a:ext uri="{FF2B5EF4-FFF2-40B4-BE49-F238E27FC236}">
                  <a16:creationId xmlns:a16="http://schemas.microsoft.com/office/drawing/2014/main" id="{5CA7FF49-B4F8-4419-83BD-39F3634EA2CC}"/>
                </a:ext>
              </a:extLst>
            </p:cNvPr>
            <p:cNvSpPr/>
            <p:nvPr/>
          </p:nvSpPr>
          <p:spPr bwMode="auto">
            <a:xfrm rot="5400000">
              <a:off x="10412230" y="5033157"/>
              <a:ext cx="146043" cy="125904"/>
            </a:xfrm>
            <a:prstGeom prst="triangl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92" name="Isosceles Triangle 291">
              <a:extLst>
                <a:ext uri="{FF2B5EF4-FFF2-40B4-BE49-F238E27FC236}">
                  <a16:creationId xmlns:a16="http://schemas.microsoft.com/office/drawing/2014/main" id="{5D3F3A34-FF9A-4C34-A2E3-194977BA6972}"/>
                </a:ext>
              </a:extLst>
            </p:cNvPr>
            <p:cNvSpPr/>
            <p:nvPr/>
          </p:nvSpPr>
          <p:spPr bwMode="auto">
            <a:xfrm rot="10800000">
              <a:off x="9772567" y="4508039"/>
              <a:ext cx="145733" cy="125633"/>
            </a:xfrm>
            <a:prstGeom prst="triangl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293" name="Connector: Elbow 292">
              <a:extLst>
                <a:ext uri="{FF2B5EF4-FFF2-40B4-BE49-F238E27FC236}">
                  <a16:creationId xmlns:a16="http://schemas.microsoft.com/office/drawing/2014/main" id="{F3C37C23-5A95-4C4B-A1FF-DC67DC13C8D8}"/>
                </a:ext>
              </a:extLst>
            </p:cNvPr>
            <p:cNvCxnSpPr>
              <a:cxnSpLocks/>
              <a:stCxn id="292" idx="3"/>
            </p:cNvCxnSpPr>
            <p:nvPr/>
          </p:nvCxnSpPr>
          <p:spPr>
            <a:xfrm rot="16200000" flipH="1">
              <a:off x="10644369" y="3709103"/>
              <a:ext cx="261322" cy="1859194"/>
            </a:xfrm>
            <a:prstGeom prst="bentConnector4">
              <a:avLst>
                <a:gd name="adj1" fmla="val -42039"/>
                <a:gd name="adj2" fmla="val 99359"/>
              </a:avLst>
            </a:prstGeom>
            <a:noFill/>
            <a:ln w="15875" cap="flat" cmpd="sng" algn="ctr">
              <a:solidFill>
                <a:schemeClr val="tx1"/>
              </a:solidFill>
              <a:prstDash val="solid"/>
              <a:headEnd type="none"/>
              <a:tailEnd type="none"/>
            </a:ln>
            <a:effectLst/>
          </p:spPr>
        </p:cxnSp>
        <p:grpSp>
          <p:nvGrpSpPr>
            <p:cNvPr id="294" name="Group 293">
              <a:extLst>
                <a:ext uri="{FF2B5EF4-FFF2-40B4-BE49-F238E27FC236}">
                  <a16:creationId xmlns:a16="http://schemas.microsoft.com/office/drawing/2014/main" id="{C2CA8765-95A1-4F4C-ABC7-DC93C983EB04}"/>
                </a:ext>
              </a:extLst>
            </p:cNvPr>
            <p:cNvGrpSpPr/>
            <p:nvPr/>
          </p:nvGrpSpPr>
          <p:grpSpPr>
            <a:xfrm>
              <a:off x="9374531" y="4685452"/>
              <a:ext cx="937346" cy="1028788"/>
              <a:chOff x="3321657" y="1073160"/>
              <a:chExt cx="1372605" cy="1506509"/>
            </a:xfrm>
          </p:grpSpPr>
          <p:sp>
            <p:nvSpPr>
              <p:cNvPr id="295" name="Freeform: Shape 294">
                <a:extLst>
                  <a:ext uri="{FF2B5EF4-FFF2-40B4-BE49-F238E27FC236}">
                    <a16:creationId xmlns:a16="http://schemas.microsoft.com/office/drawing/2014/main" id="{F5D96944-98AF-4B9A-B36A-E5EFB6DB1E9F}"/>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CBFA179A-87AB-4434-AE27-445CE3E0953D}"/>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8AFFCB12-F4ED-49FF-99FF-F86B82BA9813}"/>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F547E7A6-9991-4BC9-AC66-6E76AE89705E}"/>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36741E6F-FD7F-479A-8EEC-952CBF585A45}"/>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1C797130-E7A7-4390-AB76-550E304F85C5}"/>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D3C4A46B-D59A-46C8-B091-965FEB32F059}"/>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4BFDB593-EB86-472E-BCC2-8865E5B73BAC}"/>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49E26A5B-14EE-4F8C-8AC6-2441D3BED7AE}"/>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EAFC8B5C-E22E-4587-AD80-B2FF8B921BDD}"/>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1715212-4E13-43E4-9696-E8EC571DD610}"/>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9A0B9153-DA44-4612-A0EB-AC8168035583}"/>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2D51E675-00F3-4972-ADDA-64A932FDD6C0}"/>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EFB77BB1-D49D-439D-A0EC-BCCF8628C6AD}"/>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9" name="Freeform: Shape 308">
                <a:extLst>
                  <a:ext uri="{FF2B5EF4-FFF2-40B4-BE49-F238E27FC236}">
                    <a16:creationId xmlns:a16="http://schemas.microsoft.com/office/drawing/2014/main" id="{41BE4CFE-2B6E-42FF-9D2E-18384E684760}"/>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0" name="Freeform: Shape 309">
                <a:extLst>
                  <a:ext uri="{FF2B5EF4-FFF2-40B4-BE49-F238E27FC236}">
                    <a16:creationId xmlns:a16="http://schemas.microsoft.com/office/drawing/2014/main" id="{9501F4AD-BF29-4D00-8D85-CE685662C90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1" name="Freeform: Shape 310">
                <a:extLst>
                  <a:ext uri="{FF2B5EF4-FFF2-40B4-BE49-F238E27FC236}">
                    <a16:creationId xmlns:a16="http://schemas.microsoft.com/office/drawing/2014/main" id="{AC69389E-1558-4E20-BE11-0BF9E1B6E11B}"/>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0E39763E-CFC8-4062-BC9D-BFF5395E5EE9}"/>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3" name="Freeform: Shape 312">
                <a:extLst>
                  <a:ext uri="{FF2B5EF4-FFF2-40B4-BE49-F238E27FC236}">
                    <a16:creationId xmlns:a16="http://schemas.microsoft.com/office/drawing/2014/main" id="{E8BF17B7-85B6-4B3A-AF41-C7B8FBDEF2C3}"/>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4" name="Freeform: Shape 313">
                <a:extLst>
                  <a:ext uri="{FF2B5EF4-FFF2-40B4-BE49-F238E27FC236}">
                    <a16:creationId xmlns:a16="http://schemas.microsoft.com/office/drawing/2014/main" id="{DABE67B2-8F5D-48F5-98E6-E8F1E9A0D4A6}"/>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5" name="Freeform: Shape 314">
                <a:extLst>
                  <a:ext uri="{FF2B5EF4-FFF2-40B4-BE49-F238E27FC236}">
                    <a16:creationId xmlns:a16="http://schemas.microsoft.com/office/drawing/2014/main" id="{575953D6-7C62-4E9E-90E1-5CA11AB17C80}"/>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16" name="Straight Connector 315">
                <a:extLst>
                  <a:ext uri="{FF2B5EF4-FFF2-40B4-BE49-F238E27FC236}">
                    <a16:creationId xmlns:a16="http://schemas.microsoft.com/office/drawing/2014/main" id="{47BBD25B-8837-48EB-A414-D03FA45A4084}"/>
                  </a:ext>
                </a:extLst>
              </p:cNvPr>
              <p:cNvCxnSpPr/>
              <p:nvPr/>
            </p:nvCxnSpPr>
            <p:spPr>
              <a:xfrm flipV="1">
                <a:off x="3515614" y="1379285"/>
                <a:ext cx="180015" cy="142518"/>
              </a:xfrm>
              <a:prstGeom prst="line">
                <a:avLst/>
              </a:prstGeom>
              <a:noFill/>
              <a:ln w="15875" cap="flat" cmpd="sng" algn="ctr">
                <a:solidFill>
                  <a:schemeClr val="tx1"/>
                </a:solidFill>
                <a:prstDash val="solid"/>
                <a:headEnd type="none"/>
                <a:tailEnd type="none"/>
              </a:ln>
              <a:effectLst/>
            </p:spPr>
          </p:cxnSp>
          <p:cxnSp>
            <p:nvCxnSpPr>
              <p:cNvPr id="317" name="Straight Connector 316">
                <a:extLst>
                  <a:ext uri="{FF2B5EF4-FFF2-40B4-BE49-F238E27FC236}">
                    <a16:creationId xmlns:a16="http://schemas.microsoft.com/office/drawing/2014/main" id="{72350976-F47D-4BC1-BA89-908062DE3F7B}"/>
                  </a:ext>
                </a:extLst>
              </p:cNvPr>
              <p:cNvCxnSpPr>
                <a:cxnSpLocks/>
              </p:cNvCxnSpPr>
              <p:nvPr/>
            </p:nvCxnSpPr>
            <p:spPr>
              <a:xfrm>
                <a:off x="3684607" y="1377405"/>
                <a:ext cx="109103" cy="126835"/>
              </a:xfrm>
              <a:prstGeom prst="line">
                <a:avLst/>
              </a:prstGeom>
              <a:noFill/>
              <a:ln w="15875" cap="flat" cmpd="sng" algn="ctr">
                <a:solidFill>
                  <a:schemeClr val="tx1"/>
                </a:solidFill>
                <a:prstDash val="solid"/>
                <a:headEnd type="none"/>
                <a:tailEnd type="none"/>
              </a:ln>
              <a:effectLst/>
            </p:spPr>
          </p:cxnSp>
          <p:cxnSp>
            <p:nvCxnSpPr>
              <p:cNvPr id="318" name="Straight Connector 317">
                <a:extLst>
                  <a:ext uri="{FF2B5EF4-FFF2-40B4-BE49-F238E27FC236}">
                    <a16:creationId xmlns:a16="http://schemas.microsoft.com/office/drawing/2014/main" id="{A17771BA-24AC-4CE4-81FA-51DC9C59ECB8}"/>
                  </a:ext>
                </a:extLst>
              </p:cNvPr>
              <p:cNvCxnSpPr>
                <a:cxnSpLocks/>
              </p:cNvCxnSpPr>
              <p:nvPr/>
            </p:nvCxnSpPr>
            <p:spPr>
              <a:xfrm flipV="1">
                <a:off x="3786606" y="1460673"/>
                <a:ext cx="50798" cy="36218"/>
              </a:xfrm>
              <a:prstGeom prst="line">
                <a:avLst/>
              </a:prstGeom>
              <a:noFill/>
              <a:ln w="15875" cap="flat" cmpd="sng" algn="ctr">
                <a:solidFill>
                  <a:schemeClr val="tx1"/>
                </a:solidFill>
                <a:prstDash val="solid"/>
                <a:headEnd type="none"/>
                <a:tailEnd type="none"/>
              </a:ln>
              <a:effectLst/>
            </p:spPr>
          </p:cxnSp>
          <p:cxnSp>
            <p:nvCxnSpPr>
              <p:cNvPr id="319" name="Straight Connector 318">
                <a:extLst>
                  <a:ext uri="{FF2B5EF4-FFF2-40B4-BE49-F238E27FC236}">
                    <a16:creationId xmlns:a16="http://schemas.microsoft.com/office/drawing/2014/main" id="{46A27665-AEF3-4BAB-AB6F-F6E085DDEC0A}"/>
                  </a:ext>
                </a:extLst>
              </p:cNvPr>
              <p:cNvCxnSpPr>
                <a:cxnSpLocks/>
              </p:cNvCxnSpPr>
              <p:nvPr/>
            </p:nvCxnSpPr>
            <p:spPr>
              <a:xfrm flipH="1" flipV="1">
                <a:off x="3827228" y="1460548"/>
                <a:ext cx="65638" cy="80007"/>
              </a:xfrm>
              <a:prstGeom prst="line">
                <a:avLst/>
              </a:prstGeom>
              <a:noFill/>
              <a:ln w="15875" cap="flat" cmpd="sng" algn="ctr">
                <a:solidFill>
                  <a:schemeClr val="tx1"/>
                </a:solidFill>
                <a:prstDash val="solid"/>
                <a:headEnd type="none"/>
                <a:tailEnd type="none"/>
              </a:ln>
              <a:effectLst/>
            </p:spPr>
          </p:cxnSp>
          <p:cxnSp>
            <p:nvCxnSpPr>
              <p:cNvPr id="320" name="Straight Connector 319">
                <a:extLst>
                  <a:ext uri="{FF2B5EF4-FFF2-40B4-BE49-F238E27FC236}">
                    <a16:creationId xmlns:a16="http://schemas.microsoft.com/office/drawing/2014/main" id="{5A808B30-1658-464A-8B0F-25E872F97998}"/>
                  </a:ext>
                </a:extLst>
              </p:cNvPr>
              <p:cNvCxnSpPr/>
              <p:nvPr/>
            </p:nvCxnSpPr>
            <p:spPr>
              <a:xfrm flipV="1">
                <a:off x="3882788" y="1392749"/>
                <a:ext cx="180015" cy="142518"/>
              </a:xfrm>
              <a:prstGeom prst="line">
                <a:avLst/>
              </a:prstGeom>
              <a:noFill/>
              <a:ln w="15875" cap="flat" cmpd="sng" algn="ctr">
                <a:solidFill>
                  <a:schemeClr val="tx1"/>
                </a:solidFill>
                <a:prstDash val="solid"/>
                <a:headEnd type="none"/>
                <a:tailEnd type="none"/>
              </a:ln>
              <a:effectLst/>
            </p:spPr>
          </p:cxnSp>
          <p:cxnSp>
            <p:nvCxnSpPr>
              <p:cNvPr id="321" name="Straight Connector 320">
                <a:extLst>
                  <a:ext uri="{FF2B5EF4-FFF2-40B4-BE49-F238E27FC236}">
                    <a16:creationId xmlns:a16="http://schemas.microsoft.com/office/drawing/2014/main" id="{F964757B-9FDA-4906-B2D3-7623A1464C91}"/>
                  </a:ext>
                </a:extLst>
              </p:cNvPr>
              <p:cNvCxnSpPr>
                <a:cxnSpLocks/>
              </p:cNvCxnSpPr>
              <p:nvPr/>
            </p:nvCxnSpPr>
            <p:spPr>
              <a:xfrm flipH="1" flipV="1">
                <a:off x="4056050" y="1392461"/>
                <a:ext cx="65638" cy="80007"/>
              </a:xfrm>
              <a:prstGeom prst="line">
                <a:avLst/>
              </a:prstGeom>
              <a:noFill/>
              <a:ln w="15875" cap="flat" cmpd="sng" algn="ctr">
                <a:solidFill>
                  <a:schemeClr val="tx1"/>
                </a:solidFill>
                <a:prstDash val="solid"/>
                <a:headEnd type="none"/>
                <a:tailEnd type="none"/>
              </a:ln>
              <a:effectLst/>
            </p:spPr>
          </p:cxnSp>
          <p:cxnSp>
            <p:nvCxnSpPr>
              <p:cNvPr id="322" name="Straight Connector 321">
                <a:extLst>
                  <a:ext uri="{FF2B5EF4-FFF2-40B4-BE49-F238E27FC236}">
                    <a16:creationId xmlns:a16="http://schemas.microsoft.com/office/drawing/2014/main" id="{EF1E22F7-8F74-4B97-98D4-CC276A10FC26}"/>
                  </a:ext>
                </a:extLst>
              </p:cNvPr>
              <p:cNvCxnSpPr>
                <a:cxnSpLocks/>
              </p:cNvCxnSpPr>
              <p:nvPr/>
            </p:nvCxnSpPr>
            <p:spPr>
              <a:xfrm flipV="1">
                <a:off x="4111109" y="1432435"/>
                <a:ext cx="50798" cy="36218"/>
              </a:xfrm>
              <a:prstGeom prst="line">
                <a:avLst/>
              </a:prstGeom>
              <a:noFill/>
              <a:ln w="15875" cap="flat" cmpd="sng" algn="ctr">
                <a:solidFill>
                  <a:schemeClr val="tx1"/>
                </a:solidFill>
                <a:prstDash val="solid"/>
                <a:headEnd type="none"/>
                <a:tailEnd type="none"/>
              </a:ln>
              <a:effectLst/>
            </p:spPr>
          </p:cxnSp>
          <p:cxnSp>
            <p:nvCxnSpPr>
              <p:cNvPr id="323" name="Straight Connector 322">
                <a:extLst>
                  <a:ext uri="{FF2B5EF4-FFF2-40B4-BE49-F238E27FC236}">
                    <a16:creationId xmlns:a16="http://schemas.microsoft.com/office/drawing/2014/main" id="{219B1187-FA02-49EE-A1C5-B87FF5602DEA}"/>
                  </a:ext>
                </a:extLst>
              </p:cNvPr>
              <p:cNvCxnSpPr>
                <a:cxnSpLocks/>
              </p:cNvCxnSpPr>
              <p:nvPr/>
            </p:nvCxnSpPr>
            <p:spPr>
              <a:xfrm>
                <a:off x="4150946" y="1432865"/>
                <a:ext cx="109103" cy="126835"/>
              </a:xfrm>
              <a:prstGeom prst="line">
                <a:avLst/>
              </a:prstGeom>
              <a:noFill/>
              <a:ln w="15875" cap="flat" cmpd="sng" algn="ctr">
                <a:solidFill>
                  <a:schemeClr val="tx1"/>
                </a:solidFill>
                <a:prstDash val="solid"/>
                <a:headEnd type="none"/>
                <a:tailEnd type="none"/>
              </a:ln>
              <a:effectLst/>
            </p:spPr>
          </p:cxnSp>
          <p:cxnSp>
            <p:nvCxnSpPr>
              <p:cNvPr id="324" name="Straight Connector 323">
                <a:extLst>
                  <a:ext uri="{FF2B5EF4-FFF2-40B4-BE49-F238E27FC236}">
                    <a16:creationId xmlns:a16="http://schemas.microsoft.com/office/drawing/2014/main" id="{1FBEE5E0-C764-4630-A4F1-A2595E7B9FC6}"/>
                  </a:ext>
                </a:extLst>
              </p:cNvPr>
              <p:cNvCxnSpPr>
                <a:cxnSpLocks/>
              </p:cNvCxnSpPr>
              <p:nvPr/>
            </p:nvCxnSpPr>
            <p:spPr>
              <a:xfrm flipV="1">
                <a:off x="4252782" y="1370963"/>
                <a:ext cx="302954" cy="185996"/>
              </a:xfrm>
              <a:prstGeom prst="line">
                <a:avLst/>
              </a:prstGeom>
              <a:noFill/>
              <a:ln w="15875" cap="flat" cmpd="sng" algn="ctr">
                <a:solidFill>
                  <a:schemeClr val="tx1"/>
                </a:solidFill>
                <a:prstDash val="solid"/>
                <a:headEnd type="none"/>
                <a:tailEnd type="none"/>
              </a:ln>
              <a:effectLst/>
            </p:spPr>
          </p:cxnSp>
          <p:cxnSp>
            <p:nvCxnSpPr>
              <p:cNvPr id="325" name="Straight Connector 324">
                <a:extLst>
                  <a:ext uri="{FF2B5EF4-FFF2-40B4-BE49-F238E27FC236}">
                    <a16:creationId xmlns:a16="http://schemas.microsoft.com/office/drawing/2014/main" id="{7CE44127-1A65-4367-B3FC-05580E6439EA}"/>
                  </a:ext>
                </a:extLst>
              </p:cNvPr>
              <p:cNvCxnSpPr>
                <a:cxnSpLocks/>
              </p:cNvCxnSpPr>
              <p:nvPr/>
            </p:nvCxnSpPr>
            <p:spPr>
              <a:xfrm>
                <a:off x="3529268" y="1832272"/>
                <a:ext cx="124669" cy="0"/>
              </a:xfrm>
              <a:prstGeom prst="line">
                <a:avLst/>
              </a:prstGeom>
              <a:noFill/>
              <a:ln w="15875" cap="flat" cmpd="sng" algn="ctr">
                <a:solidFill>
                  <a:schemeClr val="tx1"/>
                </a:solidFill>
                <a:prstDash val="solid"/>
                <a:headEnd type="none"/>
                <a:tailEnd type="none"/>
              </a:ln>
              <a:effectLst/>
            </p:spPr>
          </p:cxnSp>
          <p:cxnSp>
            <p:nvCxnSpPr>
              <p:cNvPr id="326" name="Straight Connector 325">
                <a:extLst>
                  <a:ext uri="{FF2B5EF4-FFF2-40B4-BE49-F238E27FC236}">
                    <a16:creationId xmlns:a16="http://schemas.microsoft.com/office/drawing/2014/main" id="{6417B1F5-C7B7-44D9-9230-E542F2191A35}"/>
                  </a:ext>
                </a:extLst>
              </p:cNvPr>
              <p:cNvCxnSpPr>
                <a:cxnSpLocks/>
              </p:cNvCxnSpPr>
              <p:nvPr/>
            </p:nvCxnSpPr>
            <p:spPr>
              <a:xfrm>
                <a:off x="3529268" y="1933514"/>
                <a:ext cx="244028" cy="0"/>
              </a:xfrm>
              <a:prstGeom prst="line">
                <a:avLst/>
              </a:prstGeom>
              <a:noFill/>
              <a:ln w="15875" cap="flat" cmpd="sng" algn="ctr">
                <a:solidFill>
                  <a:schemeClr val="tx1"/>
                </a:solidFill>
                <a:prstDash val="solid"/>
                <a:headEnd type="none"/>
                <a:tailEnd type="none"/>
              </a:ln>
              <a:effectLst/>
            </p:spPr>
          </p:cxnSp>
          <p:cxnSp>
            <p:nvCxnSpPr>
              <p:cNvPr id="327" name="Straight Connector 326">
                <a:extLst>
                  <a:ext uri="{FF2B5EF4-FFF2-40B4-BE49-F238E27FC236}">
                    <a16:creationId xmlns:a16="http://schemas.microsoft.com/office/drawing/2014/main" id="{CCDFC7F0-716B-4F49-8A1C-C4A6791E8415}"/>
                  </a:ext>
                </a:extLst>
              </p:cNvPr>
              <p:cNvCxnSpPr>
                <a:cxnSpLocks/>
              </p:cNvCxnSpPr>
              <p:nvPr/>
            </p:nvCxnSpPr>
            <p:spPr>
              <a:xfrm>
                <a:off x="3790777" y="1933514"/>
                <a:ext cx="146037" cy="0"/>
              </a:xfrm>
              <a:prstGeom prst="line">
                <a:avLst/>
              </a:prstGeom>
              <a:noFill/>
              <a:ln w="15875" cap="flat" cmpd="sng" algn="ctr">
                <a:solidFill>
                  <a:schemeClr val="tx1"/>
                </a:solidFill>
                <a:prstDash val="solid"/>
                <a:headEnd type="none"/>
                <a:tailEnd type="none"/>
              </a:ln>
              <a:effectLst/>
            </p:spPr>
          </p:cxnSp>
          <p:cxnSp>
            <p:nvCxnSpPr>
              <p:cNvPr id="328" name="Straight Connector 327">
                <a:extLst>
                  <a:ext uri="{FF2B5EF4-FFF2-40B4-BE49-F238E27FC236}">
                    <a16:creationId xmlns:a16="http://schemas.microsoft.com/office/drawing/2014/main" id="{233C18C3-2C0F-42B3-873A-C1144D2AF9D6}"/>
                  </a:ext>
                </a:extLst>
              </p:cNvPr>
              <p:cNvCxnSpPr>
                <a:cxnSpLocks/>
              </p:cNvCxnSpPr>
              <p:nvPr/>
            </p:nvCxnSpPr>
            <p:spPr>
              <a:xfrm>
                <a:off x="3529268" y="2008720"/>
                <a:ext cx="358301" cy="0"/>
              </a:xfrm>
              <a:prstGeom prst="line">
                <a:avLst/>
              </a:prstGeom>
              <a:noFill/>
              <a:ln w="15875" cap="flat" cmpd="sng" algn="ctr">
                <a:solidFill>
                  <a:schemeClr val="tx1"/>
                </a:solidFill>
                <a:prstDash val="solid"/>
                <a:headEnd type="none"/>
                <a:tailEnd type="none"/>
              </a:ln>
              <a:effectLst/>
            </p:spPr>
          </p:cxnSp>
          <p:cxnSp>
            <p:nvCxnSpPr>
              <p:cNvPr id="329" name="Straight Connector 328">
                <a:extLst>
                  <a:ext uri="{FF2B5EF4-FFF2-40B4-BE49-F238E27FC236}">
                    <a16:creationId xmlns:a16="http://schemas.microsoft.com/office/drawing/2014/main" id="{A849D542-E5AC-49BF-B40F-19153E2720AF}"/>
                  </a:ext>
                </a:extLst>
              </p:cNvPr>
              <p:cNvCxnSpPr>
                <a:cxnSpLocks/>
              </p:cNvCxnSpPr>
              <p:nvPr/>
            </p:nvCxnSpPr>
            <p:spPr>
              <a:xfrm>
                <a:off x="3967535" y="2008720"/>
                <a:ext cx="146037" cy="0"/>
              </a:xfrm>
              <a:prstGeom prst="line">
                <a:avLst/>
              </a:prstGeom>
              <a:noFill/>
              <a:ln w="15875" cap="flat" cmpd="sng" algn="ctr">
                <a:solidFill>
                  <a:schemeClr val="tx1"/>
                </a:solidFill>
                <a:prstDash val="solid"/>
                <a:headEnd type="none"/>
                <a:tailEnd type="none"/>
              </a:ln>
              <a:effectLst/>
            </p:spPr>
          </p:cxnSp>
          <p:cxnSp>
            <p:nvCxnSpPr>
              <p:cNvPr id="330" name="Straight Connector 329">
                <a:extLst>
                  <a:ext uri="{FF2B5EF4-FFF2-40B4-BE49-F238E27FC236}">
                    <a16:creationId xmlns:a16="http://schemas.microsoft.com/office/drawing/2014/main" id="{08DD4F5F-E6D2-4BBB-B84F-A369016F713B}"/>
                  </a:ext>
                </a:extLst>
              </p:cNvPr>
              <p:cNvCxnSpPr>
                <a:cxnSpLocks/>
              </p:cNvCxnSpPr>
              <p:nvPr/>
            </p:nvCxnSpPr>
            <p:spPr>
              <a:xfrm>
                <a:off x="3529268" y="2109962"/>
                <a:ext cx="147736" cy="0"/>
              </a:xfrm>
              <a:prstGeom prst="line">
                <a:avLst/>
              </a:prstGeom>
              <a:noFill/>
              <a:ln w="15875" cap="flat" cmpd="sng" algn="ctr">
                <a:solidFill>
                  <a:schemeClr val="tx1"/>
                </a:solidFill>
                <a:prstDash val="solid"/>
                <a:headEnd type="none"/>
                <a:tailEnd type="none"/>
              </a:ln>
              <a:effectLst/>
            </p:spPr>
          </p:cxnSp>
          <p:cxnSp>
            <p:nvCxnSpPr>
              <p:cNvPr id="331" name="Straight Connector 330">
                <a:extLst>
                  <a:ext uri="{FF2B5EF4-FFF2-40B4-BE49-F238E27FC236}">
                    <a16:creationId xmlns:a16="http://schemas.microsoft.com/office/drawing/2014/main" id="{9C6A9690-CE6B-4D49-8422-5BC3D485FA79}"/>
                  </a:ext>
                </a:extLst>
              </p:cNvPr>
              <p:cNvCxnSpPr>
                <a:cxnSpLocks/>
              </p:cNvCxnSpPr>
              <p:nvPr/>
            </p:nvCxnSpPr>
            <p:spPr>
              <a:xfrm>
                <a:off x="3693985" y="2109962"/>
                <a:ext cx="350041" cy="0"/>
              </a:xfrm>
              <a:prstGeom prst="line">
                <a:avLst/>
              </a:prstGeom>
              <a:noFill/>
              <a:ln w="15875" cap="flat" cmpd="sng" algn="ctr">
                <a:solidFill>
                  <a:schemeClr val="tx1"/>
                </a:solidFill>
                <a:prstDash val="solid"/>
                <a:headEnd type="none"/>
                <a:tailEnd type="none"/>
              </a:ln>
              <a:effectLst/>
            </p:spPr>
          </p:cxnSp>
          <p:cxnSp>
            <p:nvCxnSpPr>
              <p:cNvPr id="332" name="Straight Connector 331">
                <a:extLst>
                  <a:ext uri="{FF2B5EF4-FFF2-40B4-BE49-F238E27FC236}">
                    <a16:creationId xmlns:a16="http://schemas.microsoft.com/office/drawing/2014/main" id="{D329F929-066D-4972-A134-015CE0D70855}"/>
                  </a:ext>
                </a:extLst>
              </p:cNvPr>
              <p:cNvCxnSpPr>
                <a:cxnSpLocks/>
              </p:cNvCxnSpPr>
              <p:nvPr/>
            </p:nvCxnSpPr>
            <p:spPr>
              <a:xfrm flipV="1">
                <a:off x="3529268" y="2381870"/>
                <a:ext cx="244028" cy="0"/>
              </a:xfrm>
              <a:prstGeom prst="line">
                <a:avLst/>
              </a:prstGeom>
              <a:noFill/>
              <a:ln w="15875" cap="flat" cmpd="sng" algn="ctr">
                <a:solidFill>
                  <a:schemeClr val="tx1"/>
                </a:solidFill>
                <a:prstDash val="solid"/>
                <a:headEnd type="none"/>
                <a:tailEnd type="none"/>
              </a:ln>
              <a:effectLst/>
            </p:spPr>
          </p:cxnSp>
          <p:cxnSp>
            <p:nvCxnSpPr>
              <p:cNvPr id="333" name="Straight Connector 332">
                <a:extLst>
                  <a:ext uri="{FF2B5EF4-FFF2-40B4-BE49-F238E27FC236}">
                    <a16:creationId xmlns:a16="http://schemas.microsoft.com/office/drawing/2014/main" id="{270E1A90-77BA-4AE8-B3AE-A9FDE268BCC4}"/>
                  </a:ext>
                </a:extLst>
              </p:cNvPr>
              <p:cNvCxnSpPr>
                <a:cxnSpLocks/>
              </p:cNvCxnSpPr>
              <p:nvPr/>
            </p:nvCxnSpPr>
            <p:spPr>
              <a:xfrm flipV="1">
                <a:off x="3790777" y="2381870"/>
                <a:ext cx="146037" cy="0"/>
              </a:xfrm>
              <a:prstGeom prst="line">
                <a:avLst/>
              </a:prstGeom>
              <a:noFill/>
              <a:ln w="15875" cap="flat" cmpd="sng" algn="ctr">
                <a:solidFill>
                  <a:schemeClr val="tx1"/>
                </a:solidFill>
                <a:prstDash val="solid"/>
                <a:headEnd type="none"/>
                <a:tailEnd type="none"/>
              </a:ln>
              <a:effectLst/>
            </p:spPr>
          </p:cxnSp>
          <p:cxnSp>
            <p:nvCxnSpPr>
              <p:cNvPr id="334" name="Straight Connector 333">
                <a:extLst>
                  <a:ext uri="{FF2B5EF4-FFF2-40B4-BE49-F238E27FC236}">
                    <a16:creationId xmlns:a16="http://schemas.microsoft.com/office/drawing/2014/main" id="{CDEE33E9-3EA8-42C8-A5E8-7C161362C4F9}"/>
                  </a:ext>
                </a:extLst>
              </p:cNvPr>
              <p:cNvCxnSpPr>
                <a:cxnSpLocks/>
              </p:cNvCxnSpPr>
              <p:nvPr/>
            </p:nvCxnSpPr>
            <p:spPr>
              <a:xfrm flipV="1">
                <a:off x="3529268" y="2306661"/>
                <a:ext cx="358301" cy="0"/>
              </a:xfrm>
              <a:prstGeom prst="line">
                <a:avLst/>
              </a:prstGeom>
              <a:noFill/>
              <a:ln w="15875" cap="flat" cmpd="sng" algn="ctr">
                <a:solidFill>
                  <a:schemeClr val="tx1"/>
                </a:solidFill>
                <a:prstDash val="solid"/>
                <a:headEnd type="none"/>
                <a:tailEnd type="none"/>
              </a:ln>
              <a:effectLst/>
            </p:spPr>
          </p:cxnSp>
          <p:cxnSp>
            <p:nvCxnSpPr>
              <p:cNvPr id="335" name="Straight Connector 334">
                <a:extLst>
                  <a:ext uri="{FF2B5EF4-FFF2-40B4-BE49-F238E27FC236}">
                    <a16:creationId xmlns:a16="http://schemas.microsoft.com/office/drawing/2014/main" id="{7E319F2E-E0F9-4ECB-B376-9151D675D1E4}"/>
                  </a:ext>
                </a:extLst>
              </p:cNvPr>
              <p:cNvCxnSpPr>
                <a:cxnSpLocks/>
              </p:cNvCxnSpPr>
              <p:nvPr/>
            </p:nvCxnSpPr>
            <p:spPr>
              <a:xfrm flipV="1">
                <a:off x="3940881" y="2306661"/>
                <a:ext cx="146037" cy="0"/>
              </a:xfrm>
              <a:prstGeom prst="line">
                <a:avLst/>
              </a:prstGeom>
              <a:noFill/>
              <a:ln w="15875" cap="flat" cmpd="sng" algn="ctr">
                <a:solidFill>
                  <a:schemeClr val="tx1"/>
                </a:solidFill>
                <a:prstDash val="solid"/>
                <a:headEnd type="none"/>
                <a:tailEnd type="none"/>
              </a:ln>
              <a:effectLst/>
            </p:spPr>
          </p:cxnSp>
          <p:cxnSp>
            <p:nvCxnSpPr>
              <p:cNvPr id="336" name="Straight Connector 335">
                <a:extLst>
                  <a:ext uri="{FF2B5EF4-FFF2-40B4-BE49-F238E27FC236}">
                    <a16:creationId xmlns:a16="http://schemas.microsoft.com/office/drawing/2014/main" id="{127E4D87-8F5F-490C-8A85-45859C67481C}"/>
                  </a:ext>
                </a:extLst>
              </p:cNvPr>
              <p:cNvCxnSpPr>
                <a:cxnSpLocks/>
              </p:cNvCxnSpPr>
              <p:nvPr/>
            </p:nvCxnSpPr>
            <p:spPr>
              <a:xfrm flipV="1">
                <a:off x="3626549" y="2205419"/>
                <a:ext cx="147736" cy="0"/>
              </a:xfrm>
              <a:prstGeom prst="line">
                <a:avLst/>
              </a:prstGeom>
              <a:noFill/>
              <a:ln w="15875" cap="flat" cmpd="sng" algn="ctr">
                <a:solidFill>
                  <a:schemeClr val="tx1"/>
                </a:solidFill>
                <a:prstDash val="solid"/>
                <a:headEnd type="none"/>
                <a:tailEnd type="none"/>
              </a:ln>
              <a:effectLst/>
            </p:spPr>
          </p:cxnSp>
          <p:cxnSp>
            <p:nvCxnSpPr>
              <p:cNvPr id="337" name="Straight Connector 336">
                <a:extLst>
                  <a:ext uri="{FF2B5EF4-FFF2-40B4-BE49-F238E27FC236}">
                    <a16:creationId xmlns:a16="http://schemas.microsoft.com/office/drawing/2014/main" id="{96589EAC-56AF-49DC-A9FA-C8E693CF326E}"/>
                  </a:ext>
                </a:extLst>
              </p:cNvPr>
              <p:cNvCxnSpPr>
                <a:cxnSpLocks/>
              </p:cNvCxnSpPr>
              <p:nvPr/>
            </p:nvCxnSpPr>
            <p:spPr>
              <a:xfrm flipV="1">
                <a:off x="3811590" y="2205419"/>
                <a:ext cx="350041" cy="0"/>
              </a:xfrm>
              <a:prstGeom prst="line">
                <a:avLst/>
              </a:prstGeom>
              <a:noFill/>
              <a:ln w="15875" cap="flat" cmpd="sng" algn="ctr">
                <a:solidFill>
                  <a:schemeClr val="tx1"/>
                </a:solidFill>
                <a:prstDash val="solid"/>
                <a:headEnd type="none"/>
                <a:tailEnd type="none"/>
              </a:ln>
              <a:effectLst/>
            </p:spPr>
          </p:cxnSp>
          <p:cxnSp>
            <p:nvCxnSpPr>
              <p:cNvPr id="338" name="Straight Connector 337">
                <a:extLst>
                  <a:ext uri="{FF2B5EF4-FFF2-40B4-BE49-F238E27FC236}">
                    <a16:creationId xmlns:a16="http://schemas.microsoft.com/office/drawing/2014/main" id="{6E5AFA41-B947-4A63-89B6-5BE8BBA30B95}"/>
                  </a:ext>
                </a:extLst>
              </p:cNvPr>
              <p:cNvCxnSpPr>
                <a:cxnSpLocks/>
              </p:cNvCxnSpPr>
              <p:nvPr/>
            </p:nvCxnSpPr>
            <p:spPr>
              <a:xfrm>
                <a:off x="4101001" y="2109962"/>
                <a:ext cx="350041" cy="0"/>
              </a:xfrm>
              <a:prstGeom prst="line">
                <a:avLst/>
              </a:prstGeom>
              <a:noFill/>
              <a:ln w="15875" cap="flat" cmpd="sng" algn="ctr">
                <a:solidFill>
                  <a:schemeClr val="tx1"/>
                </a:solidFill>
                <a:prstDash val="solid"/>
                <a:headEnd type="none"/>
                <a:tailEnd type="none"/>
              </a:ln>
              <a:effectLst/>
            </p:spPr>
          </p:cxnSp>
          <p:cxnSp>
            <p:nvCxnSpPr>
              <p:cNvPr id="339" name="Straight Connector 338">
                <a:extLst>
                  <a:ext uri="{FF2B5EF4-FFF2-40B4-BE49-F238E27FC236}">
                    <a16:creationId xmlns:a16="http://schemas.microsoft.com/office/drawing/2014/main" id="{171A23A4-71E6-448A-A3A5-5A60D6A4AC3E}"/>
                  </a:ext>
                </a:extLst>
              </p:cNvPr>
              <p:cNvCxnSpPr>
                <a:cxnSpLocks/>
              </p:cNvCxnSpPr>
              <p:nvPr/>
            </p:nvCxnSpPr>
            <p:spPr>
              <a:xfrm flipV="1">
                <a:off x="4132010" y="2306661"/>
                <a:ext cx="146037" cy="0"/>
              </a:xfrm>
              <a:prstGeom prst="line">
                <a:avLst/>
              </a:prstGeom>
              <a:noFill/>
              <a:ln w="15875" cap="flat" cmpd="sng" algn="ctr">
                <a:solidFill>
                  <a:schemeClr val="tx1"/>
                </a:solidFill>
                <a:prstDash val="solid"/>
                <a:headEnd type="none"/>
                <a:tailEnd type="none"/>
              </a:ln>
              <a:effectLst/>
            </p:spPr>
          </p:cxnSp>
          <p:cxnSp>
            <p:nvCxnSpPr>
              <p:cNvPr id="340" name="Straight Connector 339">
                <a:extLst>
                  <a:ext uri="{FF2B5EF4-FFF2-40B4-BE49-F238E27FC236}">
                    <a16:creationId xmlns:a16="http://schemas.microsoft.com/office/drawing/2014/main" id="{0EA747C3-DF2F-4814-B465-A3A434FDEBC8}"/>
                  </a:ext>
                </a:extLst>
              </p:cNvPr>
              <p:cNvCxnSpPr>
                <a:cxnSpLocks/>
              </p:cNvCxnSpPr>
              <p:nvPr/>
            </p:nvCxnSpPr>
            <p:spPr>
              <a:xfrm flipV="1">
                <a:off x="4320577" y="2306661"/>
                <a:ext cx="146037" cy="0"/>
              </a:xfrm>
              <a:prstGeom prst="line">
                <a:avLst/>
              </a:prstGeom>
              <a:noFill/>
              <a:ln w="15875" cap="flat" cmpd="sng" algn="ctr">
                <a:solidFill>
                  <a:schemeClr val="tx1"/>
                </a:solidFill>
                <a:prstDash val="solid"/>
                <a:headEnd type="none"/>
                <a:tailEnd type="none"/>
              </a:ln>
              <a:effectLst/>
            </p:spPr>
          </p:cxnSp>
          <p:cxnSp>
            <p:nvCxnSpPr>
              <p:cNvPr id="341" name="Straight Connector 340">
                <a:extLst>
                  <a:ext uri="{FF2B5EF4-FFF2-40B4-BE49-F238E27FC236}">
                    <a16:creationId xmlns:a16="http://schemas.microsoft.com/office/drawing/2014/main" id="{EAFC0396-FA71-4F05-92C7-5A7C1F95093A}"/>
                  </a:ext>
                </a:extLst>
              </p:cNvPr>
              <p:cNvCxnSpPr>
                <a:cxnSpLocks/>
              </p:cNvCxnSpPr>
              <p:nvPr/>
            </p:nvCxnSpPr>
            <p:spPr>
              <a:xfrm>
                <a:off x="4179763" y="1933514"/>
                <a:ext cx="146037" cy="0"/>
              </a:xfrm>
              <a:prstGeom prst="line">
                <a:avLst/>
              </a:prstGeom>
              <a:noFill/>
              <a:ln w="15875" cap="flat" cmpd="sng" algn="ctr">
                <a:solidFill>
                  <a:schemeClr val="tx1"/>
                </a:solidFill>
                <a:prstDash val="solid"/>
                <a:headEnd type="none"/>
                <a:tailEnd type="none"/>
              </a:ln>
              <a:effectLst/>
            </p:spPr>
          </p:cxnSp>
          <p:cxnSp>
            <p:nvCxnSpPr>
              <p:cNvPr id="342" name="Straight Connector 341">
                <a:extLst>
                  <a:ext uri="{FF2B5EF4-FFF2-40B4-BE49-F238E27FC236}">
                    <a16:creationId xmlns:a16="http://schemas.microsoft.com/office/drawing/2014/main" id="{0F754335-9993-414A-8B3C-2BEAA4178BF5}"/>
                  </a:ext>
                </a:extLst>
              </p:cNvPr>
              <p:cNvCxnSpPr>
                <a:cxnSpLocks/>
              </p:cNvCxnSpPr>
              <p:nvPr/>
            </p:nvCxnSpPr>
            <p:spPr>
              <a:xfrm>
                <a:off x="4199235" y="2008720"/>
                <a:ext cx="267379" cy="0"/>
              </a:xfrm>
              <a:prstGeom prst="line">
                <a:avLst/>
              </a:prstGeom>
              <a:noFill/>
              <a:ln w="15875" cap="flat" cmpd="sng" algn="ctr">
                <a:solidFill>
                  <a:schemeClr val="tx1"/>
                </a:solidFill>
                <a:prstDash val="solid"/>
                <a:headEnd type="none"/>
                <a:tailEnd type="none"/>
              </a:ln>
              <a:effectLst/>
            </p:spPr>
          </p:cxnSp>
        </p:grpSp>
      </p:grpSp>
      <p:sp>
        <p:nvSpPr>
          <p:cNvPr id="283" name="Rectangle: Rounded Corners 282">
            <a:extLst>
              <a:ext uri="{FF2B5EF4-FFF2-40B4-BE49-F238E27FC236}">
                <a16:creationId xmlns:a16="http://schemas.microsoft.com/office/drawing/2014/main" id="{BADE8695-86E0-492B-98E9-56DB626D9426}"/>
              </a:ext>
            </a:extLst>
          </p:cNvPr>
          <p:cNvSpPr/>
          <p:nvPr/>
        </p:nvSpPr>
        <p:spPr bwMode="auto">
          <a:xfrm>
            <a:off x="7817615" y="3104245"/>
            <a:ext cx="2456562" cy="1081749"/>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algn="ctr" defTabSz="932472" fontAlgn="base">
              <a:spcBef>
                <a:spcPct val="0"/>
              </a:spcBef>
              <a:spcAft>
                <a:spcPct val="0"/>
              </a:spcAft>
              <a:defRPr/>
            </a:pPr>
            <a:r>
              <a:rPr lang="en-IN" sz="1200" dirty="0">
                <a:solidFill>
                  <a:schemeClr val="tx2"/>
                </a:solidFill>
                <a:latin typeface="Segoe UI Semibold" panose="020B0702040204020203" pitchFamily="34" charset="0"/>
                <a:cs typeface="Segoe UI Semibold" panose="020B0702040204020203" pitchFamily="34" charset="0"/>
              </a:rPr>
              <a:t>Scale out clusters</a:t>
            </a:r>
          </a:p>
        </p:txBody>
      </p:sp>
      <p:grpSp>
        <p:nvGrpSpPr>
          <p:cNvPr id="10" name="Group 9">
            <a:extLst>
              <a:ext uri="{FF2B5EF4-FFF2-40B4-BE49-F238E27FC236}">
                <a16:creationId xmlns:a16="http://schemas.microsoft.com/office/drawing/2014/main" id="{CEADBB8C-4B7E-42DF-B62F-7DAE0A90EA97}"/>
              </a:ext>
            </a:extLst>
          </p:cNvPr>
          <p:cNvGrpSpPr/>
          <p:nvPr/>
        </p:nvGrpSpPr>
        <p:grpSpPr>
          <a:xfrm>
            <a:off x="7424901" y="2783920"/>
            <a:ext cx="777240" cy="777240"/>
            <a:chOff x="7109561" y="2565400"/>
            <a:chExt cx="777240" cy="777240"/>
          </a:xfrm>
        </p:grpSpPr>
        <p:sp>
          <p:nvSpPr>
            <p:cNvPr id="447" name="Oval 446">
              <a:extLst>
                <a:ext uri="{FF2B5EF4-FFF2-40B4-BE49-F238E27FC236}">
                  <a16:creationId xmlns:a16="http://schemas.microsoft.com/office/drawing/2014/main" id="{21A23F1D-ACE6-4DCD-BD44-7ACD8A40DB68}"/>
                </a:ext>
              </a:extLst>
            </p:cNvPr>
            <p:cNvSpPr/>
            <p:nvPr/>
          </p:nvSpPr>
          <p:spPr bwMode="auto">
            <a:xfrm>
              <a:off x="7109561" y="2565400"/>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48" name="TextBox 447">
              <a:extLst>
                <a:ext uri="{FF2B5EF4-FFF2-40B4-BE49-F238E27FC236}">
                  <a16:creationId xmlns:a16="http://schemas.microsoft.com/office/drawing/2014/main" id="{81E0D108-A06E-4609-A7B7-2F863C651E23}"/>
                </a:ext>
              </a:extLst>
            </p:cNvPr>
            <p:cNvSpPr txBox="1"/>
            <p:nvPr/>
          </p:nvSpPr>
          <p:spPr>
            <a:xfrm>
              <a:off x="7304218" y="3116301"/>
              <a:ext cx="387927" cy="12311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Batch AI</a:t>
              </a:r>
            </a:p>
          </p:txBody>
        </p:sp>
      </p:grpSp>
      <p:grpSp>
        <p:nvGrpSpPr>
          <p:cNvPr id="470" name="Group 469">
            <a:extLst>
              <a:ext uri="{FF2B5EF4-FFF2-40B4-BE49-F238E27FC236}">
                <a16:creationId xmlns:a16="http://schemas.microsoft.com/office/drawing/2014/main" id="{75B26131-FB49-4D1D-BFE8-05B3CDCFD66D}"/>
              </a:ext>
            </a:extLst>
          </p:cNvPr>
          <p:cNvGrpSpPr/>
          <p:nvPr/>
        </p:nvGrpSpPr>
        <p:grpSpPr>
          <a:xfrm>
            <a:off x="8631099" y="3182183"/>
            <a:ext cx="829595" cy="757953"/>
            <a:chOff x="4903652" y="4265116"/>
            <a:chExt cx="1320766" cy="1206708"/>
          </a:xfrm>
        </p:grpSpPr>
        <p:grpSp>
          <p:nvGrpSpPr>
            <p:cNvPr id="471" name="Group 470">
              <a:extLst>
                <a:ext uri="{FF2B5EF4-FFF2-40B4-BE49-F238E27FC236}">
                  <a16:creationId xmlns:a16="http://schemas.microsoft.com/office/drawing/2014/main" id="{707FDB4A-D74B-41D1-891A-DB3219D3F278}"/>
                </a:ext>
              </a:extLst>
            </p:cNvPr>
            <p:cNvGrpSpPr/>
            <p:nvPr/>
          </p:nvGrpSpPr>
          <p:grpSpPr>
            <a:xfrm>
              <a:off x="5391150" y="4603436"/>
              <a:ext cx="833268" cy="868388"/>
              <a:chOff x="4199491" y="3361552"/>
              <a:chExt cx="2024927" cy="2110272"/>
            </a:xfrm>
          </p:grpSpPr>
          <p:grpSp>
            <p:nvGrpSpPr>
              <p:cNvPr id="488" name="Group 487">
                <a:extLst>
                  <a:ext uri="{FF2B5EF4-FFF2-40B4-BE49-F238E27FC236}">
                    <a16:creationId xmlns:a16="http://schemas.microsoft.com/office/drawing/2014/main" id="{9E76EA1A-ABDC-4725-B702-3C8E8E284699}"/>
                  </a:ext>
                </a:extLst>
              </p:cNvPr>
              <p:cNvGrpSpPr/>
              <p:nvPr/>
            </p:nvGrpSpPr>
            <p:grpSpPr>
              <a:xfrm>
                <a:off x="4199491" y="3361552"/>
                <a:ext cx="2024927" cy="2110272"/>
                <a:chOff x="2862096" y="5372526"/>
                <a:chExt cx="556717" cy="580181"/>
              </a:xfrm>
            </p:grpSpPr>
            <p:sp>
              <p:nvSpPr>
                <p:cNvPr id="496" name="Freeform: Shape 495">
                  <a:extLst>
                    <a:ext uri="{FF2B5EF4-FFF2-40B4-BE49-F238E27FC236}">
                      <a16:creationId xmlns:a16="http://schemas.microsoft.com/office/drawing/2014/main" id="{595C38C0-E244-4377-9938-C9B0BF5DD08E}"/>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7" name="Freeform: Shape 496">
                  <a:extLst>
                    <a:ext uri="{FF2B5EF4-FFF2-40B4-BE49-F238E27FC236}">
                      <a16:creationId xmlns:a16="http://schemas.microsoft.com/office/drawing/2014/main" id="{A9AE667B-0074-4938-95E3-B9ECCB6928A4}"/>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8" name="Freeform: Shape 497">
                  <a:extLst>
                    <a:ext uri="{FF2B5EF4-FFF2-40B4-BE49-F238E27FC236}">
                      <a16:creationId xmlns:a16="http://schemas.microsoft.com/office/drawing/2014/main" id="{209FEC48-0D24-48B6-BF05-8B457EAF2B0E}"/>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9" name="Freeform: Shape 498">
                  <a:extLst>
                    <a:ext uri="{FF2B5EF4-FFF2-40B4-BE49-F238E27FC236}">
                      <a16:creationId xmlns:a16="http://schemas.microsoft.com/office/drawing/2014/main" id="{BCCEEA1C-6E62-49E2-A167-155891B9E8AC}"/>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0" name="Freeform: Shape 499">
                  <a:extLst>
                    <a:ext uri="{FF2B5EF4-FFF2-40B4-BE49-F238E27FC236}">
                      <a16:creationId xmlns:a16="http://schemas.microsoft.com/office/drawing/2014/main" id="{B245F51E-8635-4E28-8C74-2F54D5A6C3B0}"/>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1" name="Freeform: Shape 500">
                  <a:extLst>
                    <a:ext uri="{FF2B5EF4-FFF2-40B4-BE49-F238E27FC236}">
                      <a16:creationId xmlns:a16="http://schemas.microsoft.com/office/drawing/2014/main" id="{58D3AC85-DD3A-42F1-B886-1E9E918E8279}"/>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2" name="Freeform: Shape 501">
                  <a:extLst>
                    <a:ext uri="{FF2B5EF4-FFF2-40B4-BE49-F238E27FC236}">
                      <a16:creationId xmlns:a16="http://schemas.microsoft.com/office/drawing/2014/main" id="{87F6ED88-4702-47EC-BCDA-E0307D23136B}"/>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489" name="Oval 488">
                <a:extLst>
                  <a:ext uri="{FF2B5EF4-FFF2-40B4-BE49-F238E27FC236}">
                    <a16:creationId xmlns:a16="http://schemas.microsoft.com/office/drawing/2014/main" id="{397368DF-5691-466A-B37C-A15FABDB79CA}"/>
                  </a:ext>
                </a:extLst>
              </p:cNvPr>
              <p:cNvSpPr/>
              <p:nvPr/>
            </p:nvSpPr>
            <p:spPr bwMode="auto">
              <a:xfrm>
                <a:off x="5154128" y="436149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Oval 489">
                <a:extLst>
                  <a:ext uri="{FF2B5EF4-FFF2-40B4-BE49-F238E27FC236}">
                    <a16:creationId xmlns:a16="http://schemas.microsoft.com/office/drawing/2014/main" id="{9A27C382-E2D4-4CED-ADC9-D64829610BAD}"/>
                  </a:ext>
                </a:extLst>
              </p:cNvPr>
              <p:cNvSpPr/>
              <p:nvPr/>
            </p:nvSpPr>
            <p:spPr bwMode="auto">
              <a:xfrm>
                <a:off x="5782652"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Oval 490">
                <a:extLst>
                  <a:ext uri="{FF2B5EF4-FFF2-40B4-BE49-F238E27FC236}">
                    <a16:creationId xmlns:a16="http://schemas.microsoft.com/office/drawing/2014/main" id="{211ED865-F5FB-436B-B9F3-0131FF146516}"/>
                  </a:ext>
                </a:extLst>
              </p:cNvPr>
              <p:cNvSpPr/>
              <p:nvPr/>
            </p:nvSpPr>
            <p:spPr bwMode="auto">
              <a:xfrm>
                <a:off x="5154128" y="3622567"/>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Oval 491">
                <a:extLst>
                  <a:ext uri="{FF2B5EF4-FFF2-40B4-BE49-F238E27FC236}">
                    <a16:creationId xmlns:a16="http://schemas.microsoft.com/office/drawing/2014/main" id="{33604AF2-EFFB-4001-AA92-AB10A5FDA604}"/>
                  </a:ext>
                </a:extLst>
              </p:cNvPr>
              <p:cNvSpPr/>
              <p:nvPr/>
            </p:nvSpPr>
            <p:spPr bwMode="auto">
              <a:xfrm>
                <a:off x="5156601" y="5079481"/>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Oval 492">
                <a:extLst>
                  <a:ext uri="{FF2B5EF4-FFF2-40B4-BE49-F238E27FC236}">
                    <a16:creationId xmlns:a16="http://schemas.microsoft.com/office/drawing/2014/main" id="{C8FED273-106A-43E8-B913-80F44263EA73}"/>
                  </a:ext>
                </a:extLst>
              </p:cNvPr>
              <p:cNvSpPr/>
              <p:nvPr/>
            </p:nvSpPr>
            <p:spPr bwMode="auto">
              <a:xfrm>
                <a:off x="4509929" y="4715485"/>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4" name="Oval 493">
                <a:extLst>
                  <a:ext uri="{FF2B5EF4-FFF2-40B4-BE49-F238E27FC236}">
                    <a16:creationId xmlns:a16="http://schemas.microsoft.com/office/drawing/2014/main" id="{68A2583A-CF72-4FF3-8361-9DA4E84E65B0}"/>
                  </a:ext>
                </a:extLst>
              </p:cNvPr>
              <p:cNvSpPr/>
              <p:nvPr/>
            </p:nvSpPr>
            <p:spPr bwMode="auto">
              <a:xfrm>
                <a:off x="4509929"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5" name="Oval 494">
                <a:extLst>
                  <a:ext uri="{FF2B5EF4-FFF2-40B4-BE49-F238E27FC236}">
                    <a16:creationId xmlns:a16="http://schemas.microsoft.com/office/drawing/2014/main" id="{0B75D255-39C0-44AA-8FA8-33FACA675E40}"/>
                  </a:ext>
                </a:extLst>
              </p:cNvPr>
              <p:cNvSpPr/>
              <p:nvPr/>
            </p:nvSpPr>
            <p:spPr bwMode="auto">
              <a:xfrm>
                <a:off x="5782652" y="471905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72" name="Group 471">
              <a:extLst>
                <a:ext uri="{FF2B5EF4-FFF2-40B4-BE49-F238E27FC236}">
                  <a16:creationId xmlns:a16="http://schemas.microsoft.com/office/drawing/2014/main" id="{15A933F7-9826-4679-8DF0-8BB32B232831}"/>
                </a:ext>
              </a:extLst>
            </p:cNvPr>
            <p:cNvGrpSpPr/>
            <p:nvPr/>
          </p:nvGrpSpPr>
          <p:grpSpPr>
            <a:xfrm>
              <a:off x="4903652" y="4265116"/>
              <a:ext cx="669287" cy="388899"/>
              <a:chOff x="4849610" y="4257156"/>
              <a:chExt cx="335619" cy="171805"/>
            </a:xfrm>
          </p:grpSpPr>
          <p:sp>
            <p:nvSpPr>
              <p:cNvPr id="484" name="Freeform: Shape 483">
                <a:extLst>
                  <a:ext uri="{FF2B5EF4-FFF2-40B4-BE49-F238E27FC236}">
                    <a16:creationId xmlns:a16="http://schemas.microsoft.com/office/drawing/2014/main" id="{E85749E1-D9BB-4355-9D21-A9F938290AFE}"/>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5" name="Freeform: Shape 484">
                <a:extLst>
                  <a:ext uri="{FF2B5EF4-FFF2-40B4-BE49-F238E27FC236}">
                    <a16:creationId xmlns:a16="http://schemas.microsoft.com/office/drawing/2014/main" id="{4D3BB203-2DB5-473F-B704-B1CF18A9E19D}"/>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6" name="Freeform: Shape 485">
                <a:extLst>
                  <a:ext uri="{FF2B5EF4-FFF2-40B4-BE49-F238E27FC236}">
                    <a16:creationId xmlns:a16="http://schemas.microsoft.com/office/drawing/2014/main" id="{15ECF183-3D21-4575-B75D-DEF322D3630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7" name="Freeform: Shape 486">
                <a:extLst>
                  <a:ext uri="{FF2B5EF4-FFF2-40B4-BE49-F238E27FC236}">
                    <a16:creationId xmlns:a16="http://schemas.microsoft.com/office/drawing/2014/main" id="{84F5F1BA-487B-4B39-B6D4-F90FA26D9E3D}"/>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473" name="Connector: Elbow 472">
              <a:extLst>
                <a:ext uri="{FF2B5EF4-FFF2-40B4-BE49-F238E27FC236}">
                  <a16:creationId xmlns:a16="http://schemas.microsoft.com/office/drawing/2014/main" id="{E675322A-B2ED-486F-9BF0-A07825A42136}"/>
                </a:ext>
              </a:extLst>
            </p:cNvPr>
            <p:cNvCxnSpPr>
              <a:stCxn id="493" idx="0"/>
              <a:endCxn id="484" idx="1"/>
            </p:cNvCxnSpPr>
            <p:nvPr/>
          </p:nvCxnSpPr>
          <p:spPr>
            <a:xfrm rot="16200000" flipV="1">
              <a:off x="4997823" y="4612492"/>
              <a:ext cx="506358" cy="589832"/>
            </a:xfrm>
            <a:prstGeom prst="bentConnector4">
              <a:avLst>
                <a:gd name="adj1" fmla="val 10518"/>
                <a:gd name="adj2" fmla="val 61243"/>
              </a:avLst>
            </a:prstGeom>
            <a:noFill/>
            <a:ln w="19050" cap="flat" cmpd="sng" algn="ctr">
              <a:solidFill>
                <a:schemeClr val="tx1"/>
              </a:solidFill>
              <a:prstDash val="solid"/>
              <a:headEnd type="none"/>
              <a:tailEnd type="none"/>
            </a:ln>
            <a:effectLst/>
          </p:spPr>
        </p:cxnSp>
        <p:cxnSp>
          <p:nvCxnSpPr>
            <p:cNvPr id="474" name="Straight Connector 473">
              <a:extLst>
                <a:ext uri="{FF2B5EF4-FFF2-40B4-BE49-F238E27FC236}">
                  <a16:creationId xmlns:a16="http://schemas.microsoft.com/office/drawing/2014/main" id="{01FF1114-0816-4776-972D-8142772C810A}"/>
                </a:ext>
              </a:extLst>
            </p:cNvPr>
            <p:cNvCxnSpPr>
              <a:stCxn id="494" idx="4"/>
              <a:endCxn id="493" idx="0"/>
            </p:cNvCxnSpPr>
            <p:nvPr/>
          </p:nvCxnSpPr>
          <p:spPr>
            <a:xfrm>
              <a:off x="5545918" y="4922875"/>
              <a:ext cx="0" cy="237712"/>
            </a:xfrm>
            <a:prstGeom prst="line">
              <a:avLst/>
            </a:prstGeom>
            <a:noFill/>
            <a:ln w="19050" cap="flat" cmpd="sng" algn="ctr">
              <a:solidFill>
                <a:schemeClr val="tx1"/>
              </a:solidFill>
              <a:prstDash val="solid"/>
              <a:headEnd type="none"/>
              <a:tailEnd type="none"/>
            </a:ln>
            <a:effectLst/>
          </p:spPr>
        </p:cxnSp>
        <p:cxnSp>
          <p:nvCxnSpPr>
            <p:cNvPr id="475" name="Straight Connector 474">
              <a:extLst>
                <a:ext uri="{FF2B5EF4-FFF2-40B4-BE49-F238E27FC236}">
                  <a16:creationId xmlns:a16="http://schemas.microsoft.com/office/drawing/2014/main" id="{EEC6432E-CC9B-4894-9E74-AF8B653441C7}"/>
                </a:ext>
              </a:extLst>
            </p:cNvPr>
            <p:cNvCxnSpPr>
              <a:stCxn id="493" idx="5"/>
              <a:endCxn id="492" idx="2"/>
            </p:cNvCxnSpPr>
            <p:nvPr/>
          </p:nvCxnSpPr>
          <p:spPr>
            <a:xfrm>
              <a:off x="5565025" y="5206715"/>
              <a:ext cx="219981" cy="130679"/>
            </a:xfrm>
            <a:prstGeom prst="line">
              <a:avLst/>
            </a:prstGeom>
            <a:noFill/>
            <a:ln w="19050" cap="flat" cmpd="sng" algn="ctr">
              <a:solidFill>
                <a:schemeClr val="tx1"/>
              </a:solidFill>
              <a:prstDash val="solid"/>
              <a:headEnd type="none"/>
              <a:tailEnd type="none"/>
            </a:ln>
            <a:effectLst/>
          </p:spPr>
        </p:cxnSp>
        <p:cxnSp>
          <p:nvCxnSpPr>
            <p:cNvPr id="476" name="Straight Connector 475">
              <a:extLst>
                <a:ext uri="{FF2B5EF4-FFF2-40B4-BE49-F238E27FC236}">
                  <a16:creationId xmlns:a16="http://schemas.microsoft.com/office/drawing/2014/main" id="{6F1FB67F-8D29-4262-9C9F-54D351D1CAF3}"/>
                </a:ext>
              </a:extLst>
            </p:cNvPr>
            <p:cNvCxnSpPr>
              <a:cxnSpLocks/>
              <a:stCxn id="492" idx="6"/>
              <a:endCxn id="495" idx="3"/>
            </p:cNvCxnSpPr>
            <p:nvPr/>
          </p:nvCxnSpPr>
          <p:spPr>
            <a:xfrm flipV="1">
              <a:off x="5839048" y="5208182"/>
              <a:ext cx="211495" cy="129212"/>
            </a:xfrm>
            <a:prstGeom prst="line">
              <a:avLst/>
            </a:prstGeom>
            <a:noFill/>
            <a:ln w="19050" cap="flat" cmpd="sng" algn="ctr">
              <a:solidFill>
                <a:schemeClr val="tx1"/>
              </a:solidFill>
              <a:prstDash val="solid"/>
              <a:headEnd type="none"/>
              <a:tailEnd type="none"/>
            </a:ln>
            <a:effectLst/>
          </p:spPr>
        </p:cxnSp>
        <p:cxnSp>
          <p:nvCxnSpPr>
            <p:cNvPr id="477" name="Straight Connector 476">
              <a:extLst>
                <a:ext uri="{FF2B5EF4-FFF2-40B4-BE49-F238E27FC236}">
                  <a16:creationId xmlns:a16="http://schemas.microsoft.com/office/drawing/2014/main" id="{3D71350C-631A-4B21-B162-69D9795F4C5D}"/>
                </a:ext>
              </a:extLst>
            </p:cNvPr>
            <p:cNvCxnSpPr>
              <a:stCxn id="495" idx="0"/>
              <a:endCxn id="490" idx="4"/>
            </p:cNvCxnSpPr>
            <p:nvPr/>
          </p:nvCxnSpPr>
          <p:spPr>
            <a:xfrm flipV="1">
              <a:off x="6069650" y="4922875"/>
              <a:ext cx="0" cy="239179"/>
            </a:xfrm>
            <a:prstGeom prst="line">
              <a:avLst/>
            </a:prstGeom>
            <a:noFill/>
            <a:ln w="19050" cap="flat" cmpd="sng" algn="ctr">
              <a:solidFill>
                <a:schemeClr val="tx1"/>
              </a:solidFill>
              <a:prstDash val="solid"/>
              <a:headEnd type="none"/>
              <a:tailEnd type="none"/>
            </a:ln>
            <a:effectLst/>
          </p:spPr>
        </p:cxnSp>
        <p:cxnSp>
          <p:nvCxnSpPr>
            <p:cNvPr id="478" name="Straight Connector 477">
              <a:extLst>
                <a:ext uri="{FF2B5EF4-FFF2-40B4-BE49-F238E27FC236}">
                  <a16:creationId xmlns:a16="http://schemas.microsoft.com/office/drawing/2014/main" id="{AB35E4B0-7AE4-4287-AA58-48D8AA4D0BA0}"/>
                </a:ext>
              </a:extLst>
            </p:cNvPr>
            <p:cNvCxnSpPr>
              <a:cxnSpLocks/>
              <a:stCxn id="490" idx="1"/>
              <a:endCxn id="491" idx="5"/>
            </p:cNvCxnSpPr>
            <p:nvPr/>
          </p:nvCxnSpPr>
          <p:spPr>
            <a:xfrm flipH="1" flipV="1">
              <a:off x="5830116" y="4756973"/>
              <a:ext cx="220427" cy="119774"/>
            </a:xfrm>
            <a:prstGeom prst="line">
              <a:avLst/>
            </a:prstGeom>
            <a:noFill/>
            <a:ln w="19050" cap="flat" cmpd="sng" algn="ctr">
              <a:solidFill>
                <a:schemeClr val="tx1"/>
              </a:solidFill>
              <a:prstDash val="solid"/>
              <a:headEnd type="none"/>
              <a:tailEnd type="none"/>
            </a:ln>
            <a:effectLst/>
          </p:spPr>
        </p:cxnSp>
        <p:cxnSp>
          <p:nvCxnSpPr>
            <p:cNvPr id="479" name="Straight Connector 478">
              <a:extLst>
                <a:ext uri="{FF2B5EF4-FFF2-40B4-BE49-F238E27FC236}">
                  <a16:creationId xmlns:a16="http://schemas.microsoft.com/office/drawing/2014/main" id="{4110C096-3392-41BC-9D9C-0CC1B060C694}"/>
                </a:ext>
              </a:extLst>
            </p:cNvPr>
            <p:cNvCxnSpPr>
              <a:stCxn id="491" idx="3"/>
              <a:endCxn id="494" idx="7"/>
            </p:cNvCxnSpPr>
            <p:nvPr/>
          </p:nvCxnSpPr>
          <p:spPr>
            <a:xfrm flipH="1">
              <a:off x="5565025" y="4756973"/>
              <a:ext cx="226877" cy="119774"/>
            </a:xfrm>
            <a:prstGeom prst="line">
              <a:avLst/>
            </a:prstGeom>
            <a:noFill/>
            <a:ln w="19050" cap="flat" cmpd="sng" algn="ctr">
              <a:solidFill>
                <a:schemeClr val="tx1"/>
              </a:solidFill>
              <a:prstDash val="solid"/>
              <a:headEnd type="none"/>
              <a:tailEnd type="none"/>
            </a:ln>
            <a:effectLst/>
          </p:spPr>
        </p:cxnSp>
        <p:cxnSp>
          <p:nvCxnSpPr>
            <p:cNvPr id="480" name="Straight Connector 479">
              <a:extLst>
                <a:ext uri="{FF2B5EF4-FFF2-40B4-BE49-F238E27FC236}">
                  <a16:creationId xmlns:a16="http://schemas.microsoft.com/office/drawing/2014/main" id="{CF35C208-4DA6-484C-B8D8-AAE778BE62B2}"/>
                </a:ext>
              </a:extLst>
            </p:cNvPr>
            <p:cNvCxnSpPr>
              <a:cxnSpLocks/>
              <a:stCxn id="489" idx="5"/>
              <a:endCxn id="495" idx="1"/>
            </p:cNvCxnSpPr>
            <p:nvPr/>
          </p:nvCxnSpPr>
          <p:spPr>
            <a:xfrm>
              <a:off x="5830116" y="5061044"/>
              <a:ext cx="220427" cy="108924"/>
            </a:xfrm>
            <a:prstGeom prst="line">
              <a:avLst/>
            </a:prstGeom>
            <a:noFill/>
            <a:ln w="19050" cap="flat" cmpd="sng" algn="ctr">
              <a:solidFill>
                <a:schemeClr val="tx1"/>
              </a:solidFill>
              <a:prstDash val="solid"/>
              <a:headEnd type="none"/>
              <a:tailEnd type="none"/>
            </a:ln>
            <a:effectLst/>
          </p:spPr>
        </p:cxnSp>
        <p:cxnSp>
          <p:nvCxnSpPr>
            <p:cNvPr id="481" name="Straight Connector 480">
              <a:extLst>
                <a:ext uri="{FF2B5EF4-FFF2-40B4-BE49-F238E27FC236}">
                  <a16:creationId xmlns:a16="http://schemas.microsoft.com/office/drawing/2014/main" id="{0A751600-7DE9-482B-A046-A4F8F25BB857}"/>
                </a:ext>
              </a:extLst>
            </p:cNvPr>
            <p:cNvCxnSpPr>
              <a:stCxn id="489" idx="3"/>
              <a:endCxn id="493" idx="6"/>
            </p:cNvCxnSpPr>
            <p:nvPr/>
          </p:nvCxnSpPr>
          <p:spPr>
            <a:xfrm flipH="1">
              <a:off x="5572939" y="5061044"/>
              <a:ext cx="218963" cy="126564"/>
            </a:xfrm>
            <a:prstGeom prst="line">
              <a:avLst/>
            </a:prstGeom>
            <a:noFill/>
            <a:ln w="19050" cap="flat" cmpd="sng" algn="ctr">
              <a:solidFill>
                <a:schemeClr val="tx1"/>
              </a:solidFill>
              <a:prstDash val="solid"/>
              <a:headEnd type="none"/>
              <a:tailEnd type="none"/>
            </a:ln>
            <a:effectLst/>
          </p:spPr>
        </p:cxnSp>
        <p:cxnSp>
          <p:nvCxnSpPr>
            <p:cNvPr id="482" name="Straight Connector 481">
              <a:extLst>
                <a:ext uri="{FF2B5EF4-FFF2-40B4-BE49-F238E27FC236}">
                  <a16:creationId xmlns:a16="http://schemas.microsoft.com/office/drawing/2014/main" id="{3E2D00C8-FE4D-47AE-9E14-8A2547374DD5}"/>
                </a:ext>
              </a:extLst>
            </p:cNvPr>
            <p:cNvCxnSpPr>
              <a:stCxn id="489" idx="7"/>
              <a:endCxn id="490" idx="3"/>
            </p:cNvCxnSpPr>
            <p:nvPr/>
          </p:nvCxnSpPr>
          <p:spPr>
            <a:xfrm flipV="1">
              <a:off x="5830116" y="4914961"/>
              <a:ext cx="220427" cy="107869"/>
            </a:xfrm>
            <a:prstGeom prst="line">
              <a:avLst/>
            </a:prstGeom>
            <a:noFill/>
            <a:ln w="19050" cap="flat" cmpd="sng" algn="ctr">
              <a:solidFill>
                <a:schemeClr val="tx1"/>
              </a:solidFill>
              <a:prstDash val="solid"/>
              <a:headEnd type="none"/>
              <a:tailEnd type="none"/>
            </a:ln>
            <a:effectLst/>
          </p:spPr>
        </p:cxnSp>
        <p:cxnSp>
          <p:nvCxnSpPr>
            <p:cNvPr id="483" name="Straight Connector 482">
              <a:extLst>
                <a:ext uri="{FF2B5EF4-FFF2-40B4-BE49-F238E27FC236}">
                  <a16:creationId xmlns:a16="http://schemas.microsoft.com/office/drawing/2014/main" id="{321F26C2-05D2-4EC7-8E92-1B5B7E4FAD22}"/>
                </a:ext>
              </a:extLst>
            </p:cNvPr>
            <p:cNvCxnSpPr>
              <a:stCxn id="489" idx="1"/>
              <a:endCxn id="494" idx="5"/>
            </p:cNvCxnSpPr>
            <p:nvPr/>
          </p:nvCxnSpPr>
          <p:spPr>
            <a:xfrm flipH="1" flipV="1">
              <a:off x="5565025" y="4914961"/>
              <a:ext cx="226877" cy="107869"/>
            </a:xfrm>
            <a:prstGeom prst="line">
              <a:avLst/>
            </a:prstGeom>
            <a:noFill/>
            <a:ln w="19050" cap="flat" cmpd="sng" algn="ctr">
              <a:solidFill>
                <a:schemeClr val="tx1"/>
              </a:solidFill>
              <a:prstDash val="solid"/>
              <a:headEnd type="none"/>
              <a:tailEnd type="none"/>
            </a:ln>
            <a:effectLst/>
          </p:spPr>
        </p:cxnSp>
      </p:grpSp>
      <p:grpSp>
        <p:nvGrpSpPr>
          <p:cNvPr id="23" name="Group 22">
            <a:extLst>
              <a:ext uri="{FF2B5EF4-FFF2-40B4-BE49-F238E27FC236}">
                <a16:creationId xmlns:a16="http://schemas.microsoft.com/office/drawing/2014/main" id="{A13873EE-8A14-4A4B-9AB3-DD4447350212}"/>
              </a:ext>
            </a:extLst>
          </p:cNvPr>
          <p:cNvGrpSpPr/>
          <p:nvPr/>
        </p:nvGrpSpPr>
        <p:grpSpPr>
          <a:xfrm>
            <a:off x="2380091" y="1496153"/>
            <a:ext cx="509795" cy="509795"/>
            <a:chOff x="2269811" y="1193914"/>
            <a:chExt cx="509795" cy="509795"/>
          </a:xfrm>
        </p:grpSpPr>
        <p:sp>
          <p:nvSpPr>
            <p:cNvPr id="522" name="Oval 521">
              <a:extLst>
                <a:ext uri="{FF2B5EF4-FFF2-40B4-BE49-F238E27FC236}">
                  <a16:creationId xmlns:a16="http://schemas.microsoft.com/office/drawing/2014/main" id="{FE5D9523-336F-4B6D-A492-962AEE7A352D}"/>
                </a:ext>
              </a:extLst>
            </p:cNvPr>
            <p:cNvSpPr/>
            <p:nvPr/>
          </p:nvSpPr>
          <p:spPr bwMode="auto">
            <a:xfrm>
              <a:off x="2269811"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67A672F6-4649-4A0E-B6EF-74B9956FCB88}"/>
                </a:ext>
              </a:extLst>
            </p:cNvPr>
            <p:cNvGrpSpPr/>
            <p:nvPr/>
          </p:nvGrpSpPr>
          <p:grpSpPr>
            <a:xfrm>
              <a:off x="2391941" y="1235538"/>
              <a:ext cx="265534" cy="404563"/>
              <a:chOff x="3590085" y="-2807421"/>
              <a:chExt cx="265534" cy="404563"/>
            </a:xfrm>
          </p:grpSpPr>
          <p:sp>
            <p:nvSpPr>
              <p:cNvPr id="200" name="TextBox 199">
                <a:extLst>
                  <a:ext uri="{FF2B5EF4-FFF2-40B4-BE49-F238E27FC236}">
                    <a16:creationId xmlns:a16="http://schemas.microsoft.com/office/drawing/2014/main" id="{C1534FDD-269A-4E00-8F74-8F8AA5E0D968}"/>
                  </a:ext>
                </a:extLst>
              </p:cNvPr>
              <p:cNvSpPr txBox="1"/>
              <p:nvPr/>
            </p:nvSpPr>
            <p:spPr>
              <a:xfrm>
                <a:off x="3631479" y="-2479802"/>
                <a:ext cx="182743"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Caffe2</a:t>
                </a:r>
              </a:p>
            </p:txBody>
          </p:sp>
          <p:pic>
            <p:nvPicPr>
              <p:cNvPr id="204" name="Picture 4" descr="Image result for Caffe2 Logo Png">
                <a:extLst>
                  <a:ext uri="{FF2B5EF4-FFF2-40B4-BE49-F238E27FC236}">
                    <a16:creationId xmlns:a16="http://schemas.microsoft.com/office/drawing/2014/main" id="{C48F9390-67D4-4684-9AB9-589FC4E003B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590085" y="-2807421"/>
                <a:ext cx="265534" cy="30588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35" name="Group 534">
            <a:extLst>
              <a:ext uri="{FF2B5EF4-FFF2-40B4-BE49-F238E27FC236}">
                <a16:creationId xmlns:a16="http://schemas.microsoft.com/office/drawing/2014/main" id="{ED549EE0-7A52-450F-9B11-111429A3FE4A}"/>
              </a:ext>
            </a:extLst>
          </p:cNvPr>
          <p:cNvGrpSpPr/>
          <p:nvPr/>
        </p:nvGrpSpPr>
        <p:grpSpPr>
          <a:xfrm>
            <a:off x="1917823" y="1958133"/>
            <a:ext cx="509795" cy="509795"/>
            <a:chOff x="1423522" y="1193914"/>
            <a:chExt cx="509795" cy="509795"/>
          </a:xfrm>
        </p:grpSpPr>
        <p:sp>
          <p:nvSpPr>
            <p:cNvPr id="536" name="Oval 535">
              <a:extLst>
                <a:ext uri="{FF2B5EF4-FFF2-40B4-BE49-F238E27FC236}">
                  <a16:creationId xmlns:a16="http://schemas.microsoft.com/office/drawing/2014/main" id="{7AB07A5F-315F-4A2C-8E20-0F516CCD48C8}"/>
                </a:ext>
              </a:extLst>
            </p:cNvPr>
            <p:cNvSpPr/>
            <p:nvPr/>
          </p:nvSpPr>
          <p:spPr bwMode="auto">
            <a:xfrm>
              <a:off x="1423522"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537" name="Group 536">
              <a:extLst>
                <a:ext uri="{FF2B5EF4-FFF2-40B4-BE49-F238E27FC236}">
                  <a16:creationId xmlns:a16="http://schemas.microsoft.com/office/drawing/2014/main" id="{E3BC0AB3-552F-494C-AADD-D892F4B33A95}"/>
                </a:ext>
              </a:extLst>
            </p:cNvPr>
            <p:cNvGrpSpPr/>
            <p:nvPr/>
          </p:nvGrpSpPr>
          <p:grpSpPr>
            <a:xfrm>
              <a:off x="1479647" y="1250179"/>
              <a:ext cx="397545" cy="397264"/>
              <a:chOff x="2921404" y="-2810103"/>
              <a:chExt cx="397545" cy="397264"/>
            </a:xfrm>
          </p:grpSpPr>
          <p:pic>
            <p:nvPicPr>
              <p:cNvPr id="538" name="Picture 6" descr="Image result for Cognitive toolkit Logo Png">
                <a:extLst>
                  <a:ext uri="{FF2B5EF4-FFF2-40B4-BE49-F238E27FC236}">
                    <a16:creationId xmlns:a16="http://schemas.microsoft.com/office/drawing/2014/main" id="{9D3AAF1E-98AE-4915-8BD7-9EFD3992DC8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043615" y="-2810103"/>
                <a:ext cx="153124" cy="227220"/>
              </a:xfrm>
              <a:prstGeom prst="rect">
                <a:avLst/>
              </a:prstGeom>
              <a:noFill/>
              <a:extLst>
                <a:ext uri="{909E8E84-426E-40DD-AFC4-6F175D3DCCD1}">
                  <a14:hiddenFill xmlns:a14="http://schemas.microsoft.com/office/drawing/2010/main">
                    <a:solidFill>
                      <a:srgbClr val="FFFFFF"/>
                    </a:solidFill>
                  </a14:hiddenFill>
                </a:ext>
              </a:extLst>
            </p:spPr>
          </p:pic>
          <p:sp>
            <p:nvSpPr>
              <p:cNvPr id="539" name="TextBox 538">
                <a:extLst>
                  <a:ext uri="{FF2B5EF4-FFF2-40B4-BE49-F238E27FC236}">
                    <a16:creationId xmlns:a16="http://schemas.microsoft.com/office/drawing/2014/main" id="{5C4B564E-BB22-4BC3-8A63-369BD4C69422}"/>
                  </a:ext>
                </a:extLst>
              </p:cNvPr>
              <p:cNvSpPr txBox="1"/>
              <p:nvPr/>
            </p:nvSpPr>
            <p:spPr>
              <a:xfrm>
                <a:off x="2921404" y="-2566727"/>
                <a:ext cx="397545" cy="153888"/>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MS cognitiv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500" dirty="0">
                    <a:solidFill>
                      <a:srgbClr val="505050"/>
                    </a:solidFill>
                    <a:latin typeface="Segoe UI" panose="020B0502040204020203" pitchFamily="34" charset="0"/>
                    <a:cs typeface="Segoe UI" panose="020B0502040204020203" pitchFamily="34" charset="0"/>
                  </a:rPr>
                  <a:t>t</a:t>
                </a:r>
                <a:r>
                  <a:rPr kumimoji="0" lang="en-US" sz="500" b="0" i="0" u="none" strike="noStrike" kern="0" cap="none" spc="0" normalizeH="0" baseline="0" noProof="0" dirty="0" err="1">
                    <a:ln>
                      <a:noFill/>
                    </a:ln>
                    <a:solidFill>
                      <a:srgbClr val="505050"/>
                    </a:solidFill>
                    <a:effectLst/>
                    <a:uLnTx/>
                    <a:uFillTx/>
                    <a:latin typeface="Segoe UI" panose="020B0502040204020203" pitchFamily="34" charset="0"/>
                    <a:cs typeface="Segoe UI" panose="020B0502040204020203" pitchFamily="34" charset="0"/>
                  </a:rPr>
                  <a:t>oolkit</a:t>
                </a:r>
                <a:endPar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grpSp>
        <p:nvGrpSpPr>
          <p:cNvPr id="530" name="Group 529">
            <a:extLst>
              <a:ext uri="{FF2B5EF4-FFF2-40B4-BE49-F238E27FC236}">
                <a16:creationId xmlns:a16="http://schemas.microsoft.com/office/drawing/2014/main" id="{ACB618A8-1E91-46D3-B3B3-CED1F1079972}"/>
              </a:ext>
            </a:extLst>
          </p:cNvPr>
          <p:cNvGrpSpPr/>
          <p:nvPr/>
        </p:nvGrpSpPr>
        <p:grpSpPr>
          <a:xfrm>
            <a:off x="2999757" y="1696114"/>
            <a:ext cx="509795" cy="509795"/>
            <a:chOff x="3532077" y="1193914"/>
            <a:chExt cx="509795" cy="509795"/>
          </a:xfrm>
        </p:grpSpPr>
        <p:sp>
          <p:nvSpPr>
            <p:cNvPr id="531" name="Oval 530">
              <a:extLst>
                <a:ext uri="{FF2B5EF4-FFF2-40B4-BE49-F238E27FC236}">
                  <a16:creationId xmlns:a16="http://schemas.microsoft.com/office/drawing/2014/main" id="{933F028E-AA37-4DEF-9BCC-58A480121E1A}"/>
                </a:ext>
              </a:extLst>
            </p:cNvPr>
            <p:cNvSpPr/>
            <p:nvPr/>
          </p:nvSpPr>
          <p:spPr bwMode="auto">
            <a:xfrm>
              <a:off x="3532077"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532" name="Group 531">
              <a:extLst>
                <a:ext uri="{FF2B5EF4-FFF2-40B4-BE49-F238E27FC236}">
                  <a16:creationId xmlns:a16="http://schemas.microsoft.com/office/drawing/2014/main" id="{1FC07F7C-041E-453A-9B63-D22B253B9088}"/>
                </a:ext>
              </a:extLst>
            </p:cNvPr>
            <p:cNvGrpSpPr/>
            <p:nvPr/>
          </p:nvGrpSpPr>
          <p:grpSpPr>
            <a:xfrm>
              <a:off x="3677437" y="1277910"/>
              <a:ext cx="219064" cy="321444"/>
              <a:chOff x="4014372" y="-2386698"/>
              <a:chExt cx="171907" cy="252247"/>
            </a:xfrm>
          </p:grpSpPr>
          <p:sp>
            <p:nvSpPr>
              <p:cNvPr id="533" name="TextBox 532">
                <a:extLst>
                  <a:ext uri="{FF2B5EF4-FFF2-40B4-BE49-F238E27FC236}">
                    <a16:creationId xmlns:a16="http://schemas.microsoft.com/office/drawing/2014/main" id="{E0FDD636-EE63-498F-B493-0530B2AD50C6}"/>
                  </a:ext>
                </a:extLst>
              </p:cNvPr>
              <p:cNvSpPr txBox="1"/>
              <p:nvPr/>
            </p:nvSpPr>
            <p:spPr>
              <a:xfrm>
                <a:off x="4040573" y="-2194831"/>
                <a:ext cx="119504" cy="60380"/>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Keras</a:t>
                </a:r>
              </a:p>
            </p:txBody>
          </p:sp>
          <p:pic>
            <p:nvPicPr>
              <p:cNvPr id="534" name="Picture 2" descr="Image result for Keras Logo Png">
                <a:extLst>
                  <a:ext uri="{FF2B5EF4-FFF2-40B4-BE49-F238E27FC236}">
                    <a16:creationId xmlns:a16="http://schemas.microsoft.com/office/drawing/2014/main" id="{E55E6303-BCCF-4D7E-B44A-E0E25B2770F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014372" y="-2386698"/>
                <a:ext cx="171907" cy="1691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25" name="Group 524">
            <a:extLst>
              <a:ext uri="{FF2B5EF4-FFF2-40B4-BE49-F238E27FC236}">
                <a16:creationId xmlns:a16="http://schemas.microsoft.com/office/drawing/2014/main" id="{A762815A-3396-4757-B81E-21654EE2700B}"/>
              </a:ext>
            </a:extLst>
          </p:cNvPr>
          <p:cNvGrpSpPr/>
          <p:nvPr/>
        </p:nvGrpSpPr>
        <p:grpSpPr>
          <a:xfrm>
            <a:off x="2124436" y="2577148"/>
            <a:ext cx="509795" cy="509795"/>
            <a:chOff x="1423522" y="1862113"/>
            <a:chExt cx="509795" cy="509795"/>
          </a:xfrm>
        </p:grpSpPr>
        <p:sp>
          <p:nvSpPr>
            <p:cNvPr id="526" name="Oval 525">
              <a:extLst>
                <a:ext uri="{FF2B5EF4-FFF2-40B4-BE49-F238E27FC236}">
                  <a16:creationId xmlns:a16="http://schemas.microsoft.com/office/drawing/2014/main" id="{89001AFD-3C5A-45C6-A8E5-F5C15DFD44B6}"/>
                </a:ext>
              </a:extLst>
            </p:cNvPr>
            <p:cNvSpPr/>
            <p:nvPr/>
          </p:nvSpPr>
          <p:spPr bwMode="auto">
            <a:xfrm>
              <a:off x="1423522" y="1862113"/>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27" name="Group 526">
              <a:extLst>
                <a:ext uri="{FF2B5EF4-FFF2-40B4-BE49-F238E27FC236}">
                  <a16:creationId xmlns:a16="http://schemas.microsoft.com/office/drawing/2014/main" id="{5FC5537B-2948-44B7-AE7A-60F1846EE18F}"/>
                </a:ext>
              </a:extLst>
            </p:cNvPr>
            <p:cNvGrpSpPr/>
            <p:nvPr/>
          </p:nvGrpSpPr>
          <p:grpSpPr>
            <a:xfrm>
              <a:off x="1517318" y="1960782"/>
              <a:ext cx="322204" cy="312457"/>
              <a:chOff x="2626997" y="-2320070"/>
              <a:chExt cx="322204" cy="312457"/>
            </a:xfrm>
          </p:grpSpPr>
          <p:sp>
            <p:nvSpPr>
              <p:cNvPr id="528" name="TextBox 527">
                <a:extLst>
                  <a:ext uri="{FF2B5EF4-FFF2-40B4-BE49-F238E27FC236}">
                    <a16:creationId xmlns:a16="http://schemas.microsoft.com/office/drawing/2014/main" id="{13DB5E95-30EE-4426-AA2E-DB84FFAC3681}"/>
                  </a:ext>
                </a:extLst>
              </p:cNvPr>
              <p:cNvSpPr txBox="1"/>
              <p:nvPr/>
            </p:nvSpPr>
            <p:spPr>
              <a:xfrm>
                <a:off x="2626997" y="-2084557"/>
                <a:ext cx="322204"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TensorFlow</a:t>
                </a:r>
              </a:p>
            </p:txBody>
          </p:sp>
          <p:pic>
            <p:nvPicPr>
              <p:cNvPr id="529" name="Picture 8" descr="Image result for tensorflow logo png">
                <a:extLst>
                  <a:ext uri="{FF2B5EF4-FFF2-40B4-BE49-F238E27FC236}">
                    <a16:creationId xmlns:a16="http://schemas.microsoft.com/office/drawing/2014/main" id="{91761D12-2568-4EA9-98D3-9EB3D207215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94483" y="-2320070"/>
                <a:ext cx="187230" cy="20025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70" name="Rectangle 269">
            <a:extLst>
              <a:ext uri="{FF2B5EF4-FFF2-40B4-BE49-F238E27FC236}">
                <a16:creationId xmlns:a16="http://schemas.microsoft.com/office/drawing/2014/main" id="{69F857C6-D3C7-4D86-AF3B-342D8024B47D}"/>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hoose VMs for your modeling need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Process video using GPU-based VMs</a:t>
            </a:r>
          </a:p>
        </p:txBody>
      </p:sp>
      <p:sp>
        <p:nvSpPr>
          <p:cNvPr id="271" name="Rectangle 270">
            <a:extLst>
              <a:ext uri="{FF2B5EF4-FFF2-40B4-BE49-F238E27FC236}">
                <a16:creationId xmlns:a16="http://schemas.microsoft.com/office/drawing/2014/main" id="{F5CE3847-3FDE-4AB7-AA26-73FFBEB1B2F5}"/>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un experiments in parallel</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Provision resources automatically</a:t>
            </a:r>
          </a:p>
        </p:txBody>
      </p:sp>
      <p:sp>
        <p:nvSpPr>
          <p:cNvPr id="272" name="Rectangle 271">
            <a:extLst>
              <a:ext uri="{FF2B5EF4-FFF2-40B4-BE49-F238E27FC236}">
                <a16:creationId xmlns:a16="http://schemas.microsoft.com/office/drawing/2014/main" id="{B03BE2F6-B094-4719-857A-1E019267145A}"/>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popular deep learning toolkit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velop your language of choice</a:t>
            </a:r>
          </a:p>
        </p:txBody>
      </p:sp>
      <p:sp>
        <p:nvSpPr>
          <p:cNvPr id="273" name="Rectangle 272">
            <a:extLst>
              <a:ext uri="{FF2B5EF4-FFF2-40B4-BE49-F238E27FC236}">
                <a16:creationId xmlns:a16="http://schemas.microsoft.com/office/drawing/2014/main" id="{169D1A62-9CF4-4F40-AF8C-E2E2048EA047}"/>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Scale comput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resources in any environment</a:t>
            </a:r>
          </a:p>
        </p:txBody>
      </p:sp>
      <p:sp>
        <p:nvSpPr>
          <p:cNvPr id="274" name="Rectangle 273">
            <a:extLst>
              <a:ext uri="{FF2B5EF4-FFF2-40B4-BE49-F238E27FC236}">
                <a16:creationId xmlns:a16="http://schemas.microsoft.com/office/drawing/2014/main" id="{28388A46-3CE9-48A7-A32A-601AF57DA210}"/>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Quickly evaluat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and identify the right model</a:t>
            </a:r>
          </a:p>
        </p:txBody>
      </p:sp>
      <p:sp>
        <p:nvSpPr>
          <p:cNvPr id="275" name="Rectangle 274">
            <a:extLst>
              <a:ext uri="{FF2B5EF4-FFF2-40B4-BE49-F238E27FC236}">
                <a16:creationId xmlns:a16="http://schemas.microsoft.com/office/drawing/2014/main" id="{AC12C5B6-D01B-4913-A965-D8C948324B4D}"/>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Streamlin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AI development efforts</a:t>
            </a:r>
          </a:p>
        </p:txBody>
      </p:sp>
      <p:sp>
        <p:nvSpPr>
          <p:cNvPr id="276" name="Oval 275">
            <a:extLst>
              <a:ext uri="{FF2B5EF4-FFF2-40B4-BE49-F238E27FC236}">
                <a16:creationId xmlns:a16="http://schemas.microsoft.com/office/drawing/2014/main" id="{C3336CC4-5036-461B-B1DD-2743514AEE4B}"/>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Oval 277">
            <a:extLst>
              <a:ext uri="{FF2B5EF4-FFF2-40B4-BE49-F238E27FC236}">
                <a16:creationId xmlns:a16="http://schemas.microsoft.com/office/drawing/2014/main" id="{D977DB47-2F8F-4104-A4A8-95BA03187A48}"/>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Oval 283">
            <a:extLst>
              <a:ext uri="{FF2B5EF4-FFF2-40B4-BE49-F238E27FC236}">
                <a16:creationId xmlns:a16="http://schemas.microsoft.com/office/drawing/2014/main" id="{1CFBC582-F3A3-42EF-B9D6-DBC1FCFB1DE8}"/>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5" name="Group 254">
            <a:extLst>
              <a:ext uri="{FF2B5EF4-FFF2-40B4-BE49-F238E27FC236}">
                <a16:creationId xmlns:a16="http://schemas.microsoft.com/office/drawing/2014/main" id="{657874B6-F52F-486F-845F-812D4F1A7012}"/>
              </a:ext>
            </a:extLst>
          </p:cNvPr>
          <p:cNvGrpSpPr/>
          <p:nvPr/>
        </p:nvGrpSpPr>
        <p:grpSpPr>
          <a:xfrm>
            <a:off x="11077874" y="4792982"/>
            <a:ext cx="463268" cy="371532"/>
            <a:chOff x="11080342" y="8763117"/>
            <a:chExt cx="566728" cy="454504"/>
          </a:xfrm>
        </p:grpSpPr>
        <p:sp>
          <p:nvSpPr>
            <p:cNvPr id="256" name="monitor_3" title="Icon of a monitor with a checkmark on the lower right corner">
              <a:extLst>
                <a:ext uri="{FF2B5EF4-FFF2-40B4-BE49-F238E27FC236}">
                  <a16:creationId xmlns:a16="http://schemas.microsoft.com/office/drawing/2014/main" id="{1973A772-9163-46E9-A259-C96301EC7FE6}"/>
                </a:ext>
              </a:extLst>
            </p:cNvPr>
            <p:cNvSpPr>
              <a:spLocks noChangeAspect="1" noEditPoints="1"/>
            </p:cNvSpPr>
            <p:nvPr/>
          </p:nvSpPr>
          <p:spPr bwMode="auto">
            <a:xfrm>
              <a:off x="11080342" y="8763117"/>
              <a:ext cx="566728" cy="454504"/>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57" name="Group 256">
              <a:extLst>
                <a:ext uri="{FF2B5EF4-FFF2-40B4-BE49-F238E27FC236}">
                  <a16:creationId xmlns:a16="http://schemas.microsoft.com/office/drawing/2014/main" id="{FF5E3880-3B87-4DA0-B62C-06B8699564D0}"/>
                </a:ext>
              </a:extLst>
            </p:cNvPr>
            <p:cNvGrpSpPr/>
            <p:nvPr/>
          </p:nvGrpSpPr>
          <p:grpSpPr>
            <a:xfrm rot="20695575">
              <a:off x="11232178" y="8792712"/>
              <a:ext cx="263061" cy="268670"/>
              <a:chOff x="11335696" y="3566219"/>
              <a:chExt cx="306724" cy="301514"/>
            </a:xfrm>
          </p:grpSpPr>
          <p:sp>
            <p:nvSpPr>
              <p:cNvPr id="258" name="gear_3">
                <a:extLst>
                  <a:ext uri="{FF2B5EF4-FFF2-40B4-BE49-F238E27FC236}">
                    <a16:creationId xmlns:a16="http://schemas.microsoft.com/office/drawing/2014/main" id="{D66575E8-C26D-4FA4-930B-478E91F3C350}"/>
                  </a:ext>
                </a:extLst>
              </p:cNvPr>
              <p:cNvSpPr>
                <a:spLocks noChangeAspect="1" noEditPoints="1"/>
              </p:cNvSpPr>
              <p:nvPr/>
            </p:nvSpPr>
            <p:spPr bwMode="auto">
              <a:xfrm rot="4464561">
                <a:off x="11336410" y="3565505"/>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59" name="gear_3">
                <a:extLst>
                  <a:ext uri="{FF2B5EF4-FFF2-40B4-BE49-F238E27FC236}">
                    <a16:creationId xmlns:a16="http://schemas.microsoft.com/office/drawing/2014/main" id="{B6949A0F-22A4-4997-8226-FF7073E4D585}"/>
                  </a:ext>
                </a:extLst>
              </p:cNvPr>
              <p:cNvSpPr>
                <a:spLocks noChangeAspect="1" noEditPoints="1"/>
              </p:cNvSpPr>
              <p:nvPr/>
            </p:nvSpPr>
            <p:spPr bwMode="auto">
              <a:xfrm rot="6264561">
                <a:off x="11473288" y="3698601"/>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260" name="Group 259">
            <a:extLst>
              <a:ext uri="{FF2B5EF4-FFF2-40B4-BE49-F238E27FC236}">
                <a16:creationId xmlns:a16="http://schemas.microsoft.com/office/drawing/2014/main" id="{3358ED62-892D-4518-80C3-629ABA260F3B}"/>
              </a:ext>
            </a:extLst>
          </p:cNvPr>
          <p:cNvGrpSpPr/>
          <p:nvPr/>
        </p:nvGrpSpPr>
        <p:grpSpPr>
          <a:xfrm>
            <a:off x="7184932" y="4854055"/>
            <a:ext cx="545256" cy="249386"/>
            <a:chOff x="7128003" y="8793457"/>
            <a:chExt cx="667026" cy="305079"/>
          </a:xfrm>
        </p:grpSpPr>
        <p:sp>
          <p:nvSpPr>
            <p:cNvPr id="261" name="arrow_7" title="Icon of a two-sided arrow">
              <a:extLst>
                <a:ext uri="{FF2B5EF4-FFF2-40B4-BE49-F238E27FC236}">
                  <a16:creationId xmlns:a16="http://schemas.microsoft.com/office/drawing/2014/main" id="{C06B3074-6FBE-4067-808C-5DB9573FA188}"/>
                </a:ext>
              </a:extLst>
            </p:cNvPr>
            <p:cNvSpPr>
              <a:spLocks noChangeAspect="1" noEditPoints="1"/>
            </p:cNvSpPr>
            <p:nvPr/>
          </p:nvSpPr>
          <p:spPr bwMode="auto">
            <a:xfrm rot="18890253">
              <a:off x="7128003" y="8836711"/>
              <a:ext cx="236466" cy="236466"/>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2" name="Laptop_E770" title="Icon of a laptop">
              <a:extLst>
                <a:ext uri="{FF2B5EF4-FFF2-40B4-BE49-F238E27FC236}">
                  <a16:creationId xmlns:a16="http://schemas.microsoft.com/office/drawing/2014/main" id="{F0AC0F48-1A96-4987-AC76-623A0DAEEEBF}"/>
                </a:ext>
              </a:extLst>
            </p:cNvPr>
            <p:cNvSpPr>
              <a:spLocks noChangeAspect="1" noEditPoints="1"/>
            </p:cNvSpPr>
            <p:nvPr/>
          </p:nvSpPr>
          <p:spPr bwMode="auto">
            <a:xfrm>
              <a:off x="7337829" y="8793457"/>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269" name="Freeform 96" title="Icon of a gear with a wrench">
            <a:extLst>
              <a:ext uri="{FF2B5EF4-FFF2-40B4-BE49-F238E27FC236}">
                <a16:creationId xmlns:a16="http://schemas.microsoft.com/office/drawing/2014/main" id="{34514590-1F66-4E33-A9D7-4BD9E5DB526D}"/>
              </a:ext>
            </a:extLst>
          </p:cNvPr>
          <p:cNvSpPr>
            <a:spLocks noChangeAspect="1" noEditPoints="1"/>
          </p:cNvSpPr>
          <p:nvPr/>
        </p:nvSpPr>
        <p:spPr bwMode="auto">
          <a:xfrm>
            <a:off x="3372038" y="4761918"/>
            <a:ext cx="470982" cy="4336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264" name="Group 4">
            <a:extLst>
              <a:ext uri="{FF2B5EF4-FFF2-40B4-BE49-F238E27FC236}">
                <a16:creationId xmlns:a16="http://schemas.microsoft.com/office/drawing/2014/main" id="{14B6CFC9-8497-4EC7-AB68-0698CC1164F0}"/>
              </a:ext>
            </a:extLst>
          </p:cNvPr>
          <p:cNvGrpSpPr>
            <a:grpSpLocks noChangeAspect="1"/>
          </p:cNvGrpSpPr>
          <p:nvPr/>
        </p:nvGrpSpPr>
        <p:grpSpPr bwMode="auto">
          <a:xfrm>
            <a:off x="7626510" y="2903973"/>
            <a:ext cx="354807" cy="382467"/>
            <a:chOff x="3957" y="2298"/>
            <a:chExt cx="372" cy="401"/>
          </a:xfrm>
          <a:solidFill>
            <a:schemeClr val="tx1"/>
          </a:solidFill>
        </p:grpSpPr>
        <p:sp>
          <p:nvSpPr>
            <p:cNvPr id="265" name="Freeform 5">
              <a:extLst>
                <a:ext uri="{FF2B5EF4-FFF2-40B4-BE49-F238E27FC236}">
                  <a16:creationId xmlns:a16="http://schemas.microsoft.com/office/drawing/2014/main" id="{7C37061C-DAE3-453F-816A-9F23B24CBE73}"/>
                </a:ext>
              </a:extLst>
            </p:cNvPr>
            <p:cNvSpPr>
              <a:spLocks noEditPoints="1"/>
            </p:cNvSpPr>
            <p:nvPr/>
          </p:nvSpPr>
          <p:spPr bwMode="auto">
            <a:xfrm>
              <a:off x="3957" y="2298"/>
              <a:ext cx="372" cy="401"/>
            </a:xfrm>
            <a:custGeom>
              <a:avLst/>
              <a:gdLst>
                <a:gd name="T0" fmla="*/ 200 w 736"/>
                <a:gd name="T1" fmla="*/ 717 h 792"/>
                <a:gd name="T2" fmla="*/ 142 w 736"/>
                <a:gd name="T3" fmla="*/ 623 h 792"/>
                <a:gd name="T4" fmla="*/ 18 w 736"/>
                <a:gd name="T5" fmla="*/ 349 h 792"/>
                <a:gd name="T6" fmla="*/ 82 w 736"/>
                <a:gd name="T7" fmla="*/ 128 h 792"/>
                <a:gd name="T8" fmla="*/ 230 w 736"/>
                <a:gd name="T9" fmla="*/ 40 h 792"/>
                <a:gd name="T10" fmla="*/ 375 w 736"/>
                <a:gd name="T11" fmla="*/ 24 h 792"/>
                <a:gd name="T12" fmla="*/ 520 w 736"/>
                <a:gd name="T13" fmla="*/ 40 h 792"/>
                <a:gd name="T14" fmla="*/ 668 w 736"/>
                <a:gd name="T15" fmla="*/ 128 h 792"/>
                <a:gd name="T16" fmla="*/ 732 w 736"/>
                <a:gd name="T17" fmla="*/ 349 h 792"/>
                <a:gd name="T18" fmla="*/ 608 w 736"/>
                <a:gd name="T19" fmla="*/ 623 h 792"/>
                <a:gd name="T20" fmla="*/ 550 w 736"/>
                <a:gd name="T21" fmla="*/ 717 h 792"/>
                <a:gd name="T22" fmla="*/ 375 w 736"/>
                <a:gd name="T23" fmla="*/ 744 h 792"/>
                <a:gd name="T24" fmla="*/ 302 w 736"/>
                <a:gd name="T25" fmla="*/ 791 h 792"/>
                <a:gd name="T26" fmla="*/ 171 w 736"/>
                <a:gd name="T27" fmla="*/ 111 h 792"/>
                <a:gd name="T28" fmla="*/ 102 w 736"/>
                <a:gd name="T29" fmla="*/ 147 h 792"/>
                <a:gd name="T30" fmla="*/ 67 w 736"/>
                <a:gd name="T31" fmla="*/ 292 h 792"/>
                <a:gd name="T32" fmla="*/ 107 w 736"/>
                <a:gd name="T33" fmla="*/ 479 h 792"/>
                <a:gd name="T34" fmla="*/ 171 w 736"/>
                <a:gd name="T35" fmla="*/ 620 h 792"/>
                <a:gd name="T36" fmla="*/ 211 w 736"/>
                <a:gd name="T37" fmla="*/ 692 h 792"/>
                <a:gd name="T38" fmla="*/ 303 w 736"/>
                <a:gd name="T39" fmla="*/ 764 h 792"/>
                <a:gd name="T40" fmla="*/ 375 w 736"/>
                <a:gd name="T41" fmla="*/ 704 h 792"/>
                <a:gd name="T42" fmla="*/ 447 w 736"/>
                <a:gd name="T43" fmla="*/ 764 h 792"/>
                <a:gd name="T44" fmla="*/ 529 w 736"/>
                <a:gd name="T45" fmla="*/ 698 h 792"/>
                <a:gd name="T46" fmla="*/ 576 w 736"/>
                <a:gd name="T47" fmla="*/ 670 h 792"/>
                <a:gd name="T48" fmla="*/ 587 w 736"/>
                <a:gd name="T49" fmla="*/ 603 h 792"/>
                <a:gd name="T50" fmla="*/ 648 w 736"/>
                <a:gd name="T51" fmla="*/ 464 h 792"/>
                <a:gd name="T52" fmla="*/ 683 w 736"/>
                <a:gd name="T53" fmla="*/ 292 h 792"/>
                <a:gd name="T54" fmla="*/ 648 w 736"/>
                <a:gd name="T55" fmla="*/ 147 h 792"/>
                <a:gd name="T56" fmla="*/ 579 w 736"/>
                <a:gd name="T57" fmla="*/ 111 h 792"/>
                <a:gd name="T58" fmla="*/ 506 w 736"/>
                <a:gd name="T59" fmla="*/ 64 h 792"/>
                <a:gd name="T60" fmla="*/ 385 w 736"/>
                <a:gd name="T61" fmla="*/ 51 h 792"/>
                <a:gd name="T62" fmla="*/ 375 w 736"/>
                <a:gd name="T63" fmla="*/ 55 h 792"/>
                <a:gd name="T64" fmla="*/ 329 w 736"/>
                <a:gd name="T65" fmla="*/ 32 h 792"/>
                <a:gd name="T66" fmla="*/ 231 w 736"/>
                <a:gd name="T67" fmla="*/ 68 h 792"/>
                <a:gd name="T68" fmla="*/ 375 w 736"/>
                <a:gd name="T69" fmla="*/ 4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792">
                  <a:moveTo>
                    <a:pt x="302" y="791"/>
                  </a:moveTo>
                  <a:cubicBezTo>
                    <a:pt x="252" y="791"/>
                    <a:pt x="212" y="735"/>
                    <a:pt x="200" y="717"/>
                  </a:cubicBezTo>
                  <a:cubicBezTo>
                    <a:pt x="177" y="712"/>
                    <a:pt x="161" y="701"/>
                    <a:pt x="151" y="684"/>
                  </a:cubicBezTo>
                  <a:cubicBezTo>
                    <a:pt x="138" y="663"/>
                    <a:pt x="139" y="638"/>
                    <a:pt x="142" y="623"/>
                  </a:cubicBezTo>
                  <a:cubicBezTo>
                    <a:pt x="79" y="590"/>
                    <a:pt x="72" y="521"/>
                    <a:pt x="79" y="482"/>
                  </a:cubicBezTo>
                  <a:cubicBezTo>
                    <a:pt x="21" y="439"/>
                    <a:pt x="14" y="387"/>
                    <a:pt x="18" y="349"/>
                  </a:cubicBezTo>
                  <a:cubicBezTo>
                    <a:pt x="22" y="317"/>
                    <a:pt x="36" y="290"/>
                    <a:pt x="42" y="281"/>
                  </a:cubicBezTo>
                  <a:cubicBezTo>
                    <a:pt x="38" y="212"/>
                    <a:pt x="51" y="161"/>
                    <a:pt x="82" y="128"/>
                  </a:cubicBezTo>
                  <a:cubicBezTo>
                    <a:pt x="106" y="102"/>
                    <a:pt x="134" y="95"/>
                    <a:pt x="149" y="93"/>
                  </a:cubicBezTo>
                  <a:cubicBezTo>
                    <a:pt x="170" y="47"/>
                    <a:pt x="207" y="38"/>
                    <a:pt x="230" y="40"/>
                  </a:cubicBezTo>
                  <a:cubicBezTo>
                    <a:pt x="272" y="1"/>
                    <a:pt x="311" y="0"/>
                    <a:pt x="337" y="6"/>
                  </a:cubicBezTo>
                  <a:cubicBezTo>
                    <a:pt x="354" y="10"/>
                    <a:pt x="367" y="18"/>
                    <a:pt x="375" y="24"/>
                  </a:cubicBezTo>
                  <a:cubicBezTo>
                    <a:pt x="383" y="18"/>
                    <a:pt x="396" y="10"/>
                    <a:pt x="413" y="6"/>
                  </a:cubicBezTo>
                  <a:cubicBezTo>
                    <a:pt x="439" y="0"/>
                    <a:pt x="478" y="1"/>
                    <a:pt x="520" y="40"/>
                  </a:cubicBezTo>
                  <a:cubicBezTo>
                    <a:pt x="543" y="38"/>
                    <a:pt x="580" y="47"/>
                    <a:pt x="601" y="93"/>
                  </a:cubicBezTo>
                  <a:cubicBezTo>
                    <a:pt x="616" y="95"/>
                    <a:pt x="644" y="102"/>
                    <a:pt x="668" y="128"/>
                  </a:cubicBezTo>
                  <a:cubicBezTo>
                    <a:pt x="699" y="161"/>
                    <a:pt x="712" y="212"/>
                    <a:pt x="708" y="281"/>
                  </a:cubicBezTo>
                  <a:cubicBezTo>
                    <a:pt x="714" y="291"/>
                    <a:pt x="728" y="317"/>
                    <a:pt x="732" y="349"/>
                  </a:cubicBezTo>
                  <a:cubicBezTo>
                    <a:pt x="736" y="387"/>
                    <a:pt x="729" y="439"/>
                    <a:pt x="671" y="482"/>
                  </a:cubicBezTo>
                  <a:cubicBezTo>
                    <a:pt x="678" y="521"/>
                    <a:pt x="671" y="590"/>
                    <a:pt x="608" y="623"/>
                  </a:cubicBezTo>
                  <a:cubicBezTo>
                    <a:pt x="611" y="638"/>
                    <a:pt x="612" y="663"/>
                    <a:pt x="599" y="684"/>
                  </a:cubicBezTo>
                  <a:cubicBezTo>
                    <a:pt x="589" y="701"/>
                    <a:pt x="573" y="712"/>
                    <a:pt x="550" y="717"/>
                  </a:cubicBezTo>
                  <a:cubicBezTo>
                    <a:pt x="538" y="735"/>
                    <a:pt x="497" y="792"/>
                    <a:pt x="447" y="791"/>
                  </a:cubicBezTo>
                  <a:cubicBezTo>
                    <a:pt x="420" y="790"/>
                    <a:pt x="396" y="775"/>
                    <a:pt x="375" y="744"/>
                  </a:cubicBezTo>
                  <a:cubicBezTo>
                    <a:pt x="354" y="775"/>
                    <a:pt x="330" y="790"/>
                    <a:pt x="303" y="791"/>
                  </a:cubicBezTo>
                  <a:cubicBezTo>
                    <a:pt x="303" y="791"/>
                    <a:pt x="302" y="791"/>
                    <a:pt x="302" y="791"/>
                  </a:cubicBezTo>
                  <a:close/>
                  <a:moveTo>
                    <a:pt x="223" y="67"/>
                  </a:moveTo>
                  <a:cubicBezTo>
                    <a:pt x="210" y="67"/>
                    <a:pt x="186" y="72"/>
                    <a:pt x="171" y="111"/>
                  </a:cubicBezTo>
                  <a:cubicBezTo>
                    <a:pt x="168" y="116"/>
                    <a:pt x="163" y="119"/>
                    <a:pt x="158" y="119"/>
                  </a:cubicBezTo>
                  <a:cubicBezTo>
                    <a:pt x="157" y="119"/>
                    <a:pt x="127" y="120"/>
                    <a:pt x="102" y="147"/>
                  </a:cubicBezTo>
                  <a:cubicBezTo>
                    <a:pt x="76" y="175"/>
                    <a:pt x="65" y="221"/>
                    <a:pt x="69" y="283"/>
                  </a:cubicBezTo>
                  <a:cubicBezTo>
                    <a:pt x="70" y="286"/>
                    <a:pt x="69" y="289"/>
                    <a:pt x="67" y="292"/>
                  </a:cubicBezTo>
                  <a:cubicBezTo>
                    <a:pt x="64" y="296"/>
                    <a:pt x="0" y="396"/>
                    <a:pt x="102" y="464"/>
                  </a:cubicBezTo>
                  <a:cubicBezTo>
                    <a:pt x="106" y="467"/>
                    <a:pt x="109" y="473"/>
                    <a:pt x="107" y="479"/>
                  </a:cubicBezTo>
                  <a:cubicBezTo>
                    <a:pt x="106" y="483"/>
                    <a:pt x="86" y="570"/>
                    <a:pt x="163" y="603"/>
                  </a:cubicBezTo>
                  <a:cubicBezTo>
                    <a:pt x="170" y="606"/>
                    <a:pt x="173" y="613"/>
                    <a:pt x="171" y="620"/>
                  </a:cubicBezTo>
                  <a:cubicBezTo>
                    <a:pt x="171" y="620"/>
                    <a:pt x="161" y="650"/>
                    <a:pt x="174" y="670"/>
                  </a:cubicBezTo>
                  <a:cubicBezTo>
                    <a:pt x="181" y="682"/>
                    <a:pt x="193" y="689"/>
                    <a:pt x="211" y="692"/>
                  </a:cubicBezTo>
                  <a:cubicBezTo>
                    <a:pt x="215" y="692"/>
                    <a:pt x="219" y="695"/>
                    <a:pt x="221" y="698"/>
                  </a:cubicBezTo>
                  <a:cubicBezTo>
                    <a:pt x="231" y="717"/>
                    <a:pt x="267" y="764"/>
                    <a:pt x="303" y="764"/>
                  </a:cubicBezTo>
                  <a:cubicBezTo>
                    <a:pt x="324" y="763"/>
                    <a:pt x="344" y="746"/>
                    <a:pt x="363" y="711"/>
                  </a:cubicBezTo>
                  <a:cubicBezTo>
                    <a:pt x="365" y="707"/>
                    <a:pt x="370" y="704"/>
                    <a:pt x="375" y="704"/>
                  </a:cubicBezTo>
                  <a:cubicBezTo>
                    <a:pt x="380" y="704"/>
                    <a:pt x="385" y="707"/>
                    <a:pt x="387" y="711"/>
                  </a:cubicBezTo>
                  <a:cubicBezTo>
                    <a:pt x="406" y="746"/>
                    <a:pt x="426" y="763"/>
                    <a:pt x="447" y="764"/>
                  </a:cubicBezTo>
                  <a:cubicBezTo>
                    <a:pt x="448" y="764"/>
                    <a:pt x="448" y="764"/>
                    <a:pt x="448" y="764"/>
                  </a:cubicBezTo>
                  <a:cubicBezTo>
                    <a:pt x="483" y="764"/>
                    <a:pt x="519" y="717"/>
                    <a:pt x="529" y="698"/>
                  </a:cubicBezTo>
                  <a:cubicBezTo>
                    <a:pt x="531" y="695"/>
                    <a:pt x="535" y="692"/>
                    <a:pt x="539" y="692"/>
                  </a:cubicBezTo>
                  <a:cubicBezTo>
                    <a:pt x="557" y="689"/>
                    <a:pt x="569" y="682"/>
                    <a:pt x="576" y="670"/>
                  </a:cubicBezTo>
                  <a:cubicBezTo>
                    <a:pt x="588" y="650"/>
                    <a:pt x="579" y="620"/>
                    <a:pt x="579" y="620"/>
                  </a:cubicBezTo>
                  <a:cubicBezTo>
                    <a:pt x="577" y="613"/>
                    <a:pt x="580" y="606"/>
                    <a:pt x="587" y="603"/>
                  </a:cubicBezTo>
                  <a:cubicBezTo>
                    <a:pt x="664" y="570"/>
                    <a:pt x="644" y="483"/>
                    <a:pt x="643" y="479"/>
                  </a:cubicBezTo>
                  <a:cubicBezTo>
                    <a:pt x="641" y="473"/>
                    <a:pt x="644" y="467"/>
                    <a:pt x="648" y="464"/>
                  </a:cubicBezTo>
                  <a:cubicBezTo>
                    <a:pt x="691" y="436"/>
                    <a:pt x="710" y="398"/>
                    <a:pt x="705" y="353"/>
                  </a:cubicBezTo>
                  <a:cubicBezTo>
                    <a:pt x="700" y="318"/>
                    <a:pt x="683" y="292"/>
                    <a:pt x="683" y="292"/>
                  </a:cubicBezTo>
                  <a:cubicBezTo>
                    <a:pt x="681" y="289"/>
                    <a:pt x="680" y="286"/>
                    <a:pt x="681" y="283"/>
                  </a:cubicBezTo>
                  <a:cubicBezTo>
                    <a:pt x="685" y="221"/>
                    <a:pt x="674" y="175"/>
                    <a:pt x="648" y="147"/>
                  </a:cubicBezTo>
                  <a:cubicBezTo>
                    <a:pt x="623" y="120"/>
                    <a:pt x="593" y="119"/>
                    <a:pt x="592" y="119"/>
                  </a:cubicBezTo>
                  <a:cubicBezTo>
                    <a:pt x="587" y="119"/>
                    <a:pt x="582" y="116"/>
                    <a:pt x="579" y="111"/>
                  </a:cubicBezTo>
                  <a:cubicBezTo>
                    <a:pt x="559" y="60"/>
                    <a:pt x="523" y="67"/>
                    <a:pt x="519" y="68"/>
                  </a:cubicBezTo>
                  <a:cubicBezTo>
                    <a:pt x="514" y="69"/>
                    <a:pt x="509" y="67"/>
                    <a:pt x="506" y="64"/>
                  </a:cubicBezTo>
                  <a:cubicBezTo>
                    <a:pt x="478" y="36"/>
                    <a:pt x="449" y="25"/>
                    <a:pt x="420" y="33"/>
                  </a:cubicBezTo>
                  <a:cubicBezTo>
                    <a:pt x="399" y="38"/>
                    <a:pt x="385" y="51"/>
                    <a:pt x="385" y="51"/>
                  </a:cubicBezTo>
                  <a:cubicBezTo>
                    <a:pt x="382" y="54"/>
                    <a:pt x="379" y="55"/>
                    <a:pt x="375" y="55"/>
                  </a:cubicBezTo>
                  <a:cubicBezTo>
                    <a:pt x="375" y="55"/>
                    <a:pt x="375" y="55"/>
                    <a:pt x="375" y="55"/>
                  </a:cubicBezTo>
                  <a:cubicBezTo>
                    <a:pt x="371" y="55"/>
                    <a:pt x="368" y="54"/>
                    <a:pt x="365" y="51"/>
                  </a:cubicBezTo>
                  <a:cubicBezTo>
                    <a:pt x="365" y="51"/>
                    <a:pt x="351" y="38"/>
                    <a:pt x="329" y="32"/>
                  </a:cubicBezTo>
                  <a:cubicBezTo>
                    <a:pt x="300" y="26"/>
                    <a:pt x="272" y="36"/>
                    <a:pt x="244" y="64"/>
                  </a:cubicBezTo>
                  <a:cubicBezTo>
                    <a:pt x="241" y="68"/>
                    <a:pt x="236" y="69"/>
                    <a:pt x="231" y="68"/>
                  </a:cubicBezTo>
                  <a:cubicBezTo>
                    <a:pt x="230" y="68"/>
                    <a:pt x="227" y="67"/>
                    <a:pt x="223" y="67"/>
                  </a:cubicBezTo>
                  <a:close/>
                  <a:moveTo>
                    <a:pt x="375" y="42"/>
                  </a:moveTo>
                  <a:cubicBezTo>
                    <a:pt x="375" y="42"/>
                    <a:pt x="375" y="42"/>
                    <a:pt x="375" y="42"/>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6" name="Freeform 6">
              <a:extLst>
                <a:ext uri="{FF2B5EF4-FFF2-40B4-BE49-F238E27FC236}">
                  <a16:creationId xmlns:a16="http://schemas.microsoft.com/office/drawing/2014/main" id="{0A5EA874-DB36-4C05-8145-1E7BB86BB763}"/>
                </a:ext>
              </a:extLst>
            </p:cNvPr>
            <p:cNvSpPr>
              <a:spLocks/>
            </p:cNvSpPr>
            <p:nvPr/>
          </p:nvSpPr>
          <p:spPr bwMode="auto">
            <a:xfrm>
              <a:off x="4210" y="2344"/>
              <a:ext cx="54" cy="59"/>
            </a:xfrm>
            <a:custGeom>
              <a:avLst/>
              <a:gdLst>
                <a:gd name="T0" fmla="*/ 14 w 106"/>
                <a:gd name="T1" fmla="*/ 118 h 118"/>
                <a:gd name="T2" fmla="*/ 14 w 106"/>
                <a:gd name="T3" fmla="*/ 118 h 118"/>
                <a:gd name="T4" fmla="*/ 0 w 106"/>
                <a:gd name="T5" fmla="*/ 105 h 118"/>
                <a:gd name="T6" fmla="*/ 86 w 106"/>
                <a:gd name="T7" fmla="*/ 3 h 118"/>
                <a:gd name="T8" fmla="*/ 104 w 106"/>
                <a:gd name="T9" fmla="*/ 11 h 118"/>
                <a:gd name="T10" fmla="*/ 95 w 106"/>
                <a:gd name="T11" fmla="*/ 28 h 118"/>
                <a:gd name="T12" fmla="*/ 28 w 106"/>
                <a:gd name="T13" fmla="*/ 105 h 118"/>
                <a:gd name="T14" fmla="*/ 14 w 106"/>
                <a:gd name="T15" fmla="*/ 118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18">
                  <a:moveTo>
                    <a:pt x="14" y="118"/>
                  </a:moveTo>
                  <a:cubicBezTo>
                    <a:pt x="14" y="118"/>
                    <a:pt x="14" y="118"/>
                    <a:pt x="14" y="118"/>
                  </a:cubicBezTo>
                  <a:cubicBezTo>
                    <a:pt x="6" y="118"/>
                    <a:pt x="0" y="112"/>
                    <a:pt x="0" y="105"/>
                  </a:cubicBezTo>
                  <a:cubicBezTo>
                    <a:pt x="0" y="102"/>
                    <a:pt x="1" y="31"/>
                    <a:pt x="86" y="3"/>
                  </a:cubicBezTo>
                  <a:cubicBezTo>
                    <a:pt x="93" y="0"/>
                    <a:pt x="101" y="4"/>
                    <a:pt x="104" y="11"/>
                  </a:cubicBezTo>
                  <a:cubicBezTo>
                    <a:pt x="106" y="18"/>
                    <a:pt x="102" y="26"/>
                    <a:pt x="95" y="28"/>
                  </a:cubicBezTo>
                  <a:cubicBezTo>
                    <a:pt x="29" y="50"/>
                    <a:pt x="28" y="103"/>
                    <a:pt x="28" y="105"/>
                  </a:cubicBezTo>
                  <a:cubicBezTo>
                    <a:pt x="28" y="112"/>
                    <a:pt x="22" y="118"/>
                    <a:pt x="14" y="11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7" name="Freeform 7">
              <a:extLst>
                <a:ext uri="{FF2B5EF4-FFF2-40B4-BE49-F238E27FC236}">
                  <a16:creationId xmlns:a16="http://schemas.microsoft.com/office/drawing/2014/main" id="{E048B55E-3CA8-4767-82E2-30D5B0427D59}"/>
                </a:ext>
              </a:extLst>
            </p:cNvPr>
            <p:cNvSpPr>
              <a:spLocks/>
            </p:cNvSpPr>
            <p:nvPr/>
          </p:nvSpPr>
          <p:spPr bwMode="auto">
            <a:xfrm>
              <a:off x="4216" y="2511"/>
              <a:ext cx="80" cy="46"/>
            </a:xfrm>
            <a:custGeom>
              <a:avLst/>
              <a:gdLst>
                <a:gd name="T0" fmla="*/ 88 w 159"/>
                <a:gd name="T1" fmla="*/ 90 h 90"/>
                <a:gd name="T2" fmla="*/ 68 w 159"/>
                <a:gd name="T3" fmla="*/ 87 h 90"/>
                <a:gd name="T4" fmla="*/ 3 w 159"/>
                <a:gd name="T5" fmla="*/ 20 h 90"/>
                <a:gd name="T6" fmla="*/ 11 w 159"/>
                <a:gd name="T7" fmla="*/ 2 h 90"/>
                <a:gd name="T8" fmla="*/ 29 w 159"/>
                <a:gd name="T9" fmla="*/ 10 h 90"/>
                <a:gd name="T10" fmla="*/ 29 w 159"/>
                <a:gd name="T11" fmla="*/ 10 h 90"/>
                <a:gd name="T12" fmla="*/ 75 w 159"/>
                <a:gd name="T13" fmla="*/ 61 h 90"/>
                <a:gd name="T14" fmla="*/ 135 w 159"/>
                <a:gd name="T15" fmla="*/ 43 h 90"/>
                <a:gd name="T16" fmla="*/ 154 w 159"/>
                <a:gd name="T17" fmla="*/ 45 h 90"/>
                <a:gd name="T18" fmla="*/ 152 w 159"/>
                <a:gd name="T19" fmla="*/ 64 h 90"/>
                <a:gd name="T20" fmla="*/ 88 w 159"/>
                <a:gd name="T2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90">
                  <a:moveTo>
                    <a:pt x="88" y="90"/>
                  </a:moveTo>
                  <a:cubicBezTo>
                    <a:pt x="81" y="90"/>
                    <a:pt x="74" y="89"/>
                    <a:pt x="68" y="87"/>
                  </a:cubicBezTo>
                  <a:cubicBezTo>
                    <a:pt x="23" y="74"/>
                    <a:pt x="4" y="22"/>
                    <a:pt x="3" y="20"/>
                  </a:cubicBezTo>
                  <a:cubicBezTo>
                    <a:pt x="0" y="13"/>
                    <a:pt x="4" y="5"/>
                    <a:pt x="11" y="2"/>
                  </a:cubicBezTo>
                  <a:cubicBezTo>
                    <a:pt x="18" y="0"/>
                    <a:pt x="26" y="3"/>
                    <a:pt x="29" y="10"/>
                  </a:cubicBezTo>
                  <a:cubicBezTo>
                    <a:pt x="29" y="10"/>
                    <a:pt x="29" y="10"/>
                    <a:pt x="29" y="10"/>
                  </a:cubicBezTo>
                  <a:cubicBezTo>
                    <a:pt x="29" y="11"/>
                    <a:pt x="44" y="52"/>
                    <a:pt x="75" y="61"/>
                  </a:cubicBezTo>
                  <a:cubicBezTo>
                    <a:pt x="93" y="66"/>
                    <a:pt x="113" y="60"/>
                    <a:pt x="135" y="43"/>
                  </a:cubicBezTo>
                  <a:cubicBezTo>
                    <a:pt x="141" y="38"/>
                    <a:pt x="150" y="39"/>
                    <a:pt x="154" y="45"/>
                  </a:cubicBezTo>
                  <a:cubicBezTo>
                    <a:pt x="159" y="51"/>
                    <a:pt x="158" y="60"/>
                    <a:pt x="152" y="64"/>
                  </a:cubicBezTo>
                  <a:cubicBezTo>
                    <a:pt x="130" y="81"/>
                    <a:pt x="108" y="90"/>
                    <a:pt x="88" y="90"/>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8" name="Freeform 8">
              <a:extLst>
                <a:ext uri="{FF2B5EF4-FFF2-40B4-BE49-F238E27FC236}">
                  <a16:creationId xmlns:a16="http://schemas.microsoft.com/office/drawing/2014/main" id="{B384F23B-B760-47F2-831D-C7318250CB30}"/>
                </a:ext>
              </a:extLst>
            </p:cNvPr>
            <p:cNvSpPr>
              <a:spLocks/>
            </p:cNvSpPr>
            <p:nvPr/>
          </p:nvSpPr>
          <p:spPr bwMode="auto">
            <a:xfrm>
              <a:off x="4165" y="2537"/>
              <a:ext cx="40" cy="66"/>
            </a:xfrm>
            <a:custGeom>
              <a:avLst/>
              <a:gdLst>
                <a:gd name="T0" fmla="*/ 53 w 80"/>
                <a:gd name="T1" fmla="*/ 131 h 131"/>
                <a:gd name="T2" fmla="*/ 50 w 80"/>
                <a:gd name="T3" fmla="*/ 131 h 131"/>
                <a:gd name="T4" fmla="*/ 40 w 80"/>
                <a:gd name="T5" fmla="*/ 114 h 131"/>
                <a:gd name="T6" fmla="*/ 5 w 80"/>
                <a:gd name="T7" fmla="*/ 25 h 131"/>
                <a:gd name="T8" fmla="*/ 5 w 80"/>
                <a:gd name="T9" fmla="*/ 6 h 131"/>
                <a:gd name="T10" fmla="*/ 24 w 80"/>
                <a:gd name="T11" fmla="*/ 6 h 131"/>
                <a:gd name="T12" fmla="*/ 66 w 80"/>
                <a:gd name="T13" fmla="*/ 121 h 131"/>
                <a:gd name="T14" fmla="*/ 53 w 80"/>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1">
                  <a:moveTo>
                    <a:pt x="53" y="131"/>
                  </a:moveTo>
                  <a:cubicBezTo>
                    <a:pt x="52" y="131"/>
                    <a:pt x="51" y="131"/>
                    <a:pt x="50" y="131"/>
                  </a:cubicBezTo>
                  <a:cubicBezTo>
                    <a:pt x="42" y="129"/>
                    <a:pt x="38" y="121"/>
                    <a:pt x="40" y="114"/>
                  </a:cubicBezTo>
                  <a:cubicBezTo>
                    <a:pt x="40" y="112"/>
                    <a:pt x="49" y="69"/>
                    <a:pt x="5" y="25"/>
                  </a:cubicBezTo>
                  <a:cubicBezTo>
                    <a:pt x="0" y="20"/>
                    <a:pt x="0" y="11"/>
                    <a:pt x="5" y="6"/>
                  </a:cubicBezTo>
                  <a:cubicBezTo>
                    <a:pt x="10" y="0"/>
                    <a:pt x="19" y="0"/>
                    <a:pt x="24" y="6"/>
                  </a:cubicBezTo>
                  <a:cubicBezTo>
                    <a:pt x="80" y="61"/>
                    <a:pt x="67" y="118"/>
                    <a:pt x="66" y="121"/>
                  </a:cubicBezTo>
                  <a:cubicBezTo>
                    <a:pt x="65" y="127"/>
                    <a:pt x="59" y="131"/>
                    <a:pt x="53" y="131"/>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85" name="Freeform 9">
              <a:extLst>
                <a:ext uri="{FF2B5EF4-FFF2-40B4-BE49-F238E27FC236}">
                  <a16:creationId xmlns:a16="http://schemas.microsoft.com/office/drawing/2014/main" id="{FF109194-2D12-4F92-AF69-C13E04260C2D}"/>
                </a:ext>
              </a:extLst>
            </p:cNvPr>
            <p:cNvSpPr>
              <a:spLocks/>
            </p:cNvSpPr>
            <p:nvPr/>
          </p:nvSpPr>
          <p:spPr bwMode="auto">
            <a:xfrm>
              <a:off x="4180" y="2408"/>
              <a:ext cx="106" cy="80"/>
            </a:xfrm>
            <a:custGeom>
              <a:avLst/>
              <a:gdLst>
                <a:gd name="T0" fmla="*/ 149 w 209"/>
                <a:gd name="T1" fmla="*/ 158 h 158"/>
                <a:gd name="T2" fmla="*/ 65 w 209"/>
                <a:gd name="T3" fmla="*/ 119 h 158"/>
                <a:gd name="T4" fmla="*/ 29 w 209"/>
                <a:gd name="T5" fmla="*/ 51 h 158"/>
                <a:gd name="T6" fmla="*/ 14 w 209"/>
                <a:gd name="T7" fmla="*/ 27 h 158"/>
                <a:gd name="T8" fmla="*/ 1 w 209"/>
                <a:gd name="T9" fmla="*/ 13 h 158"/>
                <a:gd name="T10" fmla="*/ 16 w 209"/>
                <a:gd name="T11" fmla="*/ 0 h 158"/>
                <a:gd name="T12" fmla="*/ 54 w 209"/>
                <a:gd name="T13" fmla="*/ 41 h 158"/>
                <a:gd name="T14" fmla="*/ 86 w 209"/>
                <a:gd name="T15" fmla="*/ 102 h 158"/>
                <a:gd name="T16" fmla="*/ 189 w 209"/>
                <a:gd name="T17" fmla="*/ 124 h 158"/>
                <a:gd name="T18" fmla="*/ 206 w 209"/>
                <a:gd name="T19" fmla="*/ 133 h 158"/>
                <a:gd name="T20" fmla="*/ 198 w 209"/>
                <a:gd name="T21" fmla="*/ 150 h 158"/>
                <a:gd name="T22" fmla="*/ 149 w 209"/>
                <a:gd name="T2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158">
                  <a:moveTo>
                    <a:pt x="149" y="158"/>
                  </a:moveTo>
                  <a:cubicBezTo>
                    <a:pt x="121" y="158"/>
                    <a:pt x="88" y="150"/>
                    <a:pt x="65" y="119"/>
                  </a:cubicBezTo>
                  <a:cubicBezTo>
                    <a:pt x="44" y="92"/>
                    <a:pt x="35" y="68"/>
                    <a:pt x="29" y="51"/>
                  </a:cubicBezTo>
                  <a:cubicBezTo>
                    <a:pt x="21" y="31"/>
                    <a:pt x="19" y="28"/>
                    <a:pt x="14" y="27"/>
                  </a:cubicBezTo>
                  <a:cubicBezTo>
                    <a:pt x="6" y="27"/>
                    <a:pt x="0" y="20"/>
                    <a:pt x="1" y="13"/>
                  </a:cubicBezTo>
                  <a:cubicBezTo>
                    <a:pt x="2" y="5"/>
                    <a:pt x="8" y="0"/>
                    <a:pt x="16" y="0"/>
                  </a:cubicBezTo>
                  <a:cubicBezTo>
                    <a:pt x="40" y="2"/>
                    <a:pt x="47" y="21"/>
                    <a:pt x="54" y="41"/>
                  </a:cubicBezTo>
                  <a:cubicBezTo>
                    <a:pt x="61" y="58"/>
                    <a:pt x="68" y="78"/>
                    <a:pt x="86" y="102"/>
                  </a:cubicBezTo>
                  <a:cubicBezTo>
                    <a:pt x="121" y="148"/>
                    <a:pt x="186" y="125"/>
                    <a:pt x="189" y="124"/>
                  </a:cubicBezTo>
                  <a:cubicBezTo>
                    <a:pt x="196" y="122"/>
                    <a:pt x="204" y="126"/>
                    <a:pt x="206" y="133"/>
                  </a:cubicBezTo>
                  <a:cubicBezTo>
                    <a:pt x="209" y="140"/>
                    <a:pt x="205" y="148"/>
                    <a:pt x="198" y="150"/>
                  </a:cubicBezTo>
                  <a:cubicBezTo>
                    <a:pt x="196" y="151"/>
                    <a:pt x="175" y="158"/>
                    <a:pt x="149" y="15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87" name="Freeform 10">
              <a:extLst>
                <a:ext uri="{FF2B5EF4-FFF2-40B4-BE49-F238E27FC236}">
                  <a16:creationId xmlns:a16="http://schemas.microsoft.com/office/drawing/2014/main" id="{96BBADC2-6BBB-423A-A4BF-3A68BF62FCD9}"/>
                </a:ext>
              </a:extLst>
            </p:cNvPr>
            <p:cNvSpPr>
              <a:spLocks/>
            </p:cNvSpPr>
            <p:nvPr/>
          </p:nvSpPr>
          <p:spPr bwMode="auto">
            <a:xfrm>
              <a:off x="4140" y="2312"/>
              <a:ext cx="13" cy="356"/>
            </a:xfrm>
            <a:custGeom>
              <a:avLst/>
              <a:gdLst>
                <a:gd name="T0" fmla="*/ 14 w 27"/>
                <a:gd name="T1" fmla="*/ 704 h 704"/>
                <a:gd name="T2" fmla="*/ 0 w 27"/>
                <a:gd name="T3" fmla="*/ 690 h 704"/>
                <a:gd name="T4" fmla="*/ 0 w 27"/>
                <a:gd name="T5" fmla="*/ 14 h 704"/>
                <a:gd name="T6" fmla="*/ 14 w 27"/>
                <a:gd name="T7" fmla="*/ 0 h 704"/>
                <a:gd name="T8" fmla="*/ 27 w 27"/>
                <a:gd name="T9" fmla="*/ 14 h 704"/>
                <a:gd name="T10" fmla="*/ 27 w 27"/>
                <a:gd name="T11" fmla="*/ 690 h 704"/>
                <a:gd name="T12" fmla="*/ 14 w 27"/>
                <a:gd name="T13" fmla="*/ 704 h 704"/>
              </a:gdLst>
              <a:ahLst/>
              <a:cxnLst>
                <a:cxn ang="0">
                  <a:pos x="T0" y="T1"/>
                </a:cxn>
                <a:cxn ang="0">
                  <a:pos x="T2" y="T3"/>
                </a:cxn>
                <a:cxn ang="0">
                  <a:pos x="T4" y="T5"/>
                </a:cxn>
                <a:cxn ang="0">
                  <a:pos x="T6" y="T7"/>
                </a:cxn>
                <a:cxn ang="0">
                  <a:pos x="T8" y="T9"/>
                </a:cxn>
                <a:cxn ang="0">
                  <a:pos x="T10" y="T11"/>
                </a:cxn>
                <a:cxn ang="0">
                  <a:pos x="T12" y="T13"/>
                </a:cxn>
              </a:cxnLst>
              <a:rect l="0" t="0" r="r" b="b"/>
              <a:pathLst>
                <a:path w="27" h="704">
                  <a:moveTo>
                    <a:pt x="14" y="704"/>
                  </a:moveTo>
                  <a:cubicBezTo>
                    <a:pt x="6" y="704"/>
                    <a:pt x="0" y="697"/>
                    <a:pt x="0" y="690"/>
                  </a:cubicBezTo>
                  <a:cubicBezTo>
                    <a:pt x="0" y="14"/>
                    <a:pt x="0" y="14"/>
                    <a:pt x="0" y="14"/>
                  </a:cubicBezTo>
                  <a:cubicBezTo>
                    <a:pt x="0" y="6"/>
                    <a:pt x="6" y="0"/>
                    <a:pt x="14" y="0"/>
                  </a:cubicBezTo>
                  <a:cubicBezTo>
                    <a:pt x="21" y="0"/>
                    <a:pt x="27" y="6"/>
                    <a:pt x="27" y="14"/>
                  </a:cubicBezTo>
                  <a:cubicBezTo>
                    <a:pt x="27" y="690"/>
                    <a:pt x="27" y="690"/>
                    <a:pt x="27" y="690"/>
                  </a:cubicBezTo>
                  <a:cubicBezTo>
                    <a:pt x="27" y="697"/>
                    <a:pt x="21" y="704"/>
                    <a:pt x="14" y="70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399" name="Freeform 11">
              <a:extLst>
                <a:ext uri="{FF2B5EF4-FFF2-40B4-BE49-F238E27FC236}">
                  <a16:creationId xmlns:a16="http://schemas.microsoft.com/office/drawing/2014/main" id="{AC5B9309-AEC0-41A5-8435-76060188BF09}"/>
                </a:ext>
              </a:extLst>
            </p:cNvPr>
            <p:cNvSpPr>
              <a:spLocks/>
            </p:cNvSpPr>
            <p:nvPr/>
          </p:nvSpPr>
          <p:spPr bwMode="auto">
            <a:xfrm>
              <a:off x="4160" y="2365"/>
              <a:ext cx="37" cy="89"/>
            </a:xfrm>
            <a:custGeom>
              <a:avLst/>
              <a:gdLst>
                <a:gd name="T0" fmla="*/ 15 w 74"/>
                <a:gd name="T1" fmla="*/ 176 h 176"/>
                <a:gd name="T2" fmla="*/ 7 w 74"/>
                <a:gd name="T3" fmla="*/ 173 h 176"/>
                <a:gd name="T4" fmla="*/ 4 w 74"/>
                <a:gd name="T5" fmla="*/ 154 h 176"/>
                <a:gd name="T6" fmla="*/ 46 w 74"/>
                <a:gd name="T7" fmla="*/ 14 h 176"/>
                <a:gd name="T8" fmla="*/ 60 w 74"/>
                <a:gd name="T9" fmla="*/ 0 h 176"/>
                <a:gd name="T10" fmla="*/ 74 w 74"/>
                <a:gd name="T11" fmla="*/ 14 h 176"/>
                <a:gd name="T12" fmla="*/ 26 w 74"/>
                <a:gd name="T13" fmla="*/ 171 h 176"/>
                <a:gd name="T14" fmla="*/ 15 w 74"/>
                <a:gd name="T15" fmla="*/ 176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76">
                  <a:moveTo>
                    <a:pt x="15" y="176"/>
                  </a:moveTo>
                  <a:cubicBezTo>
                    <a:pt x="12" y="176"/>
                    <a:pt x="9" y="175"/>
                    <a:pt x="7" y="173"/>
                  </a:cubicBezTo>
                  <a:cubicBezTo>
                    <a:pt x="1" y="169"/>
                    <a:pt x="0" y="160"/>
                    <a:pt x="4" y="154"/>
                  </a:cubicBezTo>
                  <a:cubicBezTo>
                    <a:pt x="47" y="100"/>
                    <a:pt x="46" y="15"/>
                    <a:pt x="46" y="14"/>
                  </a:cubicBezTo>
                  <a:cubicBezTo>
                    <a:pt x="46" y="7"/>
                    <a:pt x="52" y="0"/>
                    <a:pt x="60" y="0"/>
                  </a:cubicBezTo>
                  <a:cubicBezTo>
                    <a:pt x="67" y="0"/>
                    <a:pt x="73" y="6"/>
                    <a:pt x="74" y="14"/>
                  </a:cubicBezTo>
                  <a:cubicBezTo>
                    <a:pt x="74" y="18"/>
                    <a:pt x="74" y="109"/>
                    <a:pt x="26" y="171"/>
                  </a:cubicBezTo>
                  <a:cubicBezTo>
                    <a:pt x="23" y="174"/>
                    <a:pt x="19" y="176"/>
                    <a:pt x="15" y="176"/>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0" name="Freeform 12">
              <a:extLst>
                <a:ext uri="{FF2B5EF4-FFF2-40B4-BE49-F238E27FC236}">
                  <a16:creationId xmlns:a16="http://schemas.microsoft.com/office/drawing/2014/main" id="{FA6646B7-320A-49E6-8329-9AADEEA23D41}"/>
                </a:ext>
              </a:extLst>
            </p:cNvPr>
            <p:cNvSpPr>
              <a:spLocks/>
            </p:cNvSpPr>
            <p:nvPr/>
          </p:nvSpPr>
          <p:spPr bwMode="auto">
            <a:xfrm>
              <a:off x="4164" y="2583"/>
              <a:ext cx="54" cy="53"/>
            </a:xfrm>
            <a:custGeom>
              <a:avLst/>
              <a:gdLst>
                <a:gd name="T0" fmla="*/ 16 w 106"/>
                <a:gd name="T1" fmla="*/ 104 h 104"/>
                <a:gd name="T2" fmla="*/ 11 w 106"/>
                <a:gd name="T3" fmla="*/ 103 h 104"/>
                <a:gd name="T4" fmla="*/ 3 w 106"/>
                <a:gd name="T5" fmla="*/ 86 h 104"/>
                <a:gd name="T6" fmla="*/ 92 w 106"/>
                <a:gd name="T7" fmla="*/ 0 h 104"/>
                <a:gd name="T8" fmla="*/ 106 w 106"/>
                <a:gd name="T9" fmla="*/ 14 h 104"/>
                <a:gd name="T10" fmla="*/ 92 w 106"/>
                <a:gd name="T11" fmla="*/ 27 h 104"/>
                <a:gd name="T12" fmla="*/ 29 w 106"/>
                <a:gd name="T13" fmla="*/ 94 h 104"/>
                <a:gd name="T14" fmla="*/ 16 w 106"/>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4">
                  <a:moveTo>
                    <a:pt x="16" y="104"/>
                  </a:moveTo>
                  <a:cubicBezTo>
                    <a:pt x="14" y="104"/>
                    <a:pt x="13" y="104"/>
                    <a:pt x="11" y="103"/>
                  </a:cubicBezTo>
                  <a:cubicBezTo>
                    <a:pt x="4" y="101"/>
                    <a:pt x="0" y="93"/>
                    <a:pt x="3" y="86"/>
                  </a:cubicBezTo>
                  <a:cubicBezTo>
                    <a:pt x="4" y="82"/>
                    <a:pt x="32" y="0"/>
                    <a:pt x="92" y="0"/>
                  </a:cubicBezTo>
                  <a:cubicBezTo>
                    <a:pt x="100" y="0"/>
                    <a:pt x="106" y="6"/>
                    <a:pt x="106" y="14"/>
                  </a:cubicBezTo>
                  <a:cubicBezTo>
                    <a:pt x="106" y="21"/>
                    <a:pt x="100" y="27"/>
                    <a:pt x="92" y="27"/>
                  </a:cubicBezTo>
                  <a:cubicBezTo>
                    <a:pt x="59" y="27"/>
                    <a:pt x="35" y="76"/>
                    <a:pt x="29" y="94"/>
                  </a:cubicBezTo>
                  <a:cubicBezTo>
                    <a:pt x="27" y="100"/>
                    <a:pt x="21" y="104"/>
                    <a:pt x="16" y="10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1" name="Freeform 13">
              <a:extLst>
                <a:ext uri="{FF2B5EF4-FFF2-40B4-BE49-F238E27FC236}">
                  <a16:creationId xmlns:a16="http://schemas.microsoft.com/office/drawing/2014/main" id="{1108FB5B-F44C-40D7-A3EA-7EF8B14B849B}"/>
                </a:ext>
              </a:extLst>
            </p:cNvPr>
            <p:cNvSpPr>
              <a:spLocks/>
            </p:cNvSpPr>
            <p:nvPr/>
          </p:nvSpPr>
          <p:spPr bwMode="auto">
            <a:xfrm>
              <a:off x="4190" y="2315"/>
              <a:ext cx="32" cy="37"/>
            </a:xfrm>
            <a:custGeom>
              <a:avLst/>
              <a:gdLst>
                <a:gd name="T0" fmla="*/ 16 w 64"/>
                <a:gd name="T1" fmla="*/ 73 h 73"/>
                <a:gd name="T2" fmla="*/ 8 w 64"/>
                <a:gd name="T3" fmla="*/ 71 h 73"/>
                <a:gd name="T4" fmla="*/ 5 w 64"/>
                <a:gd name="T5" fmla="*/ 52 h 73"/>
                <a:gd name="T6" fmla="*/ 38 w 64"/>
                <a:gd name="T7" fmla="*/ 8 h 73"/>
                <a:gd name="T8" fmla="*/ 57 w 64"/>
                <a:gd name="T9" fmla="*/ 5 h 73"/>
                <a:gd name="T10" fmla="*/ 60 w 64"/>
                <a:gd name="T11" fmla="*/ 24 h 73"/>
                <a:gd name="T12" fmla="*/ 27 w 64"/>
                <a:gd name="T13" fmla="*/ 68 h 73"/>
                <a:gd name="T14" fmla="*/ 16 w 64"/>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3">
                  <a:moveTo>
                    <a:pt x="16" y="73"/>
                  </a:moveTo>
                  <a:cubicBezTo>
                    <a:pt x="13" y="73"/>
                    <a:pt x="10" y="73"/>
                    <a:pt x="8" y="71"/>
                  </a:cubicBezTo>
                  <a:cubicBezTo>
                    <a:pt x="2" y="66"/>
                    <a:pt x="0" y="58"/>
                    <a:pt x="5" y="52"/>
                  </a:cubicBezTo>
                  <a:cubicBezTo>
                    <a:pt x="38" y="8"/>
                    <a:pt x="38" y="8"/>
                    <a:pt x="38" y="8"/>
                  </a:cubicBezTo>
                  <a:cubicBezTo>
                    <a:pt x="42" y="2"/>
                    <a:pt x="51" y="0"/>
                    <a:pt x="57" y="5"/>
                  </a:cubicBezTo>
                  <a:cubicBezTo>
                    <a:pt x="63" y="9"/>
                    <a:pt x="64" y="18"/>
                    <a:pt x="60" y="24"/>
                  </a:cubicBezTo>
                  <a:cubicBezTo>
                    <a:pt x="27" y="68"/>
                    <a:pt x="27" y="68"/>
                    <a:pt x="27" y="68"/>
                  </a:cubicBezTo>
                  <a:cubicBezTo>
                    <a:pt x="24" y="72"/>
                    <a:pt x="20" y="73"/>
                    <a:pt x="16" y="73"/>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2" name="Freeform 14">
              <a:extLst>
                <a:ext uri="{FF2B5EF4-FFF2-40B4-BE49-F238E27FC236}">
                  <a16:creationId xmlns:a16="http://schemas.microsoft.com/office/drawing/2014/main" id="{3CF40F9C-FE79-4BFB-BE1D-956C2239FE41}"/>
                </a:ext>
              </a:extLst>
            </p:cNvPr>
            <p:cNvSpPr>
              <a:spLocks noEditPoints="1"/>
            </p:cNvSpPr>
            <p:nvPr/>
          </p:nvSpPr>
          <p:spPr bwMode="auto">
            <a:xfrm>
              <a:off x="4050" y="2362"/>
              <a:ext cx="55" cy="55"/>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27 h 109"/>
                <a:gd name="T12" fmla="*/ 27 w 109"/>
                <a:gd name="T13" fmla="*/ 55 h 109"/>
                <a:gd name="T14" fmla="*/ 54 w 109"/>
                <a:gd name="T15" fmla="*/ 82 h 109"/>
                <a:gd name="T16" fmla="*/ 81 w 109"/>
                <a:gd name="T17" fmla="*/ 55 h 109"/>
                <a:gd name="T18" fmla="*/ 54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27"/>
                  </a:moveTo>
                  <a:cubicBezTo>
                    <a:pt x="39" y="27"/>
                    <a:pt x="27" y="40"/>
                    <a:pt x="27" y="55"/>
                  </a:cubicBezTo>
                  <a:cubicBezTo>
                    <a:pt x="27" y="70"/>
                    <a:pt x="39" y="82"/>
                    <a:pt x="54" y="82"/>
                  </a:cubicBezTo>
                  <a:cubicBezTo>
                    <a:pt x="69" y="82"/>
                    <a:pt x="81" y="70"/>
                    <a:pt x="81" y="55"/>
                  </a:cubicBezTo>
                  <a:cubicBezTo>
                    <a:pt x="81" y="40"/>
                    <a:pt x="69" y="27"/>
                    <a:pt x="54"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3" name="Freeform 15">
              <a:extLst>
                <a:ext uri="{FF2B5EF4-FFF2-40B4-BE49-F238E27FC236}">
                  <a16:creationId xmlns:a16="http://schemas.microsoft.com/office/drawing/2014/main" id="{3024501B-0AD9-4A02-9A8A-05F5E53DF402}"/>
                </a:ext>
              </a:extLst>
            </p:cNvPr>
            <p:cNvSpPr>
              <a:spLocks noEditPoints="1"/>
            </p:cNvSpPr>
            <p:nvPr/>
          </p:nvSpPr>
          <p:spPr bwMode="auto">
            <a:xfrm>
              <a:off x="4002" y="2452"/>
              <a:ext cx="55" cy="55"/>
            </a:xfrm>
            <a:custGeom>
              <a:avLst/>
              <a:gdLst>
                <a:gd name="T0" fmla="*/ 55 w 109"/>
                <a:gd name="T1" fmla="*/ 109 h 109"/>
                <a:gd name="T2" fmla="*/ 0 w 109"/>
                <a:gd name="T3" fmla="*/ 54 h 109"/>
                <a:gd name="T4" fmla="*/ 55 w 109"/>
                <a:gd name="T5" fmla="*/ 0 h 109"/>
                <a:gd name="T6" fmla="*/ 109 w 109"/>
                <a:gd name="T7" fmla="*/ 54 h 109"/>
                <a:gd name="T8" fmla="*/ 55 w 109"/>
                <a:gd name="T9" fmla="*/ 109 h 109"/>
                <a:gd name="T10" fmla="*/ 55 w 109"/>
                <a:gd name="T11" fmla="*/ 27 h 109"/>
                <a:gd name="T12" fmla="*/ 27 w 109"/>
                <a:gd name="T13" fmla="*/ 54 h 109"/>
                <a:gd name="T14" fmla="*/ 55 w 109"/>
                <a:gd name="T15" fmla="*/ 81 h 109"/>
                <a:gd name="T16" fmla="*/ 82 w 109"/>
                <a:gd name="T17" fmla="*/ 54 h 109"/>
                <a:gd name="T18" fmla="*/ 55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4"/>
                    <a:pt x="0" y="54"/>
                  </a:cubicBezTo>
                  <a:cubicBezTo>
                    <a:pt x="0" y="24"/>
                    <a:pt x="25" y="0"/>
                    <a:pt x="55" y="0"/>
                  </a:cubicBezTo>
                  <a:cubicBezTo>
                    <a:pt x="85" y="0"/>
                    <a:pt x="109" y="24"/>
                    <a:pt x="109" y="54"/>
                  </a:cubicBezTo>
                  <a:cubicBezTo>
                    <a:pt x="109" y="84"/>
                    <a:pt x="85" y="109"/>
                    <a:pt x="55" y="109"/>
                  </a:cubicBezTo>
                  <a:close/>
                  <a:moveTo>
                    <a:pt x="55" y="27"/>
                  </a:moveTo>
                  <a:cubicBezTo>
                    <a:pt x="40" y="27"/>
                    <a:pt x="27" y="39"/>
                    <a:pt x="27" y="54"/>
                  </a:cubicBezTo>
                  <a:cubicBezTo>
                    <a:pt x="27" y="69"/>
                    <a:pt x="40" y="81"/>
                    <a:pt x="55" y="81"/>
                  </a:cubicBezTo>
                  <a:cubicBezTo>
                    <a:pt x="70" y="81"/>
                    <a:pt x="82" y="69"/>
                    <a:pt x="82" y="54"/>
                  </a:cubicBezTo>
                  <a:cubicBezTo>
                    <a:pt x="82" y="39"/>
                    <a:pt x="70" y="27"/>
                    <a:pt x="55"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4" name="Freeform 16">
              <a:extLst>
                <a:ext uri="{FF2B5EF4-FFF2-40B4-BE49-F238E27FC236}">
                  <a16:creationId xmlns:a16="http://schemas.microsoft.com/office/drawing/2014/main" id="{AF86413B-D97D-4727-B348-2083A7A3D881}"/>
                </a:ext>
              </a:extLst>
            </p:cNvPr>
            <p:cNvSpPr>
              <a:spLocks noEditPoints="1"/>
            </p:cNvSpPr>
            <p:nvPr/>
          </p:nvSpPr>
          <p:spPr bwMode="auto">
            <a:xfrm>
              <a:off x="4071" y="2513"/>
              <a:ext cx="55" cy="56"/>
            </a:xfrm>
            <a:custGeom>
              <a:avLst/>
              <a:gdLst>
                <a:gd name="T0" fmla="*/ 54 w 109"/>
                <a:gd name="T1" fmla="*/ 110 h 110"/>
                <a:gd name="T2" fmla="*/ 0 w 109"/>
                <a:gd name="T3" fmla="*/ 55 h 110"/>
                <a:gd name="T4" fmla="*/ 54 w 109"/>
                <a:gd name="T5" fmla="*/ 0 h 110"/>
                <a:gd name="T6" fmla="*/ 109 w 109"/>
                <a:gd name="T7" fmla="*/ 55 h 110"/>
                <a:gd name="T8" fmla="*/ 54 w 109"/>
                <a:gd name="T9" fmla="*/ 110 h 110"/>
                <a:gd name="T10" fmla="*/ 54 w 109"/>
                <a:gd name="T11" fmla="*/ 28 h 110"/>
                <a:gd name="T12" fmla="*/ 27 w 109"/>
                <a:gd name="T13" fmla="*/ 55 h 110"/>
                <a:gd name="T14" fmla="*/ 54 w 109"/>
                <a:gd name="T15" fmla="*/ 82 h 110"/>
                <a:gd name="T16" fmla="*/ 81 w 109"/>
                <a:gd name="T17" fmla="*/ 55 h 110"/>
                <a:gd name="T18" fmla="*/ 54 w 109"/>
                <a:gd name="T19"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4" y="110"/>
                  </a:moveTo>
                  <a:cubicBezTo>
                    <a:pt x="24" y="110"/>
                    <a:pt x="0" y="85"/>
                    <a:pt x="0" y="55"/>
                  </a:cubicBezTo>
                  <a:cubicBezTo>
                    <a:pt x="0" y="25"/>
                    <a:pt x="24" y="0"/>
                    <a:pt x="54" y="0"/>
                  </a:cubicBezTo>
                  <a:cubicBezTo>
                    <a:pt x="84" y="0"/>
                    <a:pt x="109" y="25"/>
                    <a:pt x="109" y="55"/>
                  </a:cubicBezTo>
                  <a:cubicBezTo>
                    <a:pt x="109" y="85"/>
                    <a:pt x="84" y="110"/>
                    <a:pt x="54" y="110"/>
                  </a:cubicBezTo>
                  <a:close/>
                  <a:moveTo>
                    <a:pt x="54" y="28"/>
                  </a:moveTo>
                  <a:cubicBezTo>
                    <a:pt x="39" y="28"/>
                    <a:pt x="27" y="40"/>
                    <a:pt x="27" y="55"/>
                  </a:cubicBezTo>
                  <a:cubicBezTo>
                    <a:pt x="27" y="70"/>
                    <a:pt x="39" y="82"/>
                    <a:pt x="54" y="82"/>
                  </a:cubicBezTo>
                  <a:cubicBezTo>
                    <a:pt x="69" y="82"/>
                    <a:pt x="81" y="70"/>
                    <a:pt x="81" y="55"/>
                  </a:cubicBezTo>
                  <a:cubicBezTo>
                    <a:pt x="81" y="40"/>
                    <a:pt x="69" y="28"/>
                    <a:pt x="54" y="2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5" name="Freeform 17">
              <a:extLst>
                <a:ext uri="{FF2B5EF4-FFF2-40B4-BE49-F238E27FC236}">
                  <a16:creationId xmlns:a16="http://schemas.microsoft.com/office/drawing/2014/main" id="{1A039E9C-4B22-48D2-B6FF-3BEA69423459}"/>
                </a:ext>
              </a:extLst>
            </p:cNvPr>
            <p:cNvSpPr>
              <a:spLocks noEditPoints="1"/>
            </p:cNvSpPr>
            <p:nvPr/>
          </p:nvSpPr>
          <p:spPr bwMode="auto">
            <a:xfrm>
              <a:off x="4071" y="2590"/>
              <a:ext cx="55" cy="55"/>
            </a:xfrm>
            <a:custGeom>
              <a:avLst/>
              <a:gdLst>
                <a:gd name="T0" fmla="*/ 54 w 109"/>
                <a:gd name="T1" fmla="*/ 109 h 109"/>
                <a:gd name="T2" fmla="*/ 0 w 109"/>
                <a:gd name="T3" fmla="*/ 54 h 109"/>
                <a:gd name="T4" fmla="*/ 54 w 109"/>
                <a:gd name="T5" fmla="*/ 0 h 109"/>
                <a:gd name="T6" fmla="*/ 109 w 109"/>
                <a:gd name="T7" fmla="*/ 54 h 109"/>
                <a:gd name="T8" fmla="*/ 54 w 109"/>
                <a:gd name="T9" fmla="*/ 109 h 109"/>
                <a:gd name="T10" fmla="*/ 54 w 109"/>
                <a:gd name="T11" fmla="*/ 27 h 109"/>
                <a:gd name="T12" fmla="*/ 27 w 109"/>
                <a:gd name="T13" fmla="*/ 54 h 109"/>
                <a:gd name="T14" fmla="*/ 54 w 109"/>
                <a:gd name="T15" fmla="*/ 82 h 109"/>
                <a:gd name="T16" fmla="*/ 81 w 109"/>
                <a:gd name="T17" fmla="*/ 54 h 109"/>
                <a:gd name="T18" fmla="*/ 54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4"/>
                    <a:pt x="0" y="54"/>
                  </a:cubicBezTo>
                  <a:cubicBezTo>
                    <a:pt x="0" y="24"/>
                    <a:pt x="24" y="0"/>
                    <a:pt x="54" y="0"/>
                  </a:cubicBezTo>
                  <a:cubicBezTo>
                    <a:pt x="84" y="0"/>
                    <a:pt x="109" y="24"/>
                    <a:pt x="109" y="54"/>
                  </a:cubicBezTo>
                  <a:cubicBezTo>
                    <a:pt x="109" y="84"/>
                    <a:pt x="84" y="109"/>
                    <a:pt x="54" y="109"/>
                  </a:cubicBezTo>
                  <a:close/>
                  <a:moveTo>
                    <a:pt x="54" y="27"/>
                  </a:moveTo>
                  <a:cubicBezTo>
                    <a:pt x="39" y="27"/>
                    <a:pt x="27" y="39"/>
                    <a:pt x="27" y="54"/>
                  </a:cubicBezTo>
                  <a:cubicBezTo>
                    <a:pt x="27" y="69"/>
                    <a:pt x="39" y="82"/>
                    <a:pt x="54" y="82"/>
                  </a:cubicBezTo>
                  <a:cubicBezTo>
                    <a:pt x="69" y="82"/>
                    <a:pt x="81" y="69"/>
                    <a:pt x="81" y="54"/>
                  </a:cubicBezTo>
                  <a:cubicBezTo>
                    <a:pt x="81" y="39"/>
                    <a:pt x="69" y="27"/>
                    <a:pt x="54"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6" name="Freeform 18">
              <a:extLst>
                <a:ext uri="{FF2B5EF4-FFF2-40B4-BE49-F238E27FC236}">
                  <a16:creationId xmlns:a16="http://schemas.microsoft.com/office/drawing/2014/main" id="{BFF38409-94F8-41BA-9438-A6260E8B04BC}"/>
                </a:ext>
              </a:extLst>
            </p:cNvPr>
            <p:cNvSpPr>
              <a:spLocks/>
            </p:cNvSpPr>
            <p:nvPr/>
          </p:nvSpPr>
          <p:spPr bwMode="auto">
            <a:xfrm>
              <a:off x="4071" y="2403"/>
              <a:ext cx="14" cy="83"/>
            </a:xfrm>
            <a:custGeom>
              <a:avLst/>
              <a:gdLst>
                <a:gd name="T0" fmla="*/ 13 w 27"/>
                <a:gd name="T1" fmla="*/ 164 h 164"/>
                <a:gd name="T2" fmla="*/ 0 w 27"/>
                <a:gd name="T3" fmla="*/ 150 h 164"/>
                <a:gd name="T4" fmla="*/ 0 w 27"/>
                <a:gd name="T5" fmla="*/ 14 h 164"/>
                <a:gd name="T6" fmla="*/ 13 w 27"/>
                <a:gd name="T7" fmla="*/ 0 h 164"/>
                <a:gd name="T8" fmla="*/ 27 w 27"/>
                <a:gd name="T9" fmla="*/ 14 h 164"/>
                <a:gd name="T10" fmla="*/ 27 w 27"/>
                <a:gd name="T11" fmla="*/ 150 h 164"/>
                <a:gd name="T12" fmla="*/ 13 w 27"/>
                <a:gd name="T13" fmla="*/ 164 h 164"/>
              </a:gdLst>
              <a:ahLst/>
              <a:cxnLst>
                <a:cxn ang="0">
                  <a:pos x="T0" y="T1"/>
                </a:cxn>
                <a:cxn ang="0">
                  <a:pos x="T2" y="T3"/>
                </a:cxn>
                <a:cxn ang="0">
                  <a:pos x="T4" y="T5"/>
                </a:cxn>
                <a:cxn ang="0">
                  <a:pos x="T6" y="T7"/>
                </a:cxn>
                <a:cxn ang="0">
                  <a:pos x="T8" y="T9"/>
                </a:cxn>
                <a:cxn ang="0">
                  <a:pos x="T10" y="T11"/>
                </a:cxn>
                <a:cxn ang="0">
                  <a:pos x="T12" y="T13"/>
                </a:cxn>
              </a:cxnLst>
              <a:rect l="0" t="0" r="r" b="b"/>
              <a:pathLst>
                <a:path w="27" h="164">
                  <a:moveTo>
                    <a:pt x="13" y="164"/>
                  </a:moveTo>
                  <a:cubicBezTo>
                    <a:pt x="6" y="164"/>
                    <a:pt x="0" y="158"/>
                    <a:pt x="0" y="150"/>
                  </a:cubicBezTo>
                  <a:cubicBezTo>
                    <a:pt x="0" y="14"/>
                    <a:pt x="0" y="14"/>
                    <a:pt x="0" y="14"/>
                  </a:cubicBezTo>
                  <a:cubicBezTo>
                    <a:pt x="0" y="6"/>
                    <a:pt x="6" y="0"/>
                    <a:pt x="13" y="0"/>
                  </a:cubicBezTo>
                  <a:cubicBezTo>
                    <a:pt x="21" y="0"/>
                    <a:pt x="27" y="6"/>
                    <a:pt x="27" y="14"/>
                  </a:cubicBezTo>
                  <a:cubicBezTo>
                    <a:pt x="27" y="150"/>
                    <a:pt x="27" y="150"/>
                    <a:pt x="27" y="150"/>
                  </a:cubicBezTo>
                  <a:cubicBezTo>
                    <a:pt x="27" y="158"/>
                    <a:pt x="21" y="164"/>
                    <a:pt x="13" y="16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7" name="Freeform 19">
              <a:extLst>
                <a:ext uri="{FF2B5EF4-FFF2-40B4-BE49-F238E27FC236}">
                  <a16:creationId xmlns:a16="http://schemas.microsoft.com/office/drawing/2014/main" id="{28E6A420-6AB0-4D56-A2F7-D4688C8D9D4E}"/>
                </a:ext>
              </a:extLst>
            </p:cNvPr>
            <p:cNvSpPr>
              <a:spLocks/>
            </p:cNvSpPr>
            <p:nvPr/>
          </p:nvSpPr>
          <p:spPr bwMode="auto">
            <a:xfrm>
              <a:off x="4043" y="2472"/>
              <a:ext cx="62" cy="14"/>
            </a:xfrm>
            <a:custGeom>
              <a:avLst/>
              <a:gdLst>
                <a:gd name="T0" fmla="*/ 109 w 123"/>
                <a:gd name="T1" fmla="*/ 28 h 28"/>
                <a:gd name="T2" fmla="*/ 14 w 123"/>
                <a:gd name="T3" fmla="*/ 28 h 28"/>
                <a:gd name="T4" fmla="*/ 0 w 123"/>
                <a:gd name="T5" fmla="*/ 14 h 28"/>
                <a:gd name="T6" fmla="*/ 14 w 123"/>
                <a:gd name="T7" fmla="*/ 0 h 28"/>
                <a:gd name="T8" fmla="*/ 109 w 123"/>
                <a:gd name="T9" fmla="*/ 0 h 28"/>
                <a:gd name="T10" fmla="*/ 123 w 123"/>
                <a:gd name="T11" fmla="*/ 14 h 28"/>
                <a:gd name="T12" fmla="*/ 109 w 123"/>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23" h="28">
                  <a:moveTo>
                    <a:pt x="109" y="28"/>
                  </a:moveTo>
                  <a:cubicBezTo>
                    <a:pt x="14" y="28"/>
                    <a:pt x="14" y="28"/>
                    <a:pt x="14" y="28"/>
                  </a:cubicBezTo>
                  <a:cubicBezTo>
                    <a:pt x="6" y="28"/>
                    <a:pt x="0" y="22"/>
                    <a:pt x="0" y="14"/>
                  </a:cubicBezTo>
                  <a:cubicBezTo>
                    <a:pt x="0" y="7"/>
                    <a:pt x="6" y="0"/>
                    <a:pt x="14" y="0"/>
                  </a:cubicBezTo>
                  <a:cubicBezTo>
                    <a:pt x="109" y="0"/>
                    <a:pt x="109" y="0"/>
                    <a:pt x="109" y="0"/>
                  </a:cubicBezTo>
                  <a:cubicBezTo>
                    <a:pt x="117" y="0"/>
                    <a:pt x="123" y="7"/>
                    <a:pt x="123" y="14"/>
                  </a:cubicBezTo>
                  <a:cubicBezTo>
                    <a:pt x="123" y="22"/>
                    <a:pt x="117" y="28"/>
                    <a:pt x="109" y="2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8" name="Freeform 20">
              <a:extLst>
                <a:ext uri="{FF2B5EF4-FFF2-40B4-BE49-F238E27FC236}">
                  <a16:creationId xmlns:a16="http://schemas.microsoft.com/office/drawing/2014/main" id="{3F91976B-5377-4227-BC2E-7CB92D291318}"/>
                </a:ext>
              </a:extLst>
            </p:cNvPr>
            <p:cNvSpPr>
              <a:spLocks/>
            </p:cNvSpPr>
            <p:nvPr/>
          </p:nvSpPr>
          <p:spPr bwMode="auto">
            <a:xfrm>
              <a:off x="4091" y="2472"/>
              <a:ext cx="14" cy="56"/>
            </a:xfrm>
            <a:custGeom>
              <a:avLst/>
              <a:gdLst>
                <a:gd name="T0" fmla="*/ 14 w 28"/>
                <a:gd name="T1" fmla="*/ 110 h 110"/>
                <a:gd name="T2" fmla="*/ 0 w 28"/>
                <a:gd name="T3" fmla="*/ 96 h 110"/>
                <a:gd name="T4" fmla="*/ 0 w 28"/>
                <a:gd name="T5" fmla="*/ 14 h 110"/>
                <a:gd name="T6" fmla="*/ 14 w 28"/>
                <a:gd name="T7" fmla="*/ 0 h 110"/>
                <a:gd name="T8" fmla="*/ 28 w 28"/>
                <a:gd name="T9" fmla="*/ 14 h 110"/>
                <a:gd name="T10" fmla="*/ 28 w 28"/>
                <a:gd name="T11" fmla="*/ 96 h 110"/>
                <a:gd name="T12" fmla="*/ 14 w 2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8" h="110">
                  <a:moveTo>
                    <a:pt x="14" y="110"/>
                  </a:moveTo>
                  <a:cubicBezTo>
                    <a:pt x="7" y="110"/>
                    <a:pt x="0" y="104"/>
                    <a:pt x="0" y="96"/>
                  </a:cubicBezTo>
                  <a:cubicBezTo>
                    <a:pt x="0" y="14"/>
                    <a:pt x="0" y="14"/>
                    <a:pt x="0" y="14"/>
                  </a:cubicBezTo>
                  <a:cubicBezTo>
                    <a:pt x="0" y="7"/>
                    <a:pt x="7" y="0"/>
                    <a:pt x="14" y="0"/>
                  </a:cubicBezTo>
                  <a:cubicBezTo>
                    <a:pt x="22" y="0"/>
                    <a:pt x="28" y="7"/>
                    <a:pt x="28" y="14"/>
                  </a:cubicBezTo>
                  <a:cubicBezTo>
                    <a:pt x="28" y="96"/>
                    <a:pt x="28" y="96"/>
                    <a:pt x="28" y="96"/>
                  </a:cubicBezTo>
                  <a:cubicBezTo>
                    <a:pt x="28" y="104"/>
                    <a:pt x="22" y="110"/>
                    <a:pt x="14" y="110"/>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9" name="Freeform 21">
              <a:extLst>
                <a:ext uri="{FF2B5EF4-FFF2-40B4-BE49-F238E27FC236}">
                  <a16:creationId xmlns:a16="http://schemas.microsoft.com/office/drawing/2014/main" id="{658B686F-9D52-4302-B1B1-2F6ACD582303}"/>
                </a:ext>
              </a:extLst>
            </p:cNvPr>
            <p:cNvSpPr>
              <a:spLocks/>
            </p:cNvSpPr>
            <p:nvPr/>
          </p:nvSpPr>
          <p:spPr bwMode="auto">
            <a:xfrm>
              <a:off x="4091" y="2555"/>
              <a:ext cx="14" cy="48"/>
            </a:xfrm>
            <a:custGeom>
              <a:avLst/>
              <a:gdLst>
                <a:gd name="T0" fmla="*/ 14 w 28"/>
                <a:gd name="T1" fmla="*/ 96 h 96"/>
                <a:gd name="T2" fmla="*/ 0 w 28"/>
                <a:gd name="T3" fmla="*/ 82 h 96"/>
                <a:gd name="T4" fmla="*/ 0 w 28"/>
                <a:gd name="T5" fmla="*/ 14 h 96"/>
                <a:gd name="T6" fmla="*/ 14 w 28"/>
                <a:gd name="T7" fmla="*/ 0 h 96"/>
                <a:gd name="T8" fmla="*/ 28 w 28"/>
                <a:gd name="T9" fmla="*/ 14 h 96"/>
                <a:gd name="T10" fmla="*/ 28 w 28"/>
                <a:gd name="T11" fmla="*/ 82 h 96"/>
                <a:gd name="T12" fmla="*/ 14 w 2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8" h="96">
                  <a:moveTo>
                    <a:pt x="14" y="96"/>
                  </a:moveTo>
                  <a:cubicBezTo>
                    <a:pt x="7" y="96"/>
                    <a:pt x="0" y="90"/>
                    <a:pt x="0" y="82"/>
                  </a:cubicBezTo>
                  <a:cubicBezTo>
                    <a:pt x="0" y="14"/>
                    <a:pt x="0" y="14"/>
                    <a:pt x="0" y="14"/>
                  </a:cubicBezTo>
                  <a:cubicBezTo>
                    <a:pt x="0" y="6"/>
                    <a:pt x="7" y="0"/>
                    <a:pt x="14" y="0"/>
                  </a:cubicBezTo>
                  <a:cubicBezTo>
                    <a:pt x="22" y="0"/>
                    <a:pt x="28" y="6"/>
                    <a:pt x="28" y="14"/>
                  </a:cubicBezTo>
                  <a:cubicBezTo>
                    <a:pt x="28" y="82"/>
                    <a:pt x="28" y="82"/>
                    <a:pt x="28" y="82"/>
                  </a:cubicBezTo>
                  <a:cubicBezTo>
                    <a:pt x="28" y="90"/>
                    <a:pt x="22" y="96"/>
                    <a:pt x="14" y="96"/>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pic>
        <p:nvPicPr>
          <p:cNvPr id="247" name="Picture 246">
            <a:extLst>
              <a:ext uri="{FF2B5EF4-FFF2-40B4-BE49-F238E27FC236}">
                <a16:creationId xmlns:a16="http://schemas.microsoft.com/office/drawing/2014/main" id="{1CE188D0-6D85-4B24-91B9-DC7B84227AC3}"/>
              </a:ext>
            </a:extLst>
          </p:cNvPr>
          <p:cNvPicPr>
            <a:picLocks noChangeAspect="1"/>
          </p:cNvPicPr>
          <p:nvPr/>
        </p:nvPicPr>
        <p:blipFill>
          <a:blip r:embed="rId8"/>
          <a:stretch>
            <a:fillRect/>
          </a:stretch>
        </p:blipFill>
        <p:spPr>
          <a:xfrm>
            <a:off x="2603598" y="2052766"/>
            <a:ext cx="353154" cy="318909"/>
          </a:xfrm>
          <a:prstGeom prst="rect">
            <a:avLst/>
          </a:prstGeom>
        </p:spPr>
      </p:pic>
      <p:pic>
        <p:nvPicPr>
          <p:cNvPr id="248" name="Picture 247">
            <a:extLst>
              <a:ext uri="{FF2B5EF4-FFF2-40B4-BE49-F238E27FC236}">
                <a16:creationId xmlns:a16="http://schemas.microsoft.com/office/drawing/2014/main" id="{610C4BC1-C93A-4B21-923A-D2F3CF163E8C}"/>
              </a:ext>
            </a:extLst>
          </p:cNvPr>
          <p:cNvPicPr>
            <a:picLocks noChangeAspect="1"/>
          </p:cNvPicPr>
          <p:nvPr/>
        </p:nvPicPr>
        <p:blipFill>
          <a:blip r:embed="rId8"/>
          <a:stretch>
            <a:fillRect/>
          </a:stretch>
        </p:blipFill>
        <p:spPr>
          <a:xfrm>
            <a:off x="7656879" y="1271668"/>
            <a:ext cx="329918" cy="297926"/>
          </a:xfrm>
          <a:prstGeom prst="rect">
            <a:avLst/>
          </a:prstGeom>
        </p:spPr>
      </p:pic>
    </p:spTree>
    <p:extLst>
      <p:ext uri="{BB962C8B-B14F-4D97-AF65-F5344CB8AC3E}">
        <p14:creationId xmlns:p14="http://schemas.microsoft.com/office/powerpoint/2010/main" val="150946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5ADC3D-E70C-FC4C-9EA7-21B009312FA8}"/>
              </a:ext>
            </a:extLst>
          </p:cNvPr>
          <p:cNvSpPr/>
          <p:nvPr/>
        </p:nvSpPr>
        <p:spPr bwMode="auto">
          <a:xfrm>
            <a:off x="426424" y="6355913"/>
            <a:ext cx="1306064" cy="254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21268773-C476-4395-97AA-DA46719491D9}"/>
              </a:ext>
            </a:extLst>
          </p:cNvPr>
          <p:cNvCxnSpPr/>
          <p:nvPr/>
        </p:nvCxnSpPr>
        <p:spPr>
          <a:xfrm>
            <a:off x="457200" y="5917016"/>
            <a:ext cx="11277600" cy="0"/>
          </a:xfrm>
          <a:prstGeom prst="line">
            <a:avLst/>
          </a:prstGeom>
          <a:ln w="19050">
            <a:solidFill>
              <a:schemeClr val="bg1">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1535FE6-6C1C-40E6-8131-4955D04176CB}"/>
              </a:ext>
            </a:extLst>
          </p:cNvPr>
          <p:cNvSpPr>
            <a:spLocks noGrp="1"/>
          </p:cNvSpPr>
          <p:nvPr>
            <p:ph type="title"/>
          </p:nvPr>
        </p:nvSpPr>
        <p:spPr/>
        <p:txBody>
          <a:bodyPr/>
          <a:lstStyle/>
          <a:p>
            <a:r>
              <a:rPr lang="en-US" spc="-150" dirty="0">
                <a:solidFill>
                  <a:schemeClr val="tx2"/>
                </a:solidFill>
              </a:rPr>
              <a:t>Leverage deep learning services and frameworks</a:t>
            </a:r>
          </a:p>
        </p:txBody>
      </p:sp>
      <p:sp>
        <p:nvSpPr>
          <p:cNvPr id="65" name="Rectangle 64">
            <a:extLst>
              <a:ext uri="{FF2B5EF4-FFF2-40B4-BE49-F238E27FC236}">
                <a16:creationId xmlns:a16="http://schemas.microsoft.com/office/drawing/2014/main" id="{6EA7AF16-5A90-4787-8795-19997492D56F}"/>
              </a:ext>
            </a:extLst>
          </p:cNvPr>
          <p:cNvSpPr/>
          <p:nvPr/>
        </p:nvSpPr>
        <p:spPr>
          <a:xfrm>
            <a:off x="2372591" y="5572764"/>
            <a:ext cx="744681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charset="0"/>
              </a:rPr>
              <a:t>Leverage your favorite deep learning frameworks</a:t>
            </a:r>
            <a:endParaRPr kumimoji="0" lang="en-US" sz="1400" b="0" i="0" u="none" strike="noStrike" kern="1200" cap="none" normalizeH="0" baseline="0" noProof="0" dirty="0">
              <a:ln>
                <a:noFill/>
              </a:ln>
              <a:solidFill>
                <a:srgbClr val="0078D7"/>
              </a:solidFill>
              <a:effectLst/>
              <a:uLnTx/>
              <a:uFillTx/>
              <a:latin typeface="Segoe UI"/>
              <a:ea typeface="+mn-ea"/>
              <a:cs typeface="+mn-cs"/>
            </a:endParaRPr>
          </a:p>
        </p:txBody>
      </p:sp>
      <p:pic>
        <p:nvPicPr>
          <p:cNvPr id="67" name="Picture 24" descr="https://azurecomcdn.azureedge.net/cvt-ea18c17ed0259aaee7bc2daf9bd3663731082f03ae90348a816225b79bbec96b/images/page/overview/ai-platform/tensorflow.png">
            <a:extLst>
              <a:ext uri="{FF2B5EF4-FFF2-40B4-BE49-F238E27FC236}">
                <a16:creationId xmlns:a16="http://schemas.microsoft.com/office/drawing/2014/main" id="{B97FF720-D932-463A-AB0A-3D75B245735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95216" y="6042641"/>
            <a:ext cx="292034" cy="31327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8" descr="https://azurecomcdn.azureedge.net/cvt-ac80aa5765a8bbc401f8575a9a4ab433859699f4b8e1d0d7159ec4bfaa892f91/images/page/overview/ai-platform/pytorch.png">
            <a:extLst>
              <a:ext uri="{FF2B5EF4-FFF2-40B4-BE49-F238E27FC236}">
                <a16:creationId xmlns:a16="http://schemas.microsoft.com/office/drawing/2014/main" id="{4BC91836-623D-4DF4-9A9A-003D25F44B4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5893" y="6042641"/>
            <a:ext cx="313274" cy="31327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32" descr="https://azurecomcdn.azureedge.net/cvt-4e4d967f3f3a0521601972df613df5372876de229188ae925ab3ec917300e000/images/page/overview/ai-platform/onnx.png">
            <a:extLst>
              <a:ext uri="{FF2B5EF4-FFF2-40B4-BE49-F238E27FC236}">
                <a16:creationId xmlns:a16="http://schemas.microsoft.com/office/drawing/2014/main" id="{63BDE9DF-436D-4E96-A243-8413617C614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57965" y="6056278"/>
            <a:ext cx="291720" cy="285999"/>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34" descr="https://azurecomcdn.azureedge.net/cvt-b7a2c9e3241ed4e88bd7ad49f375480fcfa9fa7ad3e626cdd8a53a38b75e712b/images/page/overview/ai-platform/caffe2.png">
            <a:extLst>
              <a:ext uri="{FF2B5EF4-FFF2-40B4-BE49-F238E27FC236}">
                <a16:creationId xmlns:a16="http://schemas.microsoft.com/office/drawing/2014/main" id="{F4965936-D68C-4FD5-AA6D-223618E9884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092960" y="6056172"/>
            <a:ext cx="253027" cy="28621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6" descr="https://azurecomcdn.azureedge.net/cvt-eaf8dba07dc350cdc9076d4d70514ea0d1e71f97118fdce42c101df86168dbf6/images/page/overview/ai-platform/mxnet.png">
            <a:extLst>
              <a:ext uri="{FF2B5EF4-FFF2-40B4-BE49-F238E27FC236}">
                <a16:creationId xmlns:a16="http://schemas.microsoft.com/office/drawing/2014/main" id="{9105B8AA-2548-46E6-BFFA-86D77A04AF2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469385" y="6033540"/>
            <a:ext cx="331473" cy="33147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https://azurecomcdn.azureedge.net/cvt-23d6c6b935833dff5fb47959a992ff92243f8d63ffef65def6235df1cf07f774/images/page/overview/ai-platform/chainer.png">
            <a:extLst>
              <a:ext uri="{FF2B5EF4-FFF2-40B4-BE49-F238E27FC236}">
                <a16:creationId xmlns:a16="http://schemas.microsoft.com/office/drawing/2014/main" id="{7E0FF851-963C-4CF1-AA9A-23067E98381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0889036" y="6085105"/>
            <a:ext cx="323460" cy="22834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491C473A-DE01-4046-9634-F9983B072756}"/>
              </a:ext>
            </a:extLst>
          </p:cNvPr>
          <p:cNvGrpSpPr/>
          <p:nvPr/>
        </p:nvGrpSpPr>
        <p:grpSpPr>
          <a:xfrm>
            <a:off x="1041599" y="3356659"/>
            <a:ext cx="496032" cy="434394"/>
            <a:chOff x="2031698" y="3395906"/>
            <a:chExt cx="318667" cy="279069"/>
          </a:xfrm>
        </p:grpSpPr>
        <p:sp>
          <p:nvSpPr>
            <p:cNvPr id="75" name="gear_3">
              <a:extLst>
                <a:ext uri="{FF2B5EF4-FFF2-40B4-BE49-F238E27FC236}">
                  <a16:creationId xmlns:a16="http://schemas.microsoft.com/office/drawing/2014/main" id="{016D9A8D-4B78-49F8-A2A1-A2BD2F3BCD7E}"/>
                </a:ext>
              </a:extLst>
            </p:cNvPr>
            <p:cNvSpPr>
              <a:spLocks noChangeAspect="1" noEditPoints="1"/>
            </p:cNvSpPr>
            <p:nvPr/>
          </p:nvSpPr>
          <p:spPr bwMode="auto">
            <a:xfrm rot="17699308">
              <a:off x="2181234" y="3505843"/>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6" name="gear_3">
              <a:extLst>
                <a:ext uri="{FF2B5EF4-FFF2-40B4-BE49-F238E27FC236}">
                  <a16:creationId xmlns:a16="http://schemas.microsoft.com/office/drawing/2014/main" id="{C55C3FCC-4F90-4BB8-BD87-36CD183DD7C2}"/>
                </a:ext>
              </a:extLst>
            </p:cNvPr>
            <p:cNvSpPr>
              <a:spLocks noChangeAspect="1" noEditPoints="1"/>
            </p:cNvSpPr>
            <p:nvPr/>
          </p:nvSpPr>
          <p:spPr bwMode="auto">
            <a:xfrm rot="19499308">
              <a:off x="2031698" y="3395906"/>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78" name="key">
            <a:extLst>
              <a:ext uri="{FF2B5EF4-FFF2-40B4-BE49-F238E27FC236}">
                <a16:creationId xmlns:a16="http://schemas.microsoft.com/office/drawing/2014/main" id="{0B0FFCD7-3F1E-45EF-8297-180D237708E7}"/>
              </a:ext>
            </a:extLst>
          </p:cNvPr>
          <p:cNvSpPr>
            <a:spLocks noChangeAspect="1" noEditPoints="1"/>
          </p:cNvSpPr>
          <p:nvPr/>
        </p:nvSpPr>
        <p:spPr bwMode="auto">
          <a:xfrm>
            <a:off x="1041599" y="4480023"/>
            <a:ext cx="384650" cy="38267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rnd">
            <a:solidFill>
              <a:srgbClr val="0079D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 name="Rectangle 7">
            <a:extLst>
              <a:ext uri="{FF2B5EF4-FFF2-40B4-BE49-F238E27FC236}">
                <a16:creationId xmlns:a16="http://schemas.microsoft.com/office/drawing/2014/main" id="{2E675B9F-C556-4959-AA42-E487B7143569}"/>
              </a:ext>
            </a:extLst>
          </p:cNvPr>
          <p:cNvSpPr/>
          <p:nvPr/>
        </p:nvSpPr>
        <p:spPr bwMode="auto">
          <a:xfrm>
            <a:off x="461045" y="1211263"/>
            <a:ext cx="5521279" cy="4217264"/>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0" name="Rectangle 69">
            <a:extLst>
              <a:ext uri="{FF2B5EF4-FFF2-40B4-BE49-F238E27FC236}">
                <a16:creationId xmlns:a16="http://schemas.microsoft.com/office/drawing/2014/main" id="{6EA89A53-A6B2-4786-9019-2E046F7451DC}"/>
              </a:ext>
            </a:extLst>
          </p:cNvPr>
          <p:cNvSpPr/>
          <p:nvPr/>
        </p:nvSpPr>
        <p:spPr bwMode="auto">
          <a:xfrm>
            <a:off x="6209676" y="1211263"/>
            <a:ext cx="5521279" cy="4217264"/>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9F89A7BC-5B95-442F-9381-09D98A284D84}"/>
              </a:ext>
            </a:extLst>
          </p:cNvPr>
          <p:cNvSpPr/>
          <p:nvPr/>
        </p:nvSpPr>
        <p:spPr>
          <a:xfrm>
            <a:off x="1041599" y="1861709"/>
            <a:ext cx="36025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a:t>
            </a:r>
            <a:r>
              <a:rPr kumimoji="0" lang="en-US" sz="1600" b="0" i="0" u="none" strike="noStrike" kern="1200" cap="none"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databricks</a:t>
            </a:r>
            <a:endParaRPr kumimoji="0" lang="en-US" sz="16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7" name="Rectangle 6">
            <a:extLst>
              <a:ext uri="{FF2B5EF4-FFF2-40B4-BE49-F238E27FC236}">
                <a16:creationId xmlns:a16="http://schemas.microsoft.com/office/drawing/2014/main" id="{2E040E9B-86AD-4DA7-852C-5EEFB6A291A4}"/>
              </a:ext>
            </a:extLst>
          </p:cNvPr>
          <p:cNvSpPr/>
          <p:nvPr/>
        </p:nvSpPr>
        <p:spPr>
          <a:xfrm>
            <a:off x="1041599" y="2851721"/>
            <a:ext cx="484632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Accelerate processing with the fastest Spark engine</a:t>
            </a:r>
          </a:p>
        </p:txBody>
      </p:sp>
      <p:sp>
        <p:nvSpPr>
          <p:cNvPr id="77" name="Rectangle 76">
            <a:extLst>
              <a:ext uri="{FF2B5EF4-FFF2-40B4-BE49-F238E27FC236}">
                <a16:creationId xmlns:a16="http://schemas.microsoft.com/office/drawing/2014/main" id="{E0547732-D19A-47EE-88BB-BFBBB0CDF185}"/>
              </a:ext>
            </a:extLst>
          </p:cNvPr>
          <p:cNvSpPr/>
          <p:nvPr/>
        </p:nvSpPr>
        <p:spPr>
          <a:xfrm>
            <a:off x="1041599" y="3908547"/>
            <a:ext cx="374904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Integrate natively with </a:t>
            </a:r>
            <a:r>
              <a:rPr lang="en-US" sz="1400">
                <a:latin typeface="Segoe UI" panose="020B0502040204020203" pitchFamily="34" charset="0"/>
                <a:cs typeface="Segoe UI" panose="020B0502040204020203" pitchFamily="34" charset="0"/>
              </a:rPr>
              <a:t>Azure services</a:t>
            </a:r>
            <a:endParaRPr lang="en-US" sz="1400" dirty="0">
              <a:latin typeface="Segoe UI" panose="020B0502040204020203" pitchFamily="34" charset="0"/>
              <a:cs typeface="Segoe UI" panose="020B0502040204020203" pitchFamily="34" charset="0"/>
            </a:endParaRPr>
          </a:p>
        </p:txBody>
      </p:sp>
      <p:sp>
        <p:nvSpPr>
          <p:cNvPr id="79" name="Rectangle 78">
            <a:extLst>
              <a:ext uri="{FF2B5EF4-FFF2-40B4-BE49-F238E27FC236}">
                <a16:creationId xmlns:a16="http://schemas.microsoft.com/office/drawing/2014/main" id="{0C10464A-F0DD-4A6E-ACC0-A35B77108EC4}"/>
              </a:ext>
            </a:extLst>
          </p:cNvPr>
          <p:cNvSpPr/>
          <p:nvPr/>
        </p:nvSpPr>
        <p:spPr>
          <a:xfrm>
            <a:off x="1041599" y="4980190"/>
            <a:ext cx="384048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Access enterprise-grade Azure security </a:t>
            </a:r>
          </a:p>
        </p:txBody>
      </p:sp>
      <p:cxnSp>
        <p:nvCxnSpPr>
          <p:cNvPr id="81" name="Straight Connector 80">
            <a:extLst>
              <a:ext uri="{FF2B5EF4-FFF2-40B4-BE49-F238E27FC236}">
                <a16:creationId xmlns:a16="http://schemas.microsoft.com/office/drawing/2014/main" id="{F606D7DF-627F-4B5C-BCFE-0115E50F3E43}"/>
              </a:ext>
            </a:extLst>
          </p:cNvPr>
          <p:cNvCxnSpPr/>
          <p:nvPr/>
        </p:nvCxnSpPr>
        <p:spPr>
          <a:xfrm>
            <a:off x="1041599" y="2199966"/>
            <a:ext cx="3632420"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C0408DC-D536-4BE3-9D6D-1E9FDC215FD8}"/>
              </a:ext>
            </a:extLst>
          </p:cNvPr>
          <p:cNvSpPr/>
          <p:nvPr/>
        </p:nvSpPr>
        <p:spPr>
          <a:xfrm>
            <a:off x="6775755" y="1861709"/>
            <a:ext cx="366999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rgbClr val="0078D7"/>
                </a:solidFill>
                <a:latin typeface="Segoe UI Semibold" panose="020B0702040204020203" pitchFamily="34" charset="0"/>
                <a:cs typeface="Segoe UI Semibold" panose="020B0702040204020203" pitchFamily="34" charset="0"/>
              </a:rPr>
              <a:t>Azure ML services</a:t>
            </a:r>
          </a:p>
        </p:txBody>
      </p:sp>
      <p:sp>
        <p:nvSpPr>
          <p:cNvPr id="80" name="Rectangle 79">
            <a:extLst>
              <a:ext uri="{FF2B5EF4-FFF2-40B4-BE49-F238E27FC236}">
                <a16:creationId xmlns:a16="http://schemas.microsoft.com/office/drawing/2014/main" id="{B522F590-3B40-479D-A945-4EA331DCD7D1}"/>
              </a:ext>
            </a:extLst>
          </p:cNvPr>
          <p:cNvSpPr/>
          <p:nvPr/>
        </p:nvSpPr>
        <p:spPr>
          <a:xfrm>
            <a:off x="6775755" y="3912145"/>
            <a:ext cx="365760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Increase your rate of experimentation</a:t>
            </a:r>
          </a:p>
        </p:txBody>
      </p:sp>
      <p:sp>
        <p:nvSpPr>
          <p:cNvPr id="82" name="Rectangle 81">
            <a:extLst>
              <a:ext uri="{FF2B5EF4-FFF2-40B4-BE49-F238E27FC236}">
                <a16:creationId xmlns:a16="http://schemas.microsoft.com/office/drawing/2014/main" id="{A8BCDB51-1EF6-4591-94E1-D104AF9E4DEA}"/>
              </a:ext>
            </a:extLst>
          </p:cNvPr>
          <p:cNvSpPr/>
          <p:nvPr/>
        </p:nvSpPr>
        <p:spPr>
          <a:xfrm>
            <a:off x="6775755" y="2857364"/>
            <a:ext cx="3114973"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Bring AI to the edge</a:t>
            </a:r>
          </a:p>
        </p:txBody>
      </p:sp>
      <p:sp>
        <p:nvSpPr>
          <p:cNvPr id="84" name="Rectangle 83">
            <a:extLst>
              <a:ext uri="{FF2B5EF4-FFF2-40B4-BE49-F238E27FC236}">
                <a16:creationId xmlns:a16="http://schemas.microsoft.com/office/drawing/2014/main" id="{ACE47366-0448-4CE8-A155-EF24FD61F3B1}"/>
              </a:ext>
            </a:extLst>
          </p:cNvPr>
          <p:cNvSpPr/>
          <p:nvPr/>
        </p:nvSpPr>
        <p:spPr>
          <a:xfrm>
            <a:off x="6775755" y="4980190"/>
            <a:ext cx="438912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Deploy and manage your models everywhere</a:t>
            </a:r>
          </a:p>
        </p:txBody>
      </p:sp>
      <p:cxnSp>
        <p:nvCxnSpPr>
          <p:cNvPr id="10" name="Straight Connector 9">
            <a:extLst>
              <a:ext uri="{FF2B5EF4-FFF2-40B4-BE49-F238E27FC236}">
                <a16:creationId xmlns:a16="http://schemas.microsoft.com/office/drawing/2014/main" id="{03554F94-67CD-48EA-B789-455EDDFF8B0E}"/>
              </a:ext>
            </a:extLst>
          </p:cNvPr>
          <p:cNvCxnSpPr>
            <a:cxnSpLocks/>
          </p:cNvCxnSpPr>
          <p:nvPr/>
        </p:nvCxnSpPr>
        <p:spPr>
          <a:xfrm>
            <a:off x="6775755" y="2199966"/>
            <a:ext cx="3632420"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43" name="Picture 142">
            <a:extLst>
              <a:ext uri="{FF2B5EF4-FFF2-40B4-BE49-F238E27FC236}">
                <a16:creationId xmlns:a16="http://schemas.microsoft.com/office/drawing/2014/main" id="{CDFE067F-B42A-4688-A72D-65234F25BE4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75755" y="1305390"/>
            <a:ext cx="441392" cy="514954"/>
          </a:xfrm>
          <a:prstGeom prst="rect">
            <a:avLst/>
          </a:prstGeom>
        </p:spPr>
      </p:pic>
      <p:sp>
        <p:nvSpPr>
          <p:cNvPr id="110" name="Data &amp; AI" title="Icon of several circles connected to eachother by lines">
            <a:extLst>
              <a:ext uri="{FF2B5EF4-FFF2-40B4-BE49-F238E27FC236}">
                <a16:creationId xmlns:a16="http://schemas.microsoft.com/office/drawing/2014/main" id="{0871D3D5-B3F6-4786-B325-C39AC5C27F26}"/>
              </a:ext>
            </a:extLst>
          </p:cNvPr>
          <p:cNvSpPr>
            <a:spLocks noChangeAspect="1" noEditPoints="1"/>
          </p:cNvSpPr>
          <p:nvPr/>
        </p:nvSpPr>
        <p:spPr bwMode="auto">
          <a:xfrm>
            <a:off x="6775755" y="2398279"/>
            <a:ext cx="446848" cy="357303"/>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1" name="Beaker_F196" title="Icon of a scientific flask with liquid in it">
            <a:extLst>
              <a:ext uri="{FF2B5EF4-FFF2-40B4-BE49-F238E27FC236}">
                <a16:creationId xmlns:a16="http://schemas.microsoft.com/office/drawing/2014/main" id="{AD30A0C8-16F2-451C-8BF8-ECA9CD9BBC92}"/>
              </a:ext>
            </a:extLst>
          </p:cNvPr>
          <p:cNvSpPr>
            <a:spLocks noChangeAspect="1" noEditPoints="1"/>
          </p:cNvSpPr>
          <p:nvPr/>
        </p:nvSpPr>
        <p:spPr bwMode="auto">
          <a:xfrm>
            <a:off x="6775754" y="3405474"/>
            <a:ext cx="342675" cy="395939"/>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3" name="Relationship_F003" title="Icon of three boxes connected by lines">
            <a:extLst>
              <a:ext uri="{FF2B5EF4-FFF2-40B4-BE49-F238E27FC236}">
                <a16:creationId xmlns:a16="http://schemas.microsoft.com/office/drawing/2014/main" id="{F64255E3-5014-469D-8E5C-4DC98870A295}"/>
              </a:ext>
            </a:extLst>
          </p:cNvPr>
          <p:cNvSpPr>
            <a:spLocks noChangeAspect="1" noEditPoints="1"/>
          </p:cNvSpPr>
          <p:nvPr/>
        </p:nvSpPr>
        <p:spPr bwMode="auto">
          <a:xfrm>
            <a:off x="6775754" y="4456248"/>
            <a:ext cx="441791" cy="413212"/>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11" name="Graphic 3">
            <a:extLst>
              <a:ext uri="{FF2B5EF4-FFF2-40B4-BE49-F238E27FC236}">
                <a16:creationId xmlns:a16="http://schemas.microsoft.com/office/drawing/2014/main" id="{9B049131-EABB-404C-9B69-9C0AC145FF50}"/>
              </a:ext>
            </a:extLst>
          </p:cNvPr>
          <p:cNvGrpSpPr/>
          <p:nvPr/>
        </p:nvGrpSpPr>
        <p:grpSpPr>
          <a:xfrm>
            <a:off x="1041599" y="2372684"/>
            <a:ext cx="694604" cy="361542"/>
            <a:chOff x="1887952" y="2321473"/>
            <a:chExt cx="574966" cy="299270"/>
          </a:xfrm>
          <a:solidFill>
            <a:schemeClr val="tx2"/>
          </a:solidFill>
        </p:grpSpPr>
        <p:sp>
          <p:nvSpPr>
            <p:cNvPr id="12" name="Freeform: Shape 11">
              <a:extLst>
                <a:ext uri="{FF2B5EF4-FFF2-40B4-BE49-F238E27FC236}">
                  <a16:creationId xmlns:a16="http://schemas.microsoft.com/office/drawing/2014/main" id="{9C1F87FB-3A4F-47EB-9099-FBB860A80524}"/>
                </a:ext>
              </a:extLst>
            </p:cNvPr>
            <p:cNvSpPr/>
            <p:nvPr/>
          </p:nvSpPr>
          <p:spPr>
            <a:xfrm>
              <a:off x="2249905" y="2321233"/>
              <a:ext cx="213025" cy="179390"/>
            </a:xfrm>
            <a:custGeom>
              <a:avLst/>
              <a:gdLst>
                <a:gd name="connsiteX0" fmla="*/ 171011 w 213024"/>
                <a:gd name="connsiteY0" fmla="*/ 113077 h 179389"/>
                <a:gd name="connsiteX1" fmla="*/ 178802 w 213024"/>
                <a:gd name="connsiteY1" fmla="*/ 128141 h 179389"/>
                <a:gd name="connsiteX2" fmla="*/ 186881 w 213024"/>
                <a:gd name="connsiteY2" fmla="*/ 143522 h 179389"/>
                <a:gd name="connsiteX3" fmla="*/ 192774 w 213024"/>
                <a:gd name="connsiteY3" fmla="*/ 155366 h 179389"/>
                <a:gd name="connsiteX4" fmla="*/ 188692 w 213024"/>
                <a:gd name="connsiteY4" fmla="*/ 174110 h 179389"/>
                <a:gd name="connsiteX5" fmla="*/ 178170 w 213024"/>
                <a:gd name="connsiteY5" fmla="*/ 179055 h 179389"/>
                <a:gd name="connsiteX6" fmla="*/ 164888 w 213024"/>
                <a:gd name="connsiteY6" fmla="*/ 177243 h 179389"/>
                <a:gd name="connsiteX7" fmla="*/ 154625 w 213024"/>
                <a:gd name="connsiteY7" fmla="*/ 174167 h 179389"/>
                <a:gd name="connsiteX8" fmla="*/ 141487 w 213024"/>
                <a:gd name="connsiteY8" fmla="*/ 170143 h 179389"/>
                <a:gd name="connsiteX9" fmla="*/ 131885 w 213024"/>
                <a:gd name="connsiteY9" fmla="*/ 167296 h 179389"/>
                <a:gd name="connsiteX10" fmla="*/ 129096 w 213024"/>
                <a:gd name="connsiteY10" fmla="*/ 163847 h 179389"/>
                <a:gd name="connsiteX11" fmla="*/ 127170 w 213024"/>
                <a:gd name="connsiteY11" fmla="*/ 152462 h 179389"/>
                <a:gd name="connsiteX12" fmla="*/ 125733 w 213024"/>
                <a:gd name="connsiteY12" fmla="*/ 143263 h 179389"/>
                <a:gd name="connsiteX13" fmla="*/ 128119 w 213024"/>
                <a:gd name="connsiteY13" fmla="*/ 141164 h 179389"/>
                <a:gd name="connsiteX14" fmla="*/ 162674 w 213024"/>
                <a:gd name="connsiteY14" fmla="*/ 150766 h 179389"/>
                <a:gd name="connsiteX15" fmla="*/ 164026 w 213024"/>
                <a:gd name="connsiteY15" fmla="*/ 150967 h 179389"/>
                <a:gd name="connsiteX16" fmla="*/ 157787 w 213024"/>
                <a:gd name="connsiteY16" fmla="*/ 138922 h 179389"/>
                <a:gd name="connsiteX17" fmla="*/ 149422 w 213024"/>
                <a:gd name="connsiteY17" fmla="*/ 123082 h 179389"/>
                <a:gd name="connsiteX18" fmla="*/ 141401 w 213024"/>
                <a:gd name="connsiteY18" fmla="*/ 107989 h 179389"/>
                <a:gd name="connsiteX19" fmla="*/ 141746 w 213024"/>
                <a:gd name="connsiteY19" fmla="*/ 104510 h 179389"/>
                <a:gd name="connsiteX20" fmla="*/ 147668 w 213024"/>
                <a:gd name="connsiteY20" fmla="*/ 97668 h 179389"/>
                <a:gd name="connsiteX21" fmla="*/ 153188 w 213024"/>
                <a:gd name="connsiteY21" fmla="*/ 91056 h 179389"/>
                <a:gd name="connsiteX22" fmla="*/ 158822 w 213024"/>
                <a:gd name="connsiteY22" fmla="*/ 84501 h 179389"/>
                <a:gd name="connsiteX23" fmla="*/ 166383 w 213024"/>
                <a:gd name="connsiteY23" fmla="*/ 75561 h 179389"/>
                <a:gd name="connsiteX24" fmla="*/ 172190 w 213024"/>
                <a:gd name="connsiteY24" fmla="*/ 68805 h 179389"/>
                <a:gd name="connsiteX25" fmla="*/ 176847 w 213024"/>
                <a:gd name="connsiteY25" fmla="*/ 63084 h 179389"/>
                <a:gd name="connsiteX26" fmla="*/ 175180 w 213024"/>
                <a:gd name="connsiteY26" fmla="*/ 63026 h 179389"/>
                <a:gd name="connsiteX27" fmla="*/ 146920 w 213024"/>
                <a:gd name="connsiteY27" fmla="*/ 70443 h 179389"/>
                <a:gd name="connsiteX28" fmla="*/ 125733 w 213024"/>
                <a:gd name="connsiteY28" fmla="*/ 76107 h 179389"/>
                <a:gd name="connsiteX29" fmla="*/ 122772 w 213024"/>
                <a:gd name="connsiteY29" fmla="*/ 74784 h 179389"/>
                <a:gd name="connsiteX30" fmla="*/ 99054 w 213024"/>
                <a:gd name="connsiteY30" fmla="*/ 35428 h 179389"/>
                <a:gd name="connsiteX31" fmla="*/ 97588 w 213024"/>
                <a:gd name="connsiteY31" fmla="*/ 33847 h 179389"/>
                <a:gd name="connsiteX32" fmla="*/ 95432 w 213024"/>
                <a:gd name="connsiteY32" fmla="*/ 45662 h 179389"/>
                <a:gd name="connsiteX33" fmla="*/ 91465 w 213024"/>
                <a:gd name="connsiteY33" fmla="*/ 67626 h 179389"/>
                <a:gd name="connsiteX34" fmla="*/ 88533 w 213024"/>
                <a:gd name="connsiteY34" fmla="*/ 84990 h 179389"/>
                <a:gd name="connsiteX35" fmla="*/ 85715 w 213024"/>
                <a:gd name="connsiteY35" fmla="*/ 87807 h 179389"/>
                <a:gd name="connsiteX36" fmla="*/ 65390 w 213024"/>
                <a:gd name="connsiteY36" fmla="*/ 94189 h 179389"/>
                <a:gd name="connsiteX37" fmla="*/ 37361 w 213024"/>
                <a:gd name="connsiteY37" fmla="*/ 103073 h 179389"/>
                <a:gd name="connsiteX38" fmla="*/ 35463 w 213024"/>
                <a:gd name="connsiteY38" fmla="*/ 104223 h 179389"/>
                <a:gd name="connsiteX39" fmla="*/ 75682 w 213024"/>
                <a:gd name="connsiteY39" fmla="*/ 120207 h 179389"/>
                <a:gd name="connsiteX40" fmla="*/ 65678 w 213024"/>
                <a:gd name="connsiteY40" fmla="*/ 126675 h 179389"/>
                <a:gd name="connsiteX41" fmla="*/ 49205 w 213024"/>
                <a:gd name="connsiteY41" fmla="*/ 137398 h 179389"/>
                <a:gd name="connsiteX42" fmla="*/ 45353 w 213024"/>
                <a:gd name="connsiteY42" fmla="*/ 137139 h 179389"/>
                <a:gd name="connsiteX43" fmla="*/ 24625 w 213024"/>
                <a:gd name="connsiteY43" fmla="*/ 127854 h 179389"/>
                <a:gd name="connsiteX44" fmla="*/ 10970 w 213024"/>
                <a:gd name="connsiteY44" fmla="*/ 121242 h 179389"/>
                <a:gd name="connsiteX45" fmla="*/ 2431 w 213024"/>
                <a:gd name="connsiteY45" fmla="*/ 112215 h 179389"/>
                <a:gd name="connsiteX46" fmla="*/ 3696 w 213024"/>
                <a:gd name="connsiteY46" fmla="*/ 95311 h 179389"/>
                <a:gd name="connsiteX47" fmla="*/ 14333 w 213024"/>
                <a:gd name="connsiteY47" fmla="*/ 88095 h 179389"/>
                <a:gd name="connsiteX48" fmla="*/ 40782 w 213024"/>
                <a:gd name="connsiteY48" fmla="*/ 79413 h 179389"/>
                <a:gd name="connsiteX49" fmla="*/ 65850 w 213024"/>
                <a:gd name="connsiteY49" fmla="*/ 71565 h 179389"/>
                <a:gd name="connsiteX50" fmla="*/ 69300 w 213024"/>
                <a:gd name="connsiteY50" fmla="*/ 67109 h 179389"/>
                <a:gd name="connsiteX51" fmla="*/ 71255 w 213024"/>
                <a:gd name="connsiteY51" fmla="*/ 55868 h 179389"/>
                <a:gd name="connsiteX52" fmla="*/ 73267 w 213024"/>
                <a:gd name="connsiteY52" fmla="*/ 43794 h 179389"/>
                <a:gd name="connsiteX53" fmla="*/ 75136 w 213024"/>
                <a:gd name="connsiteY53" fmla="*/ 33818 h 179389"/>
                <a:gd name="connsiteX54" fmla="*/ 77033 w 213024"/>
                <a:gd name="connsiteY54" fmla="*/ 23009 h 179389"/>
                <a:gd name="connsiteX55" fmla="*/ 83329 w 213024"/>
                <a:gd name="connsiteY55" fmla="*/ 7801 h 179389"/>
                <a:gd name="connsiteX56" fmla="*/ 92356 w 213024"/>
                <a:gd name="connsiteY56" fmla="*/ 844 h 179389"/>
                <a:gd name="connsiteX57" fmla="*/ 106069 w 213024"/>
                <a:gd name="connsiteY57" fmla="*/ 4150 h 179389"/>
                <a:gd name="connsiteX58" fmla="*/ 113371 w 213024"/>
                <a:gd name="connsiteY58" fmla="*/ 13349 h 179389"/>
                <a:gd name="connsiteX59" fmla="*/ 134415 w 213024"/>
                <a:gd name="connsiteY59" fmla="*/ 48250 h 179389"/>
                <a:gd name="connsiteX60" fmla="*/ 139245 w 213024"/>
                <a:gd name="connsiteY60" fmla="*/ 50262 h 179389"/>
                <a:gd name="connsiteX61" fmla="*/ 191911 w 213024"/>
                <a:gd name="connsiteY61" fmla="*/ 36290 h 179389"/>
                <a:gd name="connsiteX62" fmla="*/ 205366 w 213024"/>
                <a:gd name="connsiteY62" fmla="*/ 36262 h 179389"/>
                <a:gd name="connsiteX63" fmla="*/ 212697 w 213024"/>
                <a:gd name="connsiteY63" fmla="*/ 43334 h 179389"/>
                <a:gd name="connsiteX64" fmla="*/ 212955 w 213024"/>
                <a:gd name="connsiteY64" fmla="*/ 43621 h 179389"/>
                <a:gd name="connsiteX65" fmla="*/ 212955 w 213024"/>
                <a:gd name="connsiteY65" fmla="*/ 49083 h 179389"/>
                <a:gd name="connsiteX66" fmla="*/ 212524 w 213024"/>
                <a:gd name="connsiteY66" fmla="*/ 50463 h 179389"/>
                <a:gd name="connsiteX67" fmla="*/ 206084 w 213024"/>
                <a:gd name="connsiteY67" fmla="*/ 61215 h 179389"/>
                <a:gd name="connsiteX68" fmla="*/ 169775 w 213024"/>
                <a:gd name="connsiteY68" fmla="*/ 103849 h 179389"/>
                <a:gd name="connsiteX69" fmla="*/ 169143 w 213024"/>
                <a:gd name="connsiteY69" fmla="*/ 109857 h 179389"/>
                <a:gd name="connsiteX70" fmla="*/ 170063 w 213024"/>
                <a:gd name="connsiteY70" fmla="*/ 111467 h 179389"/>
                <a:gd name="connsiteX71" fmla="*/ 171011 w 213024"/>
                <a:gd name="connsiteY71" fmla="*/ 11307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3024" h="179389">
                  <a:moveTo>
                    <a:pt x="171011" y="113077"/>
                  </a:moveTo>
                  <a:cubicBezTo>
                    <a:pt x="173599" y="118108"/>
                    <a:pt x="176186" y="123139"/>
                    <a:pt x="178802" y="128141"/>
                  </a:cubicBezTo>
                  <a:cubicBezTo>
                    <a:pt x="181476" y="133287"/>
                    <a:pt x="184178" y="138404"/>
                    <a:pt x="186881" y="143522"/>
                  </a:cubicBezTo>
                  <a:cubicBezTo>
                    <a:pt x="188950" y="147431"/>
                    <a:pt x="191308" y="151169"/>
                    <a:pt x="192774" y="155366"/>
                  </a:cubicBezTo>
                  <a:cubicBezTo>
                    <a:pt x="195246" y="162409"/>
                    <a:pt x="193953" y="168763"/>
                    <a:pt x="188692" y="174110"/>
                  </a:cubicBezTo>
                  <a:cubicBezTo>
                    <a:pt x="185846" y="176985"/>
                    <a:pt x="182195" y="178451"/>
                    <a:pt x="178170" y="179055"/>
                  </a:cubicBezTo>
                  <a:cubicBezTo>
                    <a:pt x="173541" y="179745"/>
                    <a:pt x="169200" y="178595"/>
                    <a:pt x="164888" y="177243"/>
                  </a:cubicBezTo>
                  <a:cubicBezTo>
                    <a:pt x="161467" y="176208"/>
                    <a:pt x="158046" y="175202"/>
                    <a:pt x="154625" y="174167"/>
                  </a:cubicBezTo>
                  <a:cubicBezTo>
                    <a:pt x="150226" y="172845"/>
                    <a:pt x="145857" y="171494"/>
                    <a:pt x="141487" y="170143"/>
                  </a:cubicBezTo>
                  <a:cubicBezTo>
                    <a:pt x="138296" y="169165"/>
                    <a:pt x="135134" y="168101"/>
                    <a:pt x="131885" y="167296"/>
                  </a:cubicBezTo>
                  <a:cubicBezTo>
                    <a:pt x="129930" y="166808"/>
                    <a:pt x="129355" y="165600"/>
                    <a:pt x="129096" y="163847"/>
                  </a:cubicBezTo>
                  <a:cubicBezTo>
                    <a:pt x="128550" y="160023"/>
                    <a:pt x="127947" y="156228"/>
                    <a:pt x="127170" y="152462"/>
                  </a:cubicBezTo>
                  <a:cubicBezTo>
                    <a:pt x="126567" y="149415"/>
                    <a:pt x="126135" y="146339"/>
                    <a:pt x="125733" y="143263"/>
                  </a:cubicBezTo>
                  <a:cubicBezTo>
                    <a:pt x="125359" y="140446"/>
                    <a:pt x="125445" y="140417"/>
                    <a:pt x="128119" y="141164"/>
                  </a:cubicBezTo>
                  <a:cubicBezTo>
                    <a:pt x="139647" y="144355"/>
                    <a:pt x="151146" y="147575"/>
                    <a:pt x="162674" y="150766"/>
                  </a:cubicBezTo>
                  <a:cubicBezTo>
                    <a:pt x="163019" y="150852"/>
                    <a:pt x="163422" y="150881"/>
                    <a:pt x="164026" y="150967"/>
                  </a:cubicBezTo>
                  <a:cubicBezTo>
                    <a:pt x="161870" y="146828"/>
                    <a:pt x="159857" y="142860"/>
                    <a:pt x="157787" y="138922"/>
                  </a:cubicBezTo>
                  <a:cubicBezTo>
                    <a:pt x="155027" y="133632"/>
                    <a:pt x="152210" y="128342"/>
                    <a:pt x="149422" y="123082"/>
                  </a:cubicBezTo>
                  <a:cubicBezTo>
                    <a:pt x="146777" y="118051"/>
                    <a:pt x="144161" y="112962"/>
                    <a:pt x="141401" y="107989"/>
                  </a:cubicBezTo>
                  <a:cubicBezTo>
                    <a:pt x="140625" y="106580"/>
                    <a:pt x="140883" y="105545"/>
                    <a:pt x="141746" y="104510"/>
                  </a:cubicBezTo>
                  <a:cubicBezTo>
                    <a:pt x="143672" y="102182"/>
                    <a:pt x="145713" y="99968"/>
                    <a:pt x="147668" y="97668"/>
                  </a:cubicBezTo>
                  <a:cubicBezTo>
                    <a:pt x="149536" y="95483"/>
                    <a:pt x="151319" y="93241"/>
                    <a:pt x="153188" y="91056"/>
                  </a:cubicBezTo>
                  <a:cubicBezTo>
                    <a:pt x="155056" y="88871"/>
                    <a:pt x="156954" y="86686"/>
                    <a:pt x="158822" y="84501"/>
                  </a:cubicBezTo>
                  <a:cubicBezTo>
                    <a:pt x="161352" y="81540"/>
                    <a:pt x="163853" y="78550"/>
                    <a:pt x="166383" y="75561"/>
                  </a:cubicBezTo>
                  <a:cubicBezTo>
                    <a:pt x="168309" y="73289"/>
                    <a:pt x="170293" y="71076"/>
                    <a:pt x="172190" y="68805"/>
                  </a:cubicBezTo>
                  <a:cubicBezTo>
                    <a:pt x="173743" y="66936"/>
                    <a:pt x="175496" y="65211"/>
                    <a:pt x="176847" y="63084"/>
                  </a:cubicBezTo>
                  <a:cubicBezTo>
                    <a:pt x="176215" y="62710"/>
                    <a:pt x="175726" y="62883"/>
                    <a:pt x="175180" y="63026"/>
                  </a:cubicBezTo>
                  <a:cubicBezTo>
                    <a:pt x="165751" y="65499"/>
                    <a:pt x="156350" y="67971"/>
                    <a:pt x="146920" y="70443"/>
                  </a:cubicBezTo>
                  <a:cubicBezTo>
                    <a:pt x="139848" y="72312"/>
                    <a:pt x="132776" y="74181"/>
                    <a:pt x="125733" y="76107"/>
                  </a:cubicBezTo>
                  <a:cubicBezTo>
                    <a:pt x="124267" y="76509"/>
                    <a:pt x="123491" y="75992"/>
                    <a:pt x="122772" y="74784"/>
                  </a:cubicBezTo>
                  <a:cubicBezTo>
                    <a:pt x="114895" y="61646"/>
                    <a:pt x="106932" y="48566"/>
                    <a:pt x="99054" y="35428"/>
                  </a:cubicBezTo>
                  <a:cubicBezTo>
                    <a:pt x="98681" y="34824"/>
                    <a:pt x="98192" y="34508"/>
                    <a:pt x="97588" y="33847"/>
                  </a:cubicBezTo>
                  <a:cubicBezTo>
                    <a:pt x="96841" y="37958"/>
                    <a:pt x="96151" y="41810"/>
                    <a:pt x="95432" y="45662"/>
                  </a:cubicBezTo>
                  <a:cubicBezTo>
                    <a:pt x="94110" y="52993"/>
                    <a:pt x="92759" y="60295"/>
                    <a:pt x="91465" y="67626"/>
                  </a:cubicBezTo>
                  <a:cubicBezTo>
                    <a:pt x="90430" y="73404"/>
                    <a:pt x="89424" y="79212"/>
                    <a:pt x="88533" y="84990"/>
                  </a:cubicBezTo>
                  <a:cubicBezTo>
                    <a:pt x="88274" y="86772"/>
                    <a:pt x="87095" y="87347"/>
                    <a:pt x="85715" y="87807"/>
                  </a:cubicBezTo>
                  <a:cubicBezTo>
                    <a:pt x="78959" y="89963"/>
                    <a:pt x="72146" y="92062"/>
                    <a:pt x="65390" y="94189"/>
                  </a:cubicBezTo>
                  <a:cubicBezTo>
                    <a:pt x="56047" y="97151"/>
                    <a:pt x="46704" y="100140"/>
                    <a:pt x="37361" y="103073"/>
                  </a:cubicBezTo>
                  <a:cubicBezTo>
                    <a:pt x="36642" y="103303"/>
                    <a:pt x="36067" y="103590"/>
                    <a:pt x="35463" y="104223"/>
                  </a:cubicBezTo>
                  <a:cubicBezTo>
                    <a:pt x="48889" y="109570"/>
                    <a:pt x="62142" y="114831"/>
                    <a:pt x="75682" y="120207"/>
                  </a:cubicBezTo>
                  <a:cubicBezTo>
                    <a:pt x="72204" y="122449"/>
                    <a:pt x="68955" y="124576"/>
                    <a:pt x="65678" y="126675"/>
                  </a:cubicBezTo>
                  <a:cubicBezTo>
                    <a:pt x="60187" y="130240"/>
                    <a:pt x="54696" y="133805"/>
                    <a:pt x="49205" y="137398"/>
                  </a:cubicBezTo>
                  <a:cubicBezTo>
                    <a:pt x="47854" y="138261"/>
                    <a:pt x="46618" y="137686"/>
                    <a:pt x="45353" y="137139"/>
                  </a:cubicBezTo>
                  <a:cubicBezTo>
                    <a:pt x="38453" y="134035"/>
                    <a:pt x="31496" y="131016"/>
                    <a:pt x="24625" y="127854"/>
                  </a:cubicBezTo>
                  <a:cubicBezTo>
                    <a:pt x="20025" y="125726"/>
                    <a:pt x="15253" y="124059"/>
                    <a:pt x="10970" y="121242"/>
                  </a:cubicBezTo>
                  <a:cubicBezTo>
                    <a:pt x="7376" y="118884"/>
                    <a:pt x="4415" y="115923"/>
                    <a:pt x="2431" y="112215"/>
                  </a:cubicBezTo>
                  <a:cubicBezTo>
                    <a:pt x="-760" y="106264"/>
                    <a:pt x="-645" y="100888"/>
                    <a:pt x="3696" y="95311"/>
                  </a:cubicBezTo>
                  <a:cubicBezTo>
                    <a:pt x="6427" y="91832"/>
                    <a:pt x="10222" y="89647"/>
                    <a:pt x="14333" y="88095"/>
                  </a:cubicBezTo>
                  <a:cubicBezTo>
                    <a:pt x="23015" y="84818"/>
                    <a:pt x="31956" y="82259"/>
                    <a:pt x="40782" y="79413"/>
                  </a:cubicBezTo>
                  <a:cubicBezTo>
                    <a:pt x="49119" y="76711"/>
                    <a:pt x="57456" y="74066"/>
                    <a:pt x="65850" y="71565"/>
                  </a:cubicBezTo>
                  <a:cubicBezTo>
                    <a:pt x="68265" y="70846"/>
                    <a:pt x="68955" y="69265"/>
                    <a:pt x="69300" y="67109"/>
                  </a:cubicBezTo>
                  <a:cubicBezTo>
                    <a:pt x="69904" y="63343"/>
                    <a:pt x="70622" y="59605"/>
                    <a:pt x="71255" y="55868"/>
                  </a:cubicBezTo>
                  <a:cubicBezTo>
                    <a:pt x="71945" y="51843"/>
                    <a:pt x="72549" y="47818"/>
                    <a:pt x="73267" y="43794"/>
                  </a:cubicBezTo>
                  <a:cubicBezTo>
                    <a:pt x="73842" y="40459"/>
                    <a:pt x="74532" y="37153"/>
                    <a:pt x="75136" y="33818"/>
                  </a:cubicBezTo>
                  <a:cubicBezTo>
                    <a:pt x="75797" y="30224"/>
                    <a:pt x="76343" y="26602"/>
                    <a:pt x="77033" y="23009"/>
                  </a:cubicBezTo>
                  <a:cubicBezTo>
                    <a:pt x="78097" y="17518"/>
                    <a:pt x="79937" y="12372"/>
                    <a:pt x="83329" y="7801"/>
                  </a:cubicBezTo>
                  <a:cubicBezTo>
                    <a:pt x="85715" y="4581"/>
                    <a:pt x="88475" y="1994"/>
                    <a:pt x="92356" y="844"/>
                  </a:cubicBezTo>
                  <a:cubicBezTo>
                    <a:pt x="97531" y="-709"/>
                    <a:pt x="102073" y="700"/>
                    <a:pt x="106069" y="4150"/>
                  </a:cubicBezTo>
                  <a:cubicBezTo>
                    <a:pt x="109088" y="6737"/>
                    <a:pt x="111330" y="9986"/>
                    <a:pt x="113371" y="13349"/>
                  </a:cubicBezTo>
                  <a:cubicBezTo>
                    <a:pt x="120414" y="24992"/>
                    <a:pt x="127400" y="36635"/>
                    <a:pt x="134415" y="48250"/>
                  </a:cubicBezTo>
                  <a:cubicBezTo>
                    <a:pt x="136054" y="50981"/>
                    <a:pt x="136197" y="51067"/>
                    <a:pt x="139245" y="50262"/>
                  </a:cubicBezTo>
                  <a:cubicBezTo>
                    <a:pt x="156810" y="45605"/>
                    <a:pt x="174375" y="40948"/>
                    <a:pt x="191911" y="36290"/>
                  </a:cubicBezTo>
                  <a:cubicBezTo>
                    <a:pt x="196396" y="35112"/>
                    <a:pt x="200881" y="34795"/>
                    <a:pt x="205366" y="36262"/>
                  </a:cubicBezTo>
                  <a:cubicBezTo>
                    <a:pt x="208931" y="37440"/>
                    <a:pt x="211575" y="39596"/>
                    <a:pt x="212697" y="43334"/>
                  </a:cubicBezTo>
                  <a:cubicBezTo>
                    <a:pt x="212725" y="43449"/>
                    <a:pt x="212869" y="43535"/>
                    <a:pt x="212955" y="43621"/>
                  </a:cubicBezTo>
                  <a:cubicBezTo>
                    <a:pt x="212955" y="45432"/>
                    <a:pt x="212955" y="47272"/>
                    <a:pt x="212955" y="49083"/>
                  </a:cubicBezTo>
                  <a:cubicBezTo>
                    <a:pt x="212553" y="49457"/>
                    <a:pt x="212697" y="50032"/>
                    <a:pt x="212524" y="50463"/>
                  </a:cubicBezTo>
                  <a:cubicBezTo>
                    <a:pt x="211230" y="54546"/>
                    <a:pt x="208844" y="57995"/>
                    <a:pt x="206084" y="61215"/>
                  </a:cubicBezTo>
                  <a:cubicBezTo>
                    <a:pt x="193981" y="75417"/>
                    <a:pt x="181878" y="89647"/>
                    <a:pt x="169775" y="103849"/>
                  </a:cubicBezTo>
                  <a:cubicBezTo>
                    <a:pt x="167447" y="106580"/>
                    <a:pt x="167418" y="106609"/>
                    <a:pt x="169143" y="109857"/>
                  </a:cubicBezTo>
                  <a:cubicBezTo>
                    <a:pt x="169430" y="110404"/>
                    <a:pt x="169747" y="110921"/>
                    <a:pt x="170063" y="111467"/>
                  </a:cubicBezTo>
                  <a:cubicBezTo>
                    <a:pt x="170322" y="112100"/>
                    <a:pt x="170609" y="112617"/>
                    <a:pt x="171011" y="1130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5CAD7195-2E89-4236-B44C-D5192DEFB9E4}"/>
                </a:ext>
              </a:extLst>
            </p:cNvPr>
            <p:cNvSpPr/>
            <p:nvPr/>
          </p:nvSpPr>
          <p:spPr>
            <a:xfrm>
              <a:off x="1887736" y="2440095"/>
              <a:ext cx="108669" cy="150929"/>
            </a:xfrm>
            <a:custGeom>
              <a:avLst/>
              <a:gdLst>
                <a:gd name="connsiteX0" fmla="*/ 77434 w 108668"/>
                <a:gd name="connsiteY0" fmla="*/ 136922 h 150928"/>
                <a:gd name="connsiteX1" fmla="*/ 58373 w 108668"/>
                <a:gd name="connsiteY1" fmla="*/ 147961 h 150928"/>
                <a:gd name="connsiteX2" fmla="*/ 27440 w 108668"/>
                <a:gd name="connsiteY2" fmla="*/ 149427 h 150928"/>
                <a:gd name="connsiteX3" fmla="*/ 4269 w 108668"/>
                <a:gd name="connsiteY3" fmla="*/ 129735 h 150928"/>
                <a:gd name="connsiteX4" fmla="*/ 216 w 108668"/>
                <a:gd name="connsiteY4" fmla="*/ 120276 h 150928"/>
                <a:gd name="connsiteX5" fmla="*/ 216 w 108668"/>
                <a:gd name="connsiteY5" fmla="*/ 119989 h 150928"/>
                <a:gd name="connsiteX6" fmla="*/ 1078 w 108668"/>
                <a:gd name="connsiteY6" fmla="*/ 119443 h 150928"/>
                <a:gd name="connsiteX7" fmla="*/ 2228 w 108668"/>
                <a:gd name="connsiteY7" fmla="*/ 118839 h 150928"/>
                <a:gd name="connsiteX8" fmla="*/ 5103 w 108668"/>
                <a:gd name="connsiteY8" fmla="*/ 117315 h 150928"/>
                <a:gd name="connsiteX9" fmla="*/ 5965 w 108668"/>
                <a:gd name="connsiteY9" fmla="*/ 116827 h 150928"/>
                <a:gd name="connsiteX10" fmla="*/ 9128 w 108668"/>
                <a:gd name="connsiteY10" fmla="*/ 115130 h 150928"/>
                <a:gd name="connsiteX11" fmla="*/ 10278 w 108668"/>
                <a:gd name="connsiteY11" fmla="*/ 114527 h 150928"/>
                <a:gd name="connsiteX12" fmla="*/ 17465 w 108668"/>
                <a:gd name="connsiteY12" fmla="*/ 110703 h 150928"/>
                <a:gd name="connsiteX13" fmla="*/ 18327 w 108668"/>
                <a:gd name="connsiteY13" fmla="*/ 110214 h 150928"/>
                <a:gd name="connsiteX14" fmla="*/ 21489 w 108668"/>
                <a:gd name="connsiteY14" fmla="*/ 108518 h 150928"/>
                <a:gd name="connsiteX15" fmla="*/ 23071 w 108668"/>
                <a:gd name="connsiteY15" fmla="*/ 107685 h 150928"/>
                <a:gd name="connsiteX16" fmla="*/ 26175 w 108668"/>
                <a:gd name="connsiteY16" fmla="*/ 106535 h 150928"/>
                <a:gd name="connsiteX17" fmla="*/ 27670 w 108668"/>
                <a:gd name="connsiteY17" fmla="*/ 109524 h 150928"/>
                <a:gd name="connsiteX18" fmla="*/ 28101 w 108668"/>
                <a:gd name="connsiteY18" fmla="*/ 110243 h 150928"/>
                <a:gd name="connsiteX19" fmla="*/ 28389 w 108668"/>
                <a:gd name="connsiteY19" fmla="*/ 110818 h 150928"/>
                <a:gd name="connsiteX20" fmla="*/ 38796 w 108668"/>
                <a:gd name="connsiteY20" fmla="*/ 123439 h 150928"/>
                <a:gd name="connsiteX21" fmla="*/ 58172 w 108668"/>
                <a:gd name="connsiteY21" fmla="*/ 121254 h 150928"/>
                <a:gd name="connsiteX22" fmla="*/ 62599 w 108668"/>
                <a:gd name="connsiteY22" fmla="*/ 117402 h 150928"/>
                <a:gd name="connsiteX23" fmla="*/ 64066 w 108668"/>
                <a:gd name="connsiteY23" fmla="*/ 101820 h 150928"/>
                <a:gd name="connsiteX24" fmla="*/ 56620 w 108668"/>
                <a:gd name="connsiteY24" fmla="*/ 92390 h 150928"/>
                <a:gd name="connsiteX25" fmla="*/ 55815 w 108668"/>
                <a:gd name="connsiteY25" fmla="*/ 91499 h 150928"/>
                <a:gd name="connsiteX26" fmla="*/ 53745 w 108668"/>
                <a:gd name="connsiteY26" fmla="*/ 89228 h 150928"/>
                <a:gd name="connsiteX27" fmla="*/ 52595 w 108668"/>
                <a:gd name="connsiteY27" fmla="*/ 87963 h 150928"/>
                <a:gd name="connsiteX28" fmla="*/ 50583 w 108668"/>
                <a:gd name="connsiteY28" fmla="*/ 85778 h 150928"/>
                <a:gd name="connsiteX29" fmla="*/ 49691 w 108668"/>
                <a:gd name="connsiteY29" fmla="*/ 84801 h 150928"/>
                <a:gd name="connsiteX30" fmla="*/ 47133 w 108668"/>
                <a:gd name="connsiteY30" fmla="*/ 82041 h 150928"/>
                <a:gd name="connsiteX31" fmla="*/ 46242 w 108668"/>
                <a:gd name="connsiteY31" fmla="*/ 81092 h 150928"/>
                <a:gd name="connsiteX32" fmla="*/ 43683 w 108668"/>
                <a:gd name="connsiteY32" fmla="*/ 78304 h 150928"/>
                <a:gd name="connsiteX33" fmla="*/ 42792 w 108668"/>
                <a:gd name="connsiteY33" fmla="*/ 77326 h 150928"/>
                <a:gd name="connsiteX34" fmla="*/ 40521 w 108668"/>
                <a:gd name="connsiteY34" fmla="*/ 74854 h 150928"/>
                <a:gd name="connsiteX35" fmla="*/ 39630 w 108668"/>
                <a:gd name="connsiteY35" fmla="*/ 73877 h 150928"/>
                <a:gd name="connsiteX36" fmla="*/ 37905 w 108668"/>
                <a:gd name="connsiteY36" fmla="*/ 71979 h 150928"/>
                <a:gd name="connsiteX37" fmla="*/ 37100 w 108668"/>
                <a:gd name="connsiteY37" fmla="*/ 71088 h 150928"/>
                <a:gd name="connsiteX38" fmla="*/ 35605 w 108668"/>
                <a:gd name="connsiteY38" fmla="*/ 69392 h 150928"/>
                <a:gd name="connsiteX39" fmla="*/ 34742 w 108668"/>
                <a:gd name="connsiteY39" fmla="*/ 68414 h 150928"/>
                <a:gd name="connsiteX40" fmla="*/ 28389 w 108668"/>
                <a:gd name="connsiteY40" fmla="*/ 59617 h 150928"/>
                <a:gd name="connsiteX41" fmla="*/ 27526 w 108668"/>
                <a:gd name="connsiteY41" fmla="*/ 57892 h 150928"/>
                <a:gd name="connsiteX42" fmla="*/ 24249 w 108668"/>
                <a:gd name="connsiteY42" fmla="*/ 43748 h 150928"/>
                <a:gd name="connsiteX43" fmla="*/ 31551 w 108668"/>
                <a:gd name="connsiteY43" fmla="*/ 21612 h 150928"/>
                <a:gd name="connsiteX44" fmla="*/ 39112 w 108668"/>
                <a:gd name="connsiteY44" fmla="*/ 12873 h 150928"/>
                <a:gd name="connsiteX45" fmla="*/ 61593 w 108668"/>
                <a:gd name="connsiteY45" fmla="*/ 1316 h 150928"/>
                <a:gd name="connsiteX46" fmla="*/ 77117 w 108668"/>
                <a:gd name="connsiteY46" fmla="*/ 453 h 150928"/>
                <a:gd name="connsiteX47" fmla="*/ 95660 w 108668"/>
                <a:gd name="connsiteY47" fmla="*/ 8014 h 150928"/>
                <a:gd name="connsiteX48" fmla="*/ 108194 w 108668"/>
                <a:gd name="connsiteY48" fmla="*/ 22417 h 150928"/>
                <a:gd name="connsiteX49" fmla="*/ 107648 w 108668"/>
                <a:gd name="connsiteY49" fmla="*/ 23883 h 150928"/>
                <a:gd name="connsiteX50" fmla="*/ 91434 w 108668"/>
                <a:gd name="connsiteY50" fmla="*/ 35986 h 150928"/>
                <a:gd name="connsiteX51" fmla="*/ 85598 w 108668"/>
                <a:gd name="connsiteY51" fmla="*/ 40299 h 150928"/>
                <a:gd name="connsiteX52" fmla="*/ 84017 w 108668"/>
                <a:gd name="connsiteY52" fmla="*/ 39896 h 150928"/>
                <a:gd name="connsiteX53" fmla="*/ 76772 w 108668"/>
                <a:gd name="connsiteY53" fmla="*/ 30553 h 150928"/>
                <a:gd name="connsiteX54" fmla="*/ 67889 w 108668"/>
                <a:gd name="connsiteY54" fmla="*/ 26499 h 150928"/>
                <a:gd name="connsiteX55" fmla="*/ 56764 w 108668"/>
                <a:gd name="connsiteY55" fmla="*/ 29087 h 150928"/>
                <a:gd name="connsiteX56" fmla="*/ 51474 w 108668"/>
                <a:gd name="connsiteY56" fmla="*/ 37309 h 150928"/>
                <a:gd name="connsiteX57" fmla="*/ 53429 w 108668"/>
                <a:gd name="connsiteY57" fmla="*/ 43403 h 150928"/>
                <a:gd name="connsiteX58" fmla="*/ 63318 w 108668"/>
                <a:gd name="connsiteY58" fmla="*/ 55046 h 150928"/>
                <a:gd name="connsiteX59" fmla="*/ 80768 w 108668"/>
                <a:gd name="connsiteY59" fmla="*/ 73503 h 150928"/>
                <a:gd name="connsiteX60" fmla="*/ 91894 w 108668"/>
                <a:gd name="connsiteY60" fmla="*/ 90982 h 150928"/>
                <a:gd name="connsiteX61" fmla="*/ 89565 w 108668"/>
                <a:gd name="connsiteY61" fmla="*/ 119874 h 150928"/>
                <a:gd name="connsiteX62" fmla="*/ 89019 w 108668"/>
                <a:gd name="connsiteY62" fmla="*/ 121196 h 150928"/>
                <a:gd name="connsiteX63" fmla="*/ 88732 w 108668"/>
                <a:gd name="connsiteY63" fmla="*/ 121771 h 150928"/>
                <a:gd name="connsiteX64" fmla="*/ 79791 w 108668"/>
                <a:gd name="connsiteY64" fmla="*/ 134593 h 150928"/>
                <a:gd name="connsiteX65" fmla="*/ 77434 w 108668"/>
                <a:gd name="connsiteY65" fmla="*/ 136922 h 15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8668" h="150928">
                  <a:moveTo>
                    <a:pt x="77434" y="136922"/>
                  </a:moveTo>
                  <a:cubicBezTo>
                    <a:pt x="71856" y="141924"/>
                    <a:pt x="65561" y="145719"/>
                    <a:pt x="58373" y="147961"/>
                  </a:cubicBezTo>
                  <a:cubicBezTo>
                    <a:pt x="48197" y="151181"/>
                    <a:pt x="37905" y="152101"/>
                    <a:pt x="27440" y="149427"/>
                  </a:cubicBezTo>
                  <a:cubicBezTo>
                    <a:pt x="16516" y="146639"/>
                    <a:pt x="8955" y="139854"/>
                    <a:pt x="4269" y="129735"/>
                  </a:cubicBezTo>
                  <a:cubicBezTo>
                    <a:pt x="2803" y="126630"/>
                    <a:pt x="1567" y="123439"/>
                    <a:pt x="216" y="120276"/>
                  </a:cubicBezTo>
                  <a:cubicBezTo>
                    <a:pt x="216" y="120190"/>
                    <a:pt x="216" y="120075"/>
                    <a:pt x="216" y="119989"/>
                  </a:cubicBezTo>
                  <a:cubicBezTo>
                    <a:pt x="503" y="119816"/>
                    <a:pt x="791" y="119615"/>
                    <a:pt x="1078" y="119443"/>
                  </a:cubicBezTo>
                  <a:cubicBezTo>
                    <a:pt x="1509" y="119356"/>
                    <a:pt x="1912" y="119184"/>
                    <a:pt x="2228" y="118839"/>
                  </a:cubicBezTo>
                  <a:cubicBezTo>
                    <a:pt x="3263" y="118494"/>
                    <a:pt x="4183" y="117890"/>
                    <a:pt x="5103" y="117315"/>
                  </a:cubicBezTo>
                  <a:cubicBezTo>
                    <a:pt x="5390" y="117143"/>
                    <a:pt x="5678" y="116970"/>
                    <a:pt x="5965" y="116827"/>
                  </a:cubicBezTo>
                  <a:cubicBezTo>
                    <a:pt x="7086" y="116367"/>
                    <a:pt x="8150" y="115820"/>
                    <a:pt x="9128" y="115130"/>
                  </a:cubicBezTo>
                  <a:cubicBezTo>
                    <a:pt x="9559" y="115044"/>
                    <a:pt x="9961" y="114843"/>
                    <a:pt x="10278" y="114527"/>
                  </a:cubicBezTo>
                  <a:cubicBezTo>
                    <a:pt x="12750" y="113405"/>
                    <a:pt x="15107" y="112054"/>
                    <a:pt x="17465" y="110703"/>
                  </a:cubicBezTo>
                  <a:cubicBezTo>
                    <a:pt x="17752" y="110531"/>
                    <a:pt x="18040" y="110358"/>
                    <a:pt x="18327" y="110214"/>
                  </a:cubicBezTo>
                  <a:cubicBezTo>
                    <a:pt x="19448" y="109783"/>
                    <a:pt x="20512" y="109208"/>
                    <a:pt x="21489" y="108518"/>
                  </a:cubicBezTo>
                  <a:cubicBezTo>
                    <a:pt x="22093" y="108375"/>
                    <a:pt x="22611" y="108058"/>
                    <a:pt x="23071" y="107685"/>
                  </a:cubicBezTo>
                  <a:cubicBezTo>
                    <a:pt x="24220" y="107512"/>
                    <a:pt x="25198" y="105960"/>
                    <a:pt x="26175" y="106535"/>
                  </a:cubicBezTo>
                  <a:cubicBezTo>
                    <a:pt x="26980" y="106995"/>
                    <a:pt x="27182" y="108490"/>
                    <a:pt x="27670" y="109524"/>
                  </a:cubicBezTo>
                  <a:cubicBezTo>
                    <a:pt x="27785" y="109783"/>
                    <a:pt x="27958" y="110013"/>
                    <a:pt x="28101" y="110243"/>
                  </a:cubicBezTo>
                  <a:cubicBezTo>
                    <a:pt x="28101" y="110473"/>
                    <a:pt x="28159" y="110674"/>
                    <a:pt x="28389" y="110818"/>
                  </a:cubicBezTo>
                  <a:cubicBezTo>
                    <a:pt x="30516" y="116137"/>
                    <a:pt x="33477" y="120851"/>
                    <a:pt x="38796" y="123439"/>
                  </a:cubicBezTo>
                  <a:cubicBezTo>
                    <a:pt x="45667" y="126773"/>
                    <a:pt x="52078" y="125221"/>
                    <a:pt x="58172" y="121254"/>
                  </a:cubicBezTo>
                  <a:cubicBezTo>
                    <a:pt x="59811" y="120190"/>
                    <a:pt x="61306" y="118925"/>
                    <a:pt x="62599" y="117402"/>
                  </a:cubicBezTo>
                  <a:cubicBezTo>
                    <a:pt x="66509" y="112773"/>
                    <a:pt x="67084" y="107052"/>
                    <a:pt x="64066" y="101820"/>
                  </a:cubicBezTo>
                  <a:cubicBezTo>
                    <a:pt x="62053" y="98341"/>
                    <a:pt x="59437" y="95294"/>
                    <a:pt x="56620" y="92390"/>
                  </a:cubicBezTo>
                  <a:cubicBezTo>
                    <a:pt x="56361" y="92103"/>
                    <a:pt x="56102" y="91787"/>
                    <a:pt x="55815" y="91499"/>
                  </a:cubicBezTo>
                  <a:cubicBezTo>
                    <a:pt x="55240" y="90637"/>
                    <a:pt x="54521" y="89889"/>
                    <a:pt x="53745" y="89228"/>
                  </a:cubicBezTo>
                  <a:cubicBezTo>
                    <a:pt x="53371" y="88797"/>
                    <a:pt x="52969" y="88366"/>
                    <a:pt x="52595" y="87963"/>
                  </a:cubicBezTo>
                  <a:cubicBezTo>
                    <a:pt x="52020" y="87158"/>
                    <a:pt x="51359" y="86440"/>
                    <a:pt x="50583" y="85778"/>
                  </a:cubicBezTo>
                  <a:cubicBezTo>
                    <a:pt x="50381" y="85376"/>
                    <a:pt x="50094" y="85060"/>
                    <a:pt x="49691" y="84801"/>
                  </a:cubicBezTo>
                  <a:cubicBezTo>
                    <a:pt x="48944" y="83766"/>
                    <a:pt x="48053" y="82875"/>
                    <a:pt x="47133" y="82041"/>
                  </a:cubicBezTo>
                  <a:cubicBezTo>
                    <a:pt x="46932" y="81639"/>
                    <a:pt x="46644" y="81322"/>
                    <a:pt x="46242" y="81092"/>
                  </a:cubicBezTo>
                  <a:cubicBezTo>
                    <a:pt x="45494" y="80057"/>
                    <a:pt x="44603" y="79166"/>
                    <a:pt x="43683" y="78304"/>
                  </a:cubicBezTo>
                  <a:cubicBezTo>
                    <a:pt x="43482" y="77901"/>
                    <a:pt x="43194" y="77585"/>
                    <a:pt x="42792" y="77326"/>
                  </a:cubicBezTo>
                  <a:cubicBezTo>
                    <a:pt x="42131" y="76406"/>
                    <a:pt x="41383" y="75573"/>
                    <a:pt x="40521" y="74854"/>
                  </a:cubicBezTo>
                  <a:cubicBezTo>
                    <a:pt x="40319" y="74452"/>
                    <a:pt x="40032" y="74135"/>
                    <a:pt x="39630" y="73877"/>
                  </a:cubicBezTo>
                  <a:cubicBezTo>
                    <a:pt x="39141" y="73158"/>
                    <a:pt x="38566" y="72525"/>
                    <a:pt x="37905" y="71979"/>
                  </a:cubicBezTo>
                  <a:cubicBezTo>
                    <a:pt x="37646" y="71692"/>
                    <a:pt x="37387" y="71375"/>
                    <a:pt x="37100" y="71088"/>
                  </a:cubicBezTo>
                  <a:cubicBezTo>
                    <a:pt x="36668" y="70456"/>
                    <a:pt x="36180" y="69881"/>
                    <a:pt x="35605" y="69392"/>
                  </a:cubicBezTo>
                  <a:cubicBezTo>
                    <a:pt x="35404" y="68989"/>
                    <a:pt x="35116" y="68673"/>
                    <a:pt x="34742" y="68414"/>
                  </a:cubicBezTo>
                  <a:cubicBezTo>
                    <a:pt x="32414" y="65626"/>
                    <a:pt x="30229" y="62780"/>
                    <a:pt x="28389" y="59617"/>
                  </a:cubicBezTo>
                  <a:cubicBezTo>
                    <a:pt x="28188" y="58985"/>
                    <a:pt x="27929" y="58410"/>
                    <a:pt x="27526" y="57892"/>
                  </a:cubicBezTo>
                  <a:cubicBezTo>
                    <a:pt x="25629" y="53350"/>
                    <a:pt x="24364" y="48693"/>
                    <a:pt x="24249" y="43748"/>
                  </a:cubicBezTo>
                  <a:cubicBezTo>
                    <a:pt x="24077" y="35498"/>
                    <a:pt x="26693" y="28224"/>
                    <a:pt x="31551" y="21612"/>
                  </a:cubicBezTo>
                  <a:cubicBezTo>
                    <a:pt x="33851" y="18479"/>
                    <a:pt x="36323" y="15546"/>
                    <a:pt x="39112" y="12873"/>
                  </a:cubicBezTo>
                  <a:cubicBezTo>
                    <a:pt x="45437" y="6807"/>
                    <a:pt x="52997" y="3041"/>
                    <a:pt x="61593" y="1316"/>
                  </a:cubicBezTo>
                  <a:cubicBezTo>
                    <a:pt x="66710" y="281"/>
                    <a:pt x="71914" y="-64"/>
                    <a:pt x="77117" y="453"/>
                  </a:cubicBezTo>
                  <a:cubicBezTo>
                    <a:pt x="84017" y="1115"/>
                    <a:pt x="90227" y="3644"/>
                    <a:pt x="95660" y="8014"/>
                  </a:cubicBezTo>
                  <a:cubicBezTo>
                    <a:pt x="100720" y="12068"/>
                    <a:pt x="104313" y="17357"/>
                    <a:pt x="108194" y="22417"/>
                  </a:cubicBezTo>
                  <a:cubicBezTo>
                    <a:pt x="108913" y="23337"/>
                    <a:pt x="108079" y="23538"/>
                    <a:pt x="107648" y="23883"/>
                  </a:cubicBezTo>
                  <a:cubicBezTo>
                    <a:pt x="102243" y="27937"/>
                    <a:pt x="96839" y="31962"/>
                    <a:pt x="91434" y="35986"/>
                  </a:cubicBezTo>
                  <a:cubicBezTo>
                    <a:pt x="89479" y="37424"/>
                    <a:pt x="87467" y="38775"/>
                    <a:pt x="85598" y="40299"/>
                  </a:cubicBezTo>
                  <a:cubicBezTo>
                    <a:pt x="84678" y="41075"/>
                    <a:pt x="84448" y="40615"/>
                    <a:pt x="84017" y="39896"/>
                  </a:cubicBezTo>
                  <a:cubicBezTo>
                    <a:pt x="82005" y="36475"/>
                    <a:pt x="79820" y="33169"/>
                    <a:pt x="76772" y="30553"/>
                  </a:cubicBezTo>
                  <a:cubicBezTo>
                    <a:pt x="74214" y="28339"/>
                    <a:pt x="71368" y="26959"/>
                    <a:pt x="67889" y="26499"/>
                  </a:cubicBezTo>
                  <a:cubicBezTo>
                    <a:pt x="63721" y="25924"/>
                    <a:pt x="60127" y="26816"/>
                    <a:pt x="56764" y="29087"/>
                  </a:cubicBezTo>
                  <a:cubicBezTo>
                    <a:pt x="53860" y="31042"/>
                    <a:pt x="51761" y="33658"/>
                    <a:pt x="51474" y="37309"/>
                  </a:cubicBezTo>
                  <a:cubicBezTo>
                    <a:pt x="51301" y="39551"/>
                    <a:pt x="52049" y="41621"/>
                    <a:pt x="53429" y="43403"/>
                  </a:cubicBezTo>
                  <a:cubicBezTo>
                    <a:pt x="56505" y="47457"/>
                    <a:pt x="59840" y="51338"/>
                    <a:pt x="63318" y="55046"/>
                  </a:cubicBezTo>
                  <a:cubicBezTo>
                    <a:pt x="69097" y="61227"/>
                    <a:pt x="74990" y="67322"/>
                    <a:pt x="80768" y="73503"/>
                  </a:cubicBezTo>
                  <a:cubicBezTo>
                    <a:pt x="85569" y="78620"/>
                    <a:pt x="89795" y="84140"/>
                    <a:pt x="91894" y="90982"/>
                  </a:cubicBezTo>
                  <a:cubicBezTo>
                    <a:pt x="94941" y="100900"/>
                    <a:pt x="93734" y="110502"/>
                    <a:pt x="89565" y="119874"/>
                  </a:cubicBezTo>
                  <a:cubicBezTo>
                    <a:pt x="89364" y="120305"/>
                    <a:pt x="89192" y="120736"/>
                    <a:pt x="89019" y="121196"/>
                  </a:cubicBezTo>
                  <a:cubicBezTo>
                    <a:pt x="88789" y="121311"/>
                    <a:pt x="88732" y="121541"/>
                    <a:pt x="88732" y="121771"/>
                  </a:cubicBezTo>
                  <a:cubicBezTo>
                    <a:pt x="86202" y="126371"/>
                    <a:pt x="83269" y="130683"/>
                    <a:pt x="79791" y="134593"/>
                  </a:cubicBezTo>
                  <a:cubicBezTo>
                    <a:pt x="79015" y="135340"/>
                    <a:pt x="78210" y="136117"/>
                    <a:pt x="77434" y="1369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08FAFA9F-3A5C-4F0D-A13B-1D24D8D395D0}"/>
                </a:ext>
              </a:extLst>
            </p:cNvPr>
            <p:cNvSpPr/>
            <p:nvPr/>
          </p:nvSpPr>
          <p:spPr>
            <a:xfrm>
              <a:off x="1979731" y="2620269"/>
              <a:ext cx="22711" cy="575"/>
            </a:xfrm>
            <a:custGeom>
              <a:avLst/>
              <a:gdLst>
                <a:gd name="connsiteX0" fmla="*/ 22639 w 22711"/>
                <a:gd name="connsiteY0" fmla="*/ 216 h 574"/>
                <a:gd name="connsiteX1" fmla="*/ 22639 w 22711"/>
                <a:gd name="connsiteY1" fmla="*/ 474 h 574"/>
                <a:gd name="connsiteX2" fmla="*/ 216 w 22711"/>
                <a:gd name="connsiteY2" fmla="*/ 474 h 574"/>
                <a:gd name="connsiteX3" fmla="*/ 216 w 22711"/>
                <a:gd name="connsiteY3" fmla="*/ 216 h 574"/>
                <a:gd name="connsiteX4" fmla="*/ 22639 w 22711"/>
                <a:gd name="connsiteY4" fmla="*/ 216 h 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1" h="574">
                  <a:moveTo>
                    <a:pt x="22639" y="216"/>
                  </a:moveTo>
                  <a:cubicBezTo>
                    <a:pt x="22639" y="302"/>
                    <a:pt x="22639" y="388"/>
                    <a:pt x="22639" y="474"/>
                  </a:cubicBezTo>
                  <a:cubicBezTo>
                    <a:pt x="15165" y="474"/>
                    <a:pt x="7690" y="474"/>
                    <a:pt x="216" y="474"/>
                  </a:cubicBezTo>
                  <a:cubicBezTo>
                    <a:pt x="216" y="388"/>
                    <a:pt x="216" y="302"/>
                    <a:pt x="216" y="216"/>
                  </a:cubicBezTo>
                  <a:cubicBezTo>
                    <a:pt x="7690" y="216"/>
                    <a:pt x="15165" y="216"/>
                    <a:pt x="22639" y="2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9673659F-ECBA-43FD-9AD6-77FED9ADCA45}"/>
                </a:ext>
              </a:extLst>
            </p:cNvPr>
            <p:cNvSpPr/>
            <p:nvPr/>
          </p:nvSpPr>
          <p:spPr>
            <a:xfrm>
              <a:off x="1979116" y="2478386"/>
              <a:ext cx="123330" cy="142304"/>
            </a:xfrm>
            <a:custGeom>
              <a:avLst/>
              <a:gdLst>
                <a:gd name="connsiteX0" fmla="*/ 23254 w 123330"/>
                <a:gd name="connsiteY0" fmla="*/ 142098 h 142304"/>
                <a:gd name="connsiteX1" fmla="*/ 802 w 123330"/>
                <a:gd name="connsiteY1" fmla="*/ 142098 h 142304"/>
                <a:gd name="connsiteX2" fmla="*/ 313 w 123330"/>
                <a:gd name="connsiteY2" fmla="*/ 140833 h 142304"/>
                <a:gd name="connsiteX3" fmla="*/ 5344 w 123330"/>
                <a:gd name="connsiteY3" fmla="*/ 102540 h 142304"/>
                <a:gd name="connsiteX4" fmla="*/ 9742 w 123330"/>
                <a:gd name="connsiteY4" fmla="*/ 68358 h 142304"/>
                <a:gd name="connsiteX5" fmla="*/ 11755 w 123330"/>
                <a:gd name="connsiteY5" fmla="*/ 54300 h 142304"/>
                <a:gd name="connsiteX6" fmla="*/ 17073 w 123330"/>
                <a:gd name="connsiteY6" fmla="*/ 37023 h 142304"/>
                <a:gd name="connsiteX7" fmla="*/ 25382 w 123330"/>
                <a:gd name="connsiteY7" fmla="*/ 24230 h 142304"/>
                <a:gd name="connsiteX8" fmla="*/ 47403 w 123330"/>
                <a:gd name="connsiteY8" fmla="*/ 6607 h 142304"/>
                <a:gd name="connsiteX9" fmla="*/ 68389 w 123330"/>
                <a:gd name="connsiteY9" fmla="*/ 599 h 142304"/>
                <a:gd name="connsiteX10" fmla="*/ 79658 w 123330"/>
                <a:gd name="connsiteY10" fmla="*/ 397 h 142304"/>
                <a:gd name="connsiteX11" fmla="*/ 94952 w 123330"/>
                <a:gd name="connsiteY11" fmla="*/ 4336 h 142304"/>
                <a:gd name="connsiteX12" fmla="*/ 111339 w 123330"/>
                <a:gd name="connsiteY12" fmla="*/ 15921 h 142304"/>
                <a:gd name="connsiteX13" fmla="*/ 122148 w 123330"/>
                <a:gd name="connsiteY13" fmla="*/ 37253 h 142304"/>
                <a:gd name="connsiteX14" fmla="*/ 123270 w 123330"/>
                <a:gd name="connsiteY14" fmla="*/ 52748 h 142304"/>
                <a:gd name="connsiteX15" fmla="*/ 115967 w 123330"/>
                <a:gd name="connsiteY15" fmla="*/ 77414 h 142304"/>
                <a:gd name="connsiteX16" fmla="*/ 103491 w 123330"/>
                <a:gd name="connsiteY16" fmla="*/ 93456 h 142304"/>
                <a:gd name="connsiteX17" fmla="*/ 78508 w 123330"/>
                <a:gd name="connsiteY17" fmla="*/ 108779 h 142304"/>
                <a:gd name="connsiteX18" fmla="*/ 62582 w 123330"/>
                <a:gd name="connsiteY18" fmla="*/ 111625 h 142304"/>
                <a:gd name="connsiteX19" fmla="*/ 31131 w 123330"/>
                <a:gd name="connsiteY19" fmla="*/ 103029 h 142304"/>
                <a:gd name="connsiteX20" fmla="*/ 30298 w 123330"/>
                <a:gd name="connsiteY20" fmla="*/ 102483 h 142304"/>
                <a:gd name="connsiteX21" fmla="*/ 28946 w 123330"/>
                <a:gd name="connsiteY21" fmla="*/ 103115 h 142304"/>
                <a:gd name="connsiteX22" fmla="*/ 24059 w 123330"/>
                <a:gd name="connsiteY22" fmla="*/ 140574 h 142304"/>
                <a:gd name="connsiteX23" fmla="*/ 23254 w 123330"/>
                <a:gd name="connsiteY23" fmla="*/ 142098 h 142304"/>
                <a:gd name="connsiteX24" fmla="*/ 35415 w 123330"/>
                <a:gd name="connsiteY24" fmla="*/ 60596 h 142304"/>
                <a:gd name="connsiteX25" fmla="*/ 36335 w 123330"/>
                <a:gd name="connsiteY25" fmla="*/ 67611 h 142304"/>
                <a:gd name="connsiteX26" fmla="*/ 67182 w 123330"/>
                <a:gd name="connsiteY26" fmla="*/ 87246 h 142304"/>
                <a:gd name="connsiteX27" fmla="*/ 95729 w 123330"/>
                <a:gd name="connsiteY27" fmla="*/ 65771 h 142304"/>
                <a:gd name="connsiteX28" fmla="*/ 98805 w 123330"/>
                <a:gd name="connsiteY28" fmla="*/ 48781 h 142304"/>
                <a:gd name="connsiteX29" fmla="*/ 91560 w 123330"/>
                <a:gd name="connsiteY29" fmla="*/ 32883 h 142304"/>
                <a:gd name="connsiteX30" fmla="*/ 63991 w 123330"/>
                <a:gd name="connsiteY30" fmla="*/ 25380 h 142304"/>
                <a:gd name="connsiteX31" fmla="*/ 35415 w 123330"/>
                <a:gd name="connsiteY31" fmla="*/ 60596 h 1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3330" h="142304">
                  <a:moveTo>
                    <a:pt x="23254" y="142098"/>
                  </a:moveTo>
                  <a:cubicBezTo>
                    <a:pt x="15780" y="142098"/>
                    <a:pt x="8305" y="142098"/>
                    <a:pt x="802" y="142098"/>
                  </a:cubicBezTo>
                  <a:cubicBezTo>
                    <a:pt x="-3" y="141954"/>
                    <a:pt x="227" y="141322"/>
                    <a:pt x="313" y="140833"/>
                  </a:cubicBezTo>
                  <a:cubicBezTo>
                    <a:pt x="1980" y="128069"/>
                    <a:pt x="3677" y="115304"/>
                    <a:pt x="5344" y="102540"/>
                  </a:cubicBezTo>
                  <a:cubicBezTo>
                    <a:pt x="6839" y="91156"/>
                    <a:pt x="8248" y="79743"/>
                    <a:pt x="9742" y="68358"/>
                  </a:cubicBezTo>
                  <a:cubicBezTo>
                    <a:pt x="10346" y="63672"/>
                    <a:pt x="11065" y="58986"/>
                    <a:pt x="11755" y="54300"/>
                  </a:cubicBezTo>
                  <a:cubicBezTo>
                    <a:pt x="12646" y="48235"/>
                    <a:pt x="14428" y="42456"/>
                    <a:pt x="17073" y="37023"/>
                  </a:cubicBezTo>
                  <a:cubicBezTo>
                    <a:pt x="19287" y="32452"/>
                    <a:pt x="22133" y="28226"/>
                    <a:pt x="25382" y="24230"/>
                  </a:cubicBezTo>
                  <a:cubicBezTo>
                    <a:pt x="31447" y="16698"/>
                    <a:pt x="38836" y="10891"/>
                    <a:pt x="47403" y="6607"/>
                  </a:cubicBezTo>
                  <a:cubicBezTo>
                    <a:pt x="54015" y="3301"/>
                    <a:pt x="61029" y="1404"/>
                    <a:pt x="68389" y="599"/>
                  </a:cubicBezTo>
                  <a:cubicBezTo>
                    <a:pt x="72155" y="196"/>
                    <a:pt x="75921" y="81"/>
                    <a:pt x="79658" y="397"/>
                  </a:cubicBezTo>
                  <a:cubicBezTo>
                    <a:pt x="84977" y="829"/>
                    <a:pt x="90065" y="2151"/>
                    <a:pt x="94952" y="4336"/>
                  </a:cubicBezTo>
                  <a:cubicBezTo>
                    <a:pt x="101191" y="7124"/>
                    <a:pt x="106710" y="10919"/>
                    <a:pt x="111339" y="15921"/>
                  </a:cubicBezTo>
                  <a:cubicBezTo>
                    <a:pt x="116945" y="21987"/>
                    <a:pt x="120481" y="29146"/>
                    <a:pt x="122148" y="37253"/>
                  </a:cubicBezTo>
                  <a:cubicBezTo>
                    <a:pt x="123183" y="42370"/>
                    <a:pt x="123586" y="47545"/>
                    <a:pt x="123270" y="52748"/>
                  </a:cubicBezTo>
                  <a:cubicBezTo>
                    <a:pt x="122723" y="61516"/>
                    <a:pt x="120308" y="69738"/>
                    <a:pt x="115967" y="77414"/>
                  </a:cubicBezTo>
                  <a:cubicBezTo>
                    <a:pt x="112604" y="83394"/>
                    <a:pt x="108378" y="88683"/>
                    <a:pt x="103491" y="93456"/>
                  </a:cubicBezTo>
                  <a:cubicBezTo>
                    <a:pt x="96332" y="100470"/>
                    <a:pt x="88082" y="105702"/>
                    <a:pt x="78508" y="108779"/>
                  </a:cubicBezTo>
                  <a:cubicBezTo>
                    <a:pt x="73334" y="110417"/>
                    <a:pt x="68015" y="111308"/>
                    <a:pt x="62582" y="111625"/>
                  </a:cubicBezTo>
                  <a:cubicBezTo>
                    <a:pt x="51111" y="112315"/>
                    <a:pt x="40647" y="109468"/>
                    <a:pt x="31131" y="103029"/>
                  </a:cubicBezTo>
                  <a:cubicBezTo>
                    <a:pt x="30844" y="102828"/>
                    <a:pt x="30556" y="102684"/>
                    <a:pt x="30298" y="102483"/>
                  </a:cubicBezTo>
                  <a:cubicBezTo>
                    <a:pt x="29435" y="101821"/>
                    <a:pt x="29090" y="101908"/>
                    <a:pt x="28946" y="103115"/>
                  </a:cubicBezTo>
                  <a:cubicBezTo>
                    <a:pt x="27365" y="115592"/>
                    <a:pt x="25698" y="128069"/>
                    <a:pt x="24059" y="140574"/>
                  </a:cubicBezTo>
                  <a:cubicBezTo>
                    <a:pt x="24030" y="141178"/>
                    <a:pt x="23944" y="141810"/>
                    <a:pt x="23254" y="142098"/>
                  </a:cubicBezTo>
                  <a:close/>
                  <a:moveTo>
                    <a:pt x="35415" y="60596"/>
                  </a:moveTo>
                  <a:cubicBezTo>
                    <a:pt x="35472" y="62810"/>
                    <a:pt x="35702" y="65254"/>
                    <a:pt x="36335" y="67611"/>
                  </a:cubicBezTo>
                  <a:cubicBezTo>
                    <a:pt x="40244" y="82186"/>
                    <a:pt x="54044" y="89201"/>
                    <a:pt x="67182" y="87246"/>
                  </a:cubicBezTo>
                  <a:cubicBezTo>
                    <a:pt x="80348" y="85291"/>
                    <a:pt x="90094" y="77960"/>
                    <a:pt x="95729" y="65771"/>
                  </a:cubicBezTo>
                  <a:cubicBezTo>
                    <a:pt x="98201" y="60453"/>
                    <a:pt x="99581" y="54760"/>
                    <a:pt x="98805" y="48781"/>
                  </a:cubicBezTo>
                  <a:cubicBezTo>
                    <a:pt x="98028" y="42744"/>
                    <a:pt x="95872" y="37253"/>
                    <a:pt x="91560" y="32883"/>
                  </a:cubicBezTo>
                  <a:cubicBezTo>
                    <a:pt x="83856" y="25063"/>
                    <a:pt x="74484" y="22907"/>
                    <a:pt x="63991" y="25380"/>
                  </a:cubicBezTo>
                  <a:cubicBezTo>
                    <a:pt x="47374" y="29289"/>
                    <a:pt x="35645" y="43779"/>
                    <a:pt x="35415" y="605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3A1855DB-1FEF-4B34-B619-3C4C5E70CA7F}"/>
                </a:ext>
              </a:extLst>
            </p:cNvPr>
            <p:cNvSpPr/>
            <p:nvPr/>
          </p:nvSpPr>
          <p:spPr>
            <a:xfrm>
              <a:off x="2111202" y="2478355"/>
              <a:ext cx="112693" cy="111831"/>
            </a:xfrm>
            <a:custGeom>
              <a:avLst/>
              <a:gdLst>
                <a:gd name="connsiteX0" fmla="*/ 78866 w 112693"/>
                <a:gd name="connsiteY0" fmla="*/ 75778 h 111830"/>
                <a:gd name="connsiteX1" fmla="*/ 77630 w 112693"/>
                <a:gd name="connsiteY1" fmla="*/ 85495 h 111830"/>
                <a:gd name="connsiteX2" fmla="*/ 76020 w 112693"/>
                <a:gd name="connsiteY2" fmla="*/ 97339 h 111830"/>
                <a:gd name="connsiteX3" fmla="*/ 75129 w 112693"/>
                <a:gd name="connsiteY3" fmla="*/ 104555 h 111830"/>
                <a:gd name="connsiteX4" fmla="*/ 72110 w 112693"/>
                <a:gd name="connsiteY4" fmla="*/ 107200 h 111830"/>
                <a:gd name="connsiteX5" fmla="*/ 52130 w 112693"/>
                <a:gd name="connsiteY5" fmla="*/ 111684 h 111830"/>
                <a:gd name="connsiteX6" fmla="*/ 42815 w 112693"/>
                <a:gd name="connsiteY6" fmla="*/ 111569 h 111830"/>
                <a:gd name="connsiteX7" fmla="*/ 32811 w 112693"/>
                <a:gd name="connsiteY7" fmla="*/ 109298 h 111830"/>
                <a:gd name="connsiteX8" fmla="*/ 20679 w 112693"/>
                <a:gd name="connsiteY8" fmla="*/ 103347 h 111830"/>
                <a:gd name="connsiteX9" fmla="*/ 7254 w 112693"/>
                <a:gd name="connsiteY9" fmla="*/ 89146 h 111830"/>
                <a:gd name="connsiteX10" fmla="*/ 1102 w 112693"/>
                <a:gd name="connsiteY10" fmla="*/ 73190 h 111830"/>
                <a:gd name="connsiteX11" fmla="*/ 412 w 112693"/>
                <a:gd name="connsiteY11" fmla="*/ 66952 h 111830"/>
                <a:gd name="connsiteX12" fmla="*/ 527 w 112693"/>
                <a:gd name="connsiteY12" fmla="*/ 58184 h 111830"/>
                <a:gd name="connsiteX13" fmla="*/ 2855 w 112693"/>
                <a:gd name="connsiteY13" fmla="*/ 46512 h 111830"/>
                <a:gd name="connsiteX14" fmla="*/ 11135 w 112693"/>
                <a:gd name="connsiteY14" fmla="*/ 29205 h 111830"/>
                <a:gd name="connsiteX15" fmla="*/ 22002 w 112693"/>
                <a:gd name="connsiteY15" fmla="*/ 16729 h 111830"/>
                <a:gd name="connsiteX16" fmla="*/ 54171 w 112693"/>
                <a:gd name="connsiteY16" fmla="*/ 1147 h 111830"/>
                <a:gd name="connsiteX17" fmla="*/ 88439 w 112693"/>
                <a:gd name="connsiteY17" fmla="*/ 6236 h 111830"/>
                <a:gd name="connsiteX18" fmla="*/ 112013 w 112693"/>
                <a:gd name="connsiteY18" fmla="*/ 38635 h 111830"/>
                <a:gd name="connsiteX19" fmla="*/ 112358 w 112693"/>
                <a:gd name="connsiteY19" fmla="*/ 54705 h 111830"/>
                <a:gd name="connsiteX20" fmla="*/ 110546 w 112693"/>
                <a:gd name="connsiteY20" fmla="*/ 70431 h 111830"/>
                <a:gd name="connsiteX21" fmla="*/ 108304 w 112693"/>
                <a:gd name="connsiteY21" fmla="*/ 87076 h 111830"/>
                <a:gd name="connsiteX22" fmla="*/ 106550 w 112693"/>
                <a:gd name="connsiteY22" fmla="*/ 101076 h 111830"/>
                <a:gd name="connsiteX23" fmla="*/ 105630 w 112693"/>
                <a:gd name="connsiteY23" fmla="*/ 108005 h 111830"/>
                <a:gd name="connsiteX24" fmla="*/ 104136 w 112693"/>
                <a:gd name="connsiteY24" fmla="*/ 109040 h 111830"/>
                <a:gd name="connsiteX25" fmla="*/ 83581 w 112693"/>
                <a:gd name="connsiteY25" fmla="*/ 109011 h 111830"/>
                <a:gd name="connsiteX26" fmla="*/ 81856 w 112693"/>
                <a:gd name="connsiteY26" fmla="*/ 106855 h 111830"/>
                <a:gd name="connsiteX27" fmla="*/ 82747 w 112693"/>
                <a:gd name="connsiteY27" fmla="*/ 100473 h 111830"/>
                <a:gd name="connsiteX28" fmla="*/ 83408 w 112693"/>
                <a:gd name="connsiteY28" fmla="*/ 95528 h 111830"/>
                <a:gd name="connsiteX29" fmla="*/ 84184 w 112693"/>
                <a:gd name="connsiteY29" fmla="*/ 89577 h 111830"/>
                <a:gd name="connsiteX30" fmla="*/ 85133 w 112693"/>
                <a:gd name="connsiteY30" fmla="*/ 82562 h 111830"/>
                <a:gd name="connsiteX31" fmla="*/ 85909 w 112693"/>
                <a:gd name="connsiteY31" fmla="*/ 77043 h 111830"/>
                <a:gd name="connsiteX32" fmla="*/ 86685 w 112693"/>
                <a:gd name="connsiteY32" fmla="*/ 70977 h 111830"/>
                <a:gd name="connsiteX33" fmla="*/ 87375 w 112693"/>
                <a:gd name="connsiteY33" fmla="*/ 64853 h 111830"/>
                <a:gd name="connsiteX34" fmla="*/ 88065 w 112693"/>
                <a:gd name="connsiteY34" fmla="*/ 58471 h 111830"/>
                <a:gd name="connsiteX35" fmla="*/ 87979 w 112693"/>
                <a:gd name="connsiteY35" fmla="*/ 51917 h 111830"/>
                <a:gd name="connsiteX36" fmla="*/ 87059 w 112693"/>
                <a:gd name="connsiteY36" fmla="*/ 45736 h 111830"/>
                <a:gd name="connsiteX37" fmla="*/ 78981 w 112693"/>
                <a:gd name="connsiteY37" fmla="*/ 30700 h 111830"/>
                <a:gd name="connsiteX38" fmla="*/ 68028 w 112693"/>
                <a:gd name="connsiteY38" fmla="*/ 25296 h 111830"/>
                <a:gd name="connsiteX39" fmla="*/ 57592 w 112693"/>
                <a:gd name="connsiteY39" fmla="*/ 24749 h 111830"/>
                <a:gd name="connsiteX40" fmla="*/ 39337 w 112693"/>
                <a:gd name="connsiteY40" fmla="*/ 32023 h 111830"/>
                <a:gd name="connsiteX41" fmla="*/ 25911 w 112693"/>
                <a:gd name="connsiteY41" fmla="*/ 52060 h 111830"/>
                <a:gd name="connsiteX42" fmla="*/ 33213 w 112693"/>
                <a:gd name="connsiteY42" fmla="*/ 80090 h 111830"/>
                <a:gd name="connsiteX43" fmla="*/ 47645 w 112693"/>
                <a:gd name="connsiteY43" fmla="*/ 87162 h 111830"/>
                <a:gd name="connsiteX44" fmla="*/ 73547 w 112693"/>
                <a:gd name="connsiteY44" fmla="*/ 80061 h 111830"/>
                <a:gd name="connsiteX45" fmla="*/ 78866 w 112693"/>
                <a:gd name="connsiteY45" fmla="*/ 75778 h 11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2693" h="111830">
                  <a:moveTo>
                    <a:pt x="78866" y="75778"/>
                  </a:moveTo>
                  <a:cubicBezTo>
                    <a:pt x="78463" y="79026"/>
                    <a:pt x="78061" y="82275"/>
                    <a:pt x="77630" y="85495"/>
                  </a:cubicBezTo>
                  <a:cubicBezTo>
                    <a:pt x="77112" y="89433"/>
                    <a:pt x="76537" y="93400"/>
                    <a:pt x="76020" y="97339"/>
                  </a:cubicBezTo>
                  <a:cubicBezTo>
                    <a:pt x="75703" y="99725"/>
                    <a:pt x="75416" y="102140"/>
                    <a:pt x="75129" y="104555"/>
                  </a:cubicBezTo>
                  <a:cubicBezTo>
                    <a:pt x="74899" y="106337"/>
                    <a:pt x="73346" y="106711"/>
                    <a:pt x="72110" y="107200"/>
                  </a:cubicBezTo>
                  <a:cubicBezTo>
                    <a:pt x="65699" y="109730"/>
                    <a:pt x="59058" y="111339"/>
                    <a:pt x="52130" y="111684"/>
                  </a:cubicBezTo>
                  <a:cubicBezTo>
                    <a:pt x="48996" y="111828"/>
                    <a:pt x="45892" y="111914"/>
                    <a:pt x="42815" y="111569"/>
                  </a:cubicBezTo>
                  <a:cubicBezTo>
                    <a:pt x="39423" y="111167"/>
                    <a:pt x="36088" y="110391"/>
                    <a:pt x="32811" y="109298"/>
                  </a:cubicBezTo>
                  <a:cubicBezTo>
                    <a:pt x="28499" y="107832"/>
                    <a:pt x="24445" y="105935"/>
                    <a:pt x="20679" y="103347"/>
                  </a:cubicBezTo>
                  <a:cubicBezTo>
                    <a:pt x="15188" y="99553"/>
                    <a:pt x="10790" y="94780"/>
                    <a:pt x="7254" y="89146"/>
                  </a:cubicBezTo>
                  <a:cubicBezTo>
                    <a:pt x="4178" y="84230"/>
                    <a:pt x="2194" y="78854"/>
                    <a:pt x="1102" y="73190"/>
                  </a:cubicBezTo>
                  <a:cubicBezTo>
                    <a:pt x="699" y="71149"/>
                    <a:pt x="670" y="69022"/>
                    <a:pt x="412" y="66952"/>
                  </a:cubicBezTo>
                  <a:cubicBezTo>
                    <a:pt x="38" y="63991"/>
                    <a:pt x="268" y="61059"/>
                    <a:pt x="527" y="58184"/>
                  </a:cubicBezTo>
                  <a:cubicBezTo>
                    <a:pt x="872" y="54245"/>
                    <a:pt x="1677" y="50335"/>
                    <a:pt x="2855" y="46512"/>
                  </a:cubicBezTo>
                  <a:cubicBezTo>
                    <a:pt x="4781" y="40331"/>
                    <a:pt x="7599" y="34610"/>
                    <a:pt x="11135" y="29205"/>
                  </a:cubicBezTo>
                  <a:cubicBezTo>
                    <a:pt x="14182" y="24548"/>
                    <a:pt x="17891" y="20437"/>
                    <a:pt x="22002" y="16729"/>
                  </a:cubicBezTo>
                  <a:cubicBezTo>
                    <a:pt x="31201" y="8478"/>
                    <a:pt x="41924" y="3131"/>
                    <a:pt x="54171" y="1147"/>
                  </a:cubicBezTo>
                  <a:cubicBezTo>
                    <a:pt x="66102" y="-808"/>
                    <a:pt x="77773" y="55"/>
                    <a:pt x="88439" y="6236"/>
                  </a:cubicBezTo>
                  <a:cubicBezTo>
                    <a:pt x="100973" y="13538"/>
                    <a:pt x="109224" y="24146"/>
                    <a:pt x="112013" y="38635"/>
                  </a:cubicBezTo>
                  <a:cubicBezTo>
                    <a:pt x="113048" y="43982"/>
                    <a:pt x="112846" y="49329"/>
                    <a:pt x="112358" y="54705"/>
                  </a:cubicBezTo>
                  <a:cubicBezTo>
                    <a:pt x="111869" y="59966"/>
                    <a:pt x="111179" y="65198"/>
                    <a:pt x="110546" y="70431"/>
                  </a:cubicBezTo>
                  <a:cubicBezTo>
                    <a:pt x="109885" y="75979"/>
                    <a:pt x="109052" y="81527"/>
                    <a:pt x="108304" y="87076"/>
                  </a:cubicBezTo>
                  <a:cubicBezTo>
                    <a:pt x="107700" y="91733"/>
                    <a:pt x="107125" y="96419"/>
                    <a:pt x="106550" y="101076"/>
                  </a:cubicBezTo>
                  <a:cubicBezTo>
                    <a:pt x="106263" y="103376"/>
                    <a:pt x="105947" y="105676"/>
                    <a:pt x="105630" y="108005"/>
                  </a:cubicBezTo>
                  <a:cubicBezTo>
                    <a:pt x="105515" y="108867"/>
                    <a:pt x="104969" y="109040"/>
                    <a:pt x="104136" y="109040"/>
                  </a:cubicBezTo>
                  <a:cubicBezTo>
                    <a:pt x="97293" y="109011"/>
                    <a:pt x="90423" y="109011"/>
                    <a:pt x="83581" y="109011"/>
                  </a:cubicBezTo>
                  <a:cubicBezTo>
                    <a:pt x="81827" y="109011"/>
                    <a:pt x="81539" y="108580"/>
                    <a:pt x="81856" y="106855"/>
                  </a:cubicBezTo>
                  <a:cubicBezTo>
                    <a:pt x="82229" y="104756"/>
                    <a:pt x="82459" y="102600"/>
                    <a:pt x="82747" y="100473"/>
                  </a:cubicBezTo>
                  <a:cubicBezTo>
                    <a:pt x="82977" y="98834"/>
                    <a:pt x="83178" y="97167"/>
                    <a:pt x="83408" y="95528"/>
                  </a:cubicBezTo>
                  <a:cubicBezTo>
                    <a:pt x="83667" y="93544"/>
                    <a:pt x="83926" y="91561"/>
                    <a:pt x="84184" y="89577"/>
                  </a:cubicBezTo>
                  <a:cubicBezTo>
                    <a:pt x="84500" y="87248"/>
                    <a:pt x="84817" y="84891"/>
                    <a:pt x="85133" y="82562"/>
                  </a:cubicBezTo>
                  <a:cubicBezTo>
                    <a:pt x="85392" y="80722"/>
                    <a:pt x="85650" y="78883"/>
                    <a:pt x="85909" y="77043"/>
                  </a:cubicBezTo>
                  <a:cubicBezTo>
                    <a:pt x="86197" y="75030"/>
                    <a:pt x="86570" y="73018"/>
                    <a:pt x="86685" y="70977"/>
                  </a:cubicBezTo>
                  <a:cubicBezTo>
                    <a:pt x="86800" y="68907"/>
                    <a:pt x="87117" y="66895"/>
                    <a:pt x="87375" y="64853"/>
                  </a:cubicBezTo>
                  <a:cubicBezTo>
                    <a:pt x="87634" y="62726"/>
                    <a:pt x="87864" y="60599"/>
                    <a:pt x="88065" y="58471"/>
                  </a:cubicBezTo>
                  <a:cubicBezTo>
                    <a:pt x="88295" y="56315"/>
                    <a:pt x="88209" y="54130"/>
                    <a:pt x="87979" y="51917"/>
                  </a:cubicBezTo>
                  <a:cubicBezTo>
                    <a:pt x="87749" y="49847"/>
                    <a:pt x="87519" y="47777"/>
                    <a:pt x="87059" y="45736"/>
                  </a:cubicBezTo>
                  <a:cubicBezTo>
                    <a:pt x="85794" y="39957"/>
                    <a:pt x="83379" y="34696"/>
                    <a:pt x="78981" y="30700"/>
                  </a:cubicBezTo>
                  <a:cubicBezTo>
                    <a:pt x="75905" y="27912"/>
                    <a:pt x="72225" y="26072"/>
                    <a:pt x="68028" y="25296"/>
                  </a:cubicBezTo>
                  <a:cubicBezTo>
                    <a:pt x="64549" y="24663"/>
                    <a:pt x="61099" y="24347"/>
                    <a:pt x="57592" y="24749"/>
                  </a:cubicBezTo>
                  <a:cubicBezTo>
                    <a:pt x="50836" y="25526"/>
                    <a:pt x="44742" y="27941"/>
                    <a:pt x="39337" y="32023"/>
                  </a:cubicBezTo>
                  <a:cubicBezTo>
                    <a:pt x="32581" y="37169"/>
                    <a:pt x="27924" y="43810"/>
                    <a:pt x="25911" y="52060"/>
                  </a:cubicBezTo>
                  <a:cubicBezTo>
                    <a:pt x="23353" y="62640"/>
                    <a:pt x="25106" y="72270"/>
                    <a:pt x="33213" y="80090"/>
                  </a:cubicBezTo>
                  <a:cubicBezTo>
                    <a:pt x="37210" y="83942"/>
                    <a:pt x="42097" y="86357"/>
                    <a:pt x="47645" y="87162"/>
                  </a:cubicBezTo>
                  <a:cubicBezTo>
                    <a:pt x="57305" y="88571"/>
                    <a:pt x="65814" y="85753"/>
                    <a:pt x="73547" y="80061"/>
                  </a:cubicBezTo>
                  <a:cubicBezTo>
                    <a:pt x="75330" y="78768"/>
                    <a:pt x="76968" y="77215"/>
                    <a:pt x="78866" y="757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F1F13CE9-C851-4F02-ACA8-E3C89CF07837}"/>
                </a:ext>
              </a:extLst>
            </p:cNvPr>
            <p:cNvSpPr/>
            <p:nvPr/>
          </p:nvSpPr>
          <p:spPr>
            <a:xfrm>
              <a:off x="2287102" y="2444339"/>
              <a:ext cx="105219" cy="143167"/>
            </a:xfrm>
            <a:custGeom>
              <a:avLst/>
              <a:gdLst>
                <a:gd name="connsiteX0" fmla="*/ 80918 w 105218"/>
                <a:gd name="connsiteY0" fmla="*/ 15471 h 143166"/>
                <a:gd name="connsiteX1" fmla="*/ 82068 w 105218"/>
                <a:gd name="connsiteY1" fmla="*/ 21796 h 143166"/>
                <a:gd name="connsiteX2" fmla="*/ 84771 w 105218"/>
                <a:gd name="connsiteY2" fmla="*/ 37607 h 143166"/>
                <a:gd name="connsiteX3" fmla="*/ 85202 w 105218"/>
                <a:gd name="connsiteY3" fmla="*/ 39821 h 143166"/>
                <a:gd name="connsiteX4" fmla="*/ 84368 w 105218"/>
                <a:gd name="connsiteY4" fmla="*/ 42581 h 143166"/>
                <a:gd name="connsiteX5" fmla="*/ 72294 w 105218"/>
                <a:gd name="connsiteY5" fmla="*/ 55259 h 143166"/>
                <a:gd name="connsiteX6" fmla="*/ 55879 w 105218"/>
                <a:gd name="connsiteY6" fmla="*/ 72508 h 143166"/>
                <a:gd name="connsiteX7" fmla="*/ 55879 w 105218"/>
                <a:gd name="connsiteY7" fmla="*/ 74204 h 143166"/>
                <a:gd name="connsiteX8" fmla="*/ 65595 w 105218"/>
                <a:gd name="connsiteY8" fmla="*/ 87917 h 143166"/>
                <a:gd name="connsiteX9" fmla="*/ 103946 w 105218"/>
                <a:gd name="connsiteY9" fmla="*/ 141705 h 143166"/>
                <a:gd name="connsiteX10" fmla="*/ 105239 w 105218"/>
                <a:gd name="connsiteY10" fmla="*/ 143171 h 143166"/>
                <a:gd name="connsiteX11" fmla="*/ 100352 w 105218"/>
                <a:gd name="connsiteY11" fmla="*/ 143171 h 143166"/>
                <a:gd name="connsiteX12" fmla="*/ 75197 w 105218"/>
                <a:gd name="connsiteY12" fmla="*/ 143171 h 143166"/>
                <a:gd name="connsiteX13" fmla="*/ 71460 w 105218"/>
                <a:gd name="connsiteY13" fmla="*/ 141216 h 143166"/>
                <a:gd name="connsiteX14" fmla="*/ 51566 w 105218"/>
                <a:gd name="connsiteY14" fmla="*/ 110887 h 143166"/>
                <a:gd name="connsiteX15" fmla="*/ 35352 w 105218"/>
                <a:gd name="connsiteY15" fmla="*/ 86393 h 143166"/>
                <a:gd name="connsiteX16" fmla="*/ 34605 w 105218"/>
                <a:gd name="connsiteY16" fmla="*/ 85214 h 143166"/>
                <a:gd name="connsiteX17" fmla="*/ 33829 w 105218"/>
                <a:gd name="connsiteY17" fmla="*/ 89095 h 143166"/>
                <a:gd name="connsiteX18" fmla="*/ 31213 w 105218"/>
                <a:gd name="connsiteY18" fmla="*/ 108558 h 143166"/>
                <a:gd name="connsiteX19" fmla="*/ 29171 w 105218"/>
                <a:gd name="connsiteY19" fmla="*/ 124945 h 143166"/>
                <a:gd name="connsiteX20" fmla="*/ 27217 w 105218"/>
                <a:gd name="connsiteY20" fmla="*/ 139031 h 143166"/>
                <a:gd name="connsiteX21" fmla="*/ 26929 w 105218"/>
                <a:gd name="connsiteY21" fmla="*/ 141705 h 143166"/>
                <a:gd name="connsiteX22" fmla="*/ 25549 w 105218"/>
                <a:gd name="connsiteY22" fmla="*/ 143056 h 143166"/>
                <a:gd name="connsiteX23" fmla="*/ 1401 w 105218"/>
                <a:gd name="connsiteY23" fmla="*/ 143027 h 143166"/>
                <a:gd name="connsiteX24" fmla="*/ 337 w 105218"/>
                <a:gd name="connsiteY24" fmla="*/ 141705 h 143166"/>
                <a:gd name="connsiteX25" fmla="*/ 1113 w 105218"/>
                <a:gd name="connsiteY25" fmla="*/ 135725 h 143166"/>
                <a:gd name="connsiteX26" fmla="*/ 1832 w 105218"/>
                <a:gd name="connsiteY26" fmla="*/ 130205 h 143166"/>
                <a:gd name="connsiteX27" fmla="*/ 2522 w 105218"/>
                <a:gd name="connsiteY27" fmla="*/ 124801 h 143166"/>
                <a:gd name="connsiteX28" fmla="*/ 3240 w 105218"/>
                <a:gd name="connsiteY28" fmla="*/ 119310 h 143166"/>
                <a:gd name="connsiteX29" fmla="*/ 3959 w 105218"/>
                <a:gd name="connsiteY29" fmla="*/ 113905 h 143166"/>
                <a:gd name="connsiteX30" fmla="*/ 4678 w 105218"/>
                <a:gd name="connsiteY30" fmla="*/ 108414 h 143166"/>
                <a:gd name="connsiteX31" fmla="*/ 5368 w 105218"/>
                <a:gd name="connsiteY31" fmla="*/ 103153 h 143166"/>
                <a:gd name="connsiteX32" fmla="*/ 6144 w 105218"/>
                <a:gd name="connsiteY32" fmla="*/ 97375 h 143166"/>
                <a:gd name="connsiteX33" fmla="*/ 7064 w 105218"/>
                <a:gd name="connsiteY33" fmla="*/ 89469 h 143166"/>
                <a:gd name="connsiteX34" fmla="*/ 7840 w 105218"/>
                <a:gd name="connsiteY34" fmla="*/ 84237 h 143166"/>
                <a:gd name="connsiteX35" fmla="*/ 8530 w 105218"/>
                <a:gd name="connsiteY35" fmla="*/ 78688 h 143166"/>
                <a:gd name="connsiteX36" fmla="*/ 9220 w 105218"/>
                <a:gd name="connsiteY36" fmla="*/ 73428 h 143166"/>
                <a:gd name="connsiteX37" fmla="*/ 9996 w 105218"/>
                <a:gd name="connsiteY37" fmla="*/ 67908 h 143166"/>
                <a:gd name="connsiteX38" fmla="*/ 10772 w 105218"/>
                <a:gd name="connsiteY38" fmla="*/ 62273 h 143166"/>
                <a:gd name="connsiteX39" fmla="*/ 11376 w 105218"/>
                <a:gd name="connsiteY39" fmla="*/ 56725 h 143166"/>
                <a:gd name="connsiteX40" fmla="*/ 12037 w 105218"/>
                <a:gd name="connsiteY40" fmla="*/ 51751 h 143166"/>
                <a:gd name="connsiteX41" fmla="*/ 12785 w 105218"/>
                <a:gd name="connsiteY41" fmla="*/ 45657 h 143166"/>
                <a:gd name="connsiteX42" fmla="*/ 13762 w 105218"/>
                <a:gd name="connsiteY42" fmla="*/ 38642 h 143166"/>
                <a:gd name="connsiteX43" fmla="*/ 14481 w 105218"/>
                <a:gd name="connsiteY43" fmla="*/ 32835 h 143166"/>
                <a:gd name="connsiteX44" fmla="*/ 15200 w 105218"/>
                <a:gd name="connsiteY44" fmla="*/ 27746 h 143166"/>
                <a:gd name="connsiteX45" fmla="*/ 15890 w 105218"/>
                <a:gd name="connsiteY45" fmla="*/ 21939 h 143166"/>
                <a:gd name="connsiteX46" fmla="*/ 19052 w 105218"/>
                <a:gd name="connsiteY46" fmla="*/ 16678 h 143166"/>
                <a:gd name="connsiteX47" fmla="*/ 38428 w 105218"/>
                <a:gd name="connsiteY47" fmla="*/ 4230 h 143166"/>
                <a:gd name="connsiteX48" fmla="*/ 44092 w 105218"/>
                <a:gd name="connsiteY48" fmla="*/ 608 h 143166"/>
                <a:gd name="connsiteX49" fmla="*/ 45270 w 105218"/>
                <a:gd name="connsiteY49" fmla="*/ 292 h 143166"/>
                <a:gd name="connsiteX50" fmla="*/ 45213 w 105218"/>
                <a:gd name="connsiteY50" fmla="*/ 1327 h 143166"/>
                <a:gd name="connsiteX51" fmla="*/ 42338 w 105218"/>
                <a:gd name="connsiteY51" fmla="*/ 23204 h 143166"/>
                <a:gd name="connsiteX52" fmla="*/ 39722 w 105218"/>
                <a:gd name="connsiteY52" fmla="*/ 43961 h 143166"/>
                <a:gd name="connsiteX53" fmla="*/ 37278 w 105218"/>
                <a:gd name="connsiteY53" fmla="*/ 62158 h 143166"/>
                <a:gd name="connsiteX54" fmla="*/ 37422 w 105218"/>
                <a:gd name="connsiteY54" fmla="*/ 62877 h 143166"/>
                <a:gd name="connsiteX55" fmla="*/ 38083 w 105218"/>
                <a:gd name="connsiteY55" fmla="*/ 62561 h 143166"/>
                <a:gd name="connsiteX56" fmla="*/ 45615 w 105218"/>
                <a:gd name="connsiteY56" fmla="*/ 54252 h 143166"/>
                <a:gd name="connsiteX57" fmla="*/ 51624 w 105218"/>
                <a:gd name="connsiteY57" fmla="*/ 47468 h 143166"/>
                <a:gd name="connsiteX58" fmla="*/ 58638 w 105218"/>
                <a:gd name="connsiteY58" fmla="*/ 39821 h 143166"/>
                <a:gd name="connsiteX59" fmla="*/ 64819 w 105218"/>
                <a:gd name="connsiteY59" fmla="*/ 32806 h 143166"/>
                <a:gd name="connsiteX60" fmla="*/ 68758 w 105218"/>
                <a:gd name="connsiteY60" fmla="*/ 28494 h 143166"/>
                <a:gd name="connsiteX61" fmla="*/ 75485 w 105218"/>
                <a:gd name="connsiteY61" fmla="*/ 21019 h 143166"/>
                <a:gd name="connsiteX62" fmla="*/ 80918 w 105218"/>
                <a:gd name="connsiteY62" fmla="*/ 15471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5218" h="143166">
                  <a:moveTo>
                    <a:pt x="80918" y="15471"/>
                  </a:moveTo>
                  <a:cubicBezTo>
                    <a:pt x="81321" y="17656"/>
                    <a:pt x="81723" y="19726"/>
                    <a:pt x="82068" y="21796"/>
                  </a:cubicBezTo>
                  <a:cubicBezTo>
                    <a:pt x="82988" y="27057"/>
                    <a:pt x="83851" y="32346"/>
                    <a:pt x="84771" y="37607"/>
                  </a:cubicBezTo>
                  <a:cubicBezTo>
                    <a:pt x="84886" y="38355"/>
                    <a:pt x="85087" y="39102"/>
                    <a:pt x="85202" y="39821"/>
                  </a:cubicBezTo>
                  <a:cubicBezTo>
                    <a:pt x="85374" y="40856"/>
                    <a:pt x="85116" y="41776"/>
                    <a:pt x="84368" y="42581"/>
                  </a:cubicBezTo>
                  <a:cubicBezTo>
                    <a:pt x="80315" y="46778"/>
                    <a:pt x="76319" y="51004"/>
                    <a:pt x="72294" y="55259"/>
                  </a:cubicBezTo>
                  <a:cubicBezTo>
                    <a:pt x="66832" y="61008"/>
                    <a:pt x="61370" y="66787"/>
                    <a:pt x="55879" y="72508"/>
                  </a:cubicBezTo>
                  <a:cubicBezTo>
                    <a:pt x="55217" y="73198"/>
                    <a:pt x="55476" y="73600"/>
                    <a:pt x="55879" y="74204"/>
                  </a:cubicBezTo>
                  <a:cubicBezTo>
                    <a:pt x="59127" y="78775"/>
                    <a:pt x="62347" y="83346"/>
                    <a:pt x="65595" y="87917"/>
                  </a:cubicBezTo>
                  <a:cubicBezTo>
                    <a:pt x="78360" y="105856"/>
                    <a:pt x="91153" y="123766"/>
                    <a:pt x="103946" y="141705"/>
                  </a:cubicBezTo>
                  <a:cubicBezTo>
                    <a:pt x="104262" y="142165"/>
                    <a:pt x="104664" y="142539"/>
                    <a:pt x="105239" y="143171"/>
                  </a:cubicBezTo>
                  <a:cubicBezTo>
                    <a:pt x="103457" y="143171"/>
                    <a:pt x="101905" y="143171"/>
                    <a:pt x="100352" y="143171"/>
                  </a:cubicBezTo>
                  <a:cubicBezTo>
                    <a:pt x="91958" y="143171"/>
                    <a:pt x="83592" y="143113"/>
                    <a:pt x="75197" y="143171"/>
                  </a:cubicBezTo>
                  <a:cubicBezTo>
                    <a:pt x="73501" y="143171"/>
                    <a:pt x="72409" y="142653"/>
                    <a:pt x="71460" y="141216"/>
                  </a:cubicBezTo>
                  <a:cubicBezTo>
                    <a:pt x="64877" y="131097"/>
                    <a:pt x="58207" y="121006"/>
                    <a:pt x="51566" y="110887"/>
                  </a:cubicBezTo>
                  <a:cubicBezTo>
                    <a:pt x="46190" y="102722"/>
                    <a:pt x="40757" y="94558"/>
                    <a:pt x="35352" y="86393"/>
                  </a:cubicBezTo>
                  <a:cubicBezTo>
                    <a:pt x="35122" y="86048"/>
                    <a:pt x="34892" y="85703"/>
                    <a:pt x="34605" y="85214"/>
                  </a:cubicBezTo>
                  <a:cubicBezTo>
                    <a:pt x="33857" y="86479"/>
                    <a:pt x="34001" y="87830"/>
                    <a:pt x="33829" y="89095"/>
                  </a:cubicBezTo>
                  <a:cubicBezTo>
                    <a:pt x="32880" y="95564"/>
                    <a:pt x="32046" y="102061"/>
                    <a:pt x="31213" y="108558"/>
                  </a:cubicBezTo>
                  <a:cubicBezTo>
                    <a:pt x="30494" y="114020"/>
                    <a:pt x="29890" y="119482"/>
                    <a:pt x="29171" y="124945"/>
                  </a:cubicBezTo>
                  <a:cubicBezTo>
                    <a:pt x="28539" y="129631"/>
                    <a:pt x="27820" y="134345"/>
                    <a:pt x="27217" y="139031"/>
                  </a:cubicBezTo>
                  <a:cubicBezTo>
                    <a:pt x="27102" y="139922"/>
                    <a:pt x="26900" y="140814"/>
                    <a:pt x="26929" y="141705"/>
                  </a:cubicBezTo>
                  <a:cubicBezTo>
                    <a:pt x="26958" y="142769"/>
                    <a:pt x="26642" y="143085"/>
                    <a:pt x="25549" y="143056"/>
                  </a:cubicBezTo>
                  <a:cubicBezTo>
                    <a:pt x="17500" y="142998"/>
                    <a:pt x="9450" y="143027"/>
                    <a:pt x="1401" y="143027"/>
                  </a:cubicBezTo>
                  <a:cubicBezTo>
                    <a:pt x="394" y="143027"/>
                    <a:pt x="-8" y="142998"/>
                    <a:pt x="337" y="141705"/>
                  </a:cubicBezTo>
                  <a:cubicBezTo>
                    <a:pt x="826" y="139779"/>
                    <a:pt x="883" y="137738"/>
                    <a:pt x="1113" y="135725"/>
                  </a:cubicBezTo>
                  <a:cubicBezTo>
                    <a:pt x="1343" y="133885"/>
                    <a:pt x="1602" y="132045"/>
                    <a:pt x="1832" y="130205"/>
                  </a:cubicBezTo>
                  <a:cubicBezTo>
                    <a:pt x="2062" y="128394"/>
                    <a:pt x="2292" y="126612"/>
                    <a:pt x="2522" y="124801"/>
                  </a:cubicBezTo>
                  <a:cubicBezTo>
                    <a:pt x="2752" y="122961"/>
                    <a:pt x="3010" y="121121"/>
                    <a:pt x="3240" y="119310"/>
                  </a:cubicBezTo>
                  <a:cubicBezTo>
                    <a:pt x="3470" y="117499"/>
                    <a:pt x="3700" y="115716"/>
                    <a:pt x="3959" y="113905"/>
                  </a:cubicBezTo>
                  <a:cubicBezTo>
                    <a:pt x="4189" y="112065"/>
                    <a:pt x="4448" y="110225"/>
                    <a:pt x="4678" y="108414"/>
                  </a:cubicBezTo>
                  <a:cubicBezTo>
                    <a:pt x="4908" y="106661"/>
                    <a:pt x="5224" y="104907"/>
                    <a:pt x="5368" y="103153"/>
                  </a:cubicBezTo>
                  <a:cubicBezTo>
                    <a:pt x="5540" y="101198"/>
                    <a:pt x="5885" y="99301"/>
                    <a:pt x="6144" y="97375"/>
                  </a:cubicBezTo>
                  <a:cubicBezTo>
                    <a:pt x="6489" y="94759"/>
                    <a:pt x="6719" y="92114"/>
                    <a:pt x="7064" y="89469"/>
                  </a:cubicBezTo>
                  <a:cubicBezTo>
                    <a:pt x="7294" y="87715"/>
                    <a:pt x="7610" y="85991"/>
                    <a:pt x="7840" y="84237"/>
                  </a:cubicBezTo>
                  <a:cubicBezTo>
                    <a:pt x="8099" y="82397"/>
                    <a:pt x="8300" y="80528"/>
                    <a:pt x="8530" y="78688"/>
                  </a:cubicBezTo>
                  <a:cubicBezTo>
                    <a:pt x="8760" y="76935"/>
                    <a:pt x="8961" y="75181"/>
                    <a:pt x="9220" y="73428"/>
                  </a:cubicBezTo>
                  <a:cubicBezTo>
                    <a:pt x="9479" y="71588"/>
                    <a:pt x="9738" y="69748"/>
                    <a:pt x="9996" y="67908"/>
                  </a:cubicBezTo>
                  <a:cubicBezTo>
                    <a:pt x="10255" y="66039"/>
                    <a:pt x="10542" y="64142"/>
                    <a:pt x="10772" y="62273"/>
                  </a:cubicBezTo>
                  <a:cubicBezTo>
                    <a:pt x="11002" y="60433"/>
                    <a:pt x="11146" y="58565"/>
                    <a:pt x="11376" y="56725"/>
                  </a:cubicBezTo>
                  <a:cubicBezTo>
                    <a:pt x="11577" y="55057"/>
                    <a:pt x="11836" y="53419"/>
                    <a:pt x="12037" y="51751"/>
                  </a:cubicBezTo>
                  <a:cubicBezTo>
                    <a:pt x="12296" y="49739"/>
                    <a:pt x="12555" y="47698"/>
                    <a:pt x="12785" y="45657"/>
                  </a:cubicBezTo>
                  <a:cubicBezTo>
                    <a:pt x="13044" y="43299"/>
                    <a:pt x="13446" y="40971"/>
                    <a:pt x="13762" y="38642"/>
                  </a:cubicBezTo>
                  <a:cubicBezTo>
                    <a:pt x="14021" y="36716"/>
                    <a:pt x="14222" y="34761"/>
                    <a:pt x="14481" y="32835"/>
                  </a:cubicBezTo>
                  <a:cubicBezTo>
                    <a:pt x="14711" y="31139"/>
                    <a:pt x="14970" y="29443"/>
                    <a:pt x="15200" y="27746"/>
                  </a:cubicBezTo>
                  <a:cubicBezTo>
                    <a:pt x="15458" y="25820"/>
                    <a:pt x="15832" y="23865"/>
                    <a:pt x="15890" y="21939"/>
                  </a:cubicBezTo>
                  <a:cubicBezTo>
                    <a:pt x="15976" y="19553"/>
                    <a:pt x="16982" y="17972"/>
                    <a:pt x="19052" y="16678"/>
                  </a:cubicBezTo>
                  <a:cubicBezTo>
                    <a:pt x="25578" y="12625"/>
                    <a:pt x="31989" y="8399"/>
                    <a:pt x="38428" y="4230"/>
                  </a:cubicBezTo>
                  <a:cubicBezTo>
                    <a:pt x="40326" y="3023"/>
                    <a:pt x="42194" y="1787"/>
                    <a:pt x="44092" y="608"/>
                  </a:cubicBezTo>
                  <a:cubicBezTo>
                    <a:pt x="44437" y="407"/>
                    <a:pt x="44897" y="62"/>
                    <a:pt x="45270" y="292"/>
                  </a:cubicBezTo>
                  <a:cubicBezTo>
                    <a:pt x="45702" y="551"/>
                    <a:pt x="45270" y="982"/>
                    <a:pt x="45213" y="1327"/>
                  </a:cubicBezTo>
                  <a:cubicBezTo>
                    <a:pt x="44264" y="8629"/>
                    <a:pt x="43287" y="15902"/>
                    <a:pt x="42338" y="23204"/>
                  </a:cubicBezTo>
                  <a:cubicBezTo>
                    <a:pt x="41447" y="30133"/>
                    <a:pt x="40613" y="37061"/>
                    <a:pt x="39722" y="43961"/>
                  </a:cubicBezTo>
                  <a:cubicBezTo>
                    <a:pt x="38946" y="50026"/>
                    <a:pt x="38112" y="56092"/>
                    <a:pt x="37278" y="62158"/>
                  </a:cubicBezTo>
                  <a:cubicBezTo>
                    <a:pt x="37250" y="62446"/>
                    <a:pt x="37048" y="62733"/>
                    <a:pt x="37422" y="62877"/>
                  </a:cubicBezTo>
                  <a:cubicBezTo>
                    <a:pt x="37710" y="62992"/>
                    <a:pt x="37882" y="62819"/>
                    <a:pt x="38083" y="62561"/>
                  </a:cubicBezTo>
                  <a:cubicBezTo>
                    <a:pt x="40584" y="59801"/>
                    <a:pt x="43114" y="57041"/>
                    <a:pt x="45615" y="54252"/>
                  </a:cubicBezTo>
                  <a:cubicBezTo>
                    <a:pt x="47628" y="52010"/>
                    <a:pt x="49669" y="49796"/>
                    <a:pt x="51624" y="47468"/>
                  </a:cubicBezTo>
                  <a:cubicBezTo>
                    <a:pt x="53866" y="44823"/>
                    <a:pt x="56310" y="42379"/>
                    <a:pt x="58638" y="39821"/>
                  </a:cubicBezTo>
                  <a:cubicBezTo>
                    <a:pt x="60737" y="37521"/>
                    <a:pt x="62749" y="35135"/>
                    <a:pt x="64819" y="32806"/>
                  </a:cubicBezTo>
                  <a:cubicBezTo>
                    <a:pt x="66113" y="31340"/>
                    <a:pt x="67464" y="29931"/>
                    <a:pt x="68758" y="28494"/>
                  </a:cubicBezTo>
                  <a:cubicBezTo>
                    <a:pt x="71000" y="25993"/>
                    <a:pt x="73156" y="23434"/>
                    <a:pt x="75485" y="21019"/>
                  </a:cubicBezTo>
                  <a:cubicBezTo>
                    <a:pt x="77325" y="19208"/>
                    <a:pt x="78762" y="17110"/>
                    <a:pt x="80918" y="154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D2E29E7F-79E8-4F11-9501-5A920E615411}"/>
                </a:ext>
              </a:extLst>
            </p:cNvPr>
            <p:cNvSpPr/>
            <p:nvPr/>
          </p:nvSpPr>
          <p:spPr>
            <a:xfrm>
              <a:off x="2227813" y="2481124"/>
              <a:ext cx="61809" cy="106369"/>
            </a:xfrm>
            <a:custGeom>
              <a:avLst/>
              <a:gdLst>
                <a:gd name="connsiteX0" fmla="*/ 51174 w 61808"/>
                <a:gd name="connsiteY0" fmla="*/ 218 h 106368"/>
                <a:gd name="connsiteX1" fmla="*/ 60517 w 61808"/>
                <a:gd name="connsiteY1" fmla="*/ 218 h 106368"/>
                <a:gd name="connsiteX2" fmla="*/ 61581 w 61808"/>
                <a:gd name="connsiteY2" fmla="*/ 1454 h 106368"/>
                <a:gd name="connsiteX3" fmla="*/ 60316 w 61808"/>
                <a:gd name="connsiteY3" fmla="*/ 11056 h 106368"/>
                <a:gd name="connsiteX4" fmla="*/ 58591 w 61808"/>
                <a:gd name="connsiteY4" fmla="*/ 24165 h 106368"/>
                <a:gd name="connsiteX5" fmla="*/ 57355 w 61808"/>
                <a:gd name="connsiteY5" fmla="*/ 24711 h 106368"/>
                <a:gd name="connsiteX6" fmla="*/ 44562 w 61808"/>
                <a:gd name="connsiteY6" fmla="*/ 24740 h 106368"/>
                <a:gd name="connsiteX7" fmla="*/ 35822 w 61808"/>
                <a:gd name="connsiteY7" fmla="*/ 29139 h 106368"/>
                <a:gd name="connsiteX8" fmla="*/ 34155 w 61808"/>
                <a:gd name="connsiteY8" fmla="*/ 35090 h 106368"/>
                <a:gd name="connsiteX9" fmla="*/ 32171 w 61808"/>
                <a:gd name="connsiteY9" fmla="*/ 49751 h 106368"/>
                <a:gd name="connsiteX10" fmla="*/ 30676 w 61808"/>
                <a:gd name="connsiteY10" fmla="*/ 61768 h 106368"/>
                <a:gd name="connsiteX11" fmla="*/ 29066 w 61808"/>
                <a:gd name="connsiteY11" fmla="*/ 73756 h 106368"/>
                <a:gd name="connsiteX12" fmla="*/ 27543 w 61808"/>
                <a:gd name="connsiteY12" fmla="*/ 85457 h 106368"/>
                <a:gd name="connsiteX13" fmla="*/ 25875 w 61808"/>
                <a:gd name="connsiteY13" fmla="*/ 98020 h 106368"/>
                <a:gd name="connsiteX14" fmla="*/ 24984 w 61808"/>
                <a:gd name="connsiteY14" fmla="*/ 105236 h 106368"/>
                <a:gd name="connsiteX15" fmla="*/ 23920 w 61808"/>
                <a:gd name="connsiteY15" fmla="*/ 106299 h 106368"/>
                <a:gd name="connsiteX16" fmla="*/ 1353 w 61808"/>
                <a:gd name="connsiteY16" fmla="*/ 106299 h 106368"/>
                <a:gd name="connsiteX17" fmla="*/ 261 w 61808"/>
                <a:gd name="connsiteY17" fmla="*/ 105121 h 106368"/>
                <a:gd name="connsiteX18" fmla="*/ 1324 w 61808"/>
                <a:gd name="connsiteY18" fmla="*/ 97703 h 106368"/>
                <a:gd name="connsiteX19" fmla="*/ 2244 w 61808"/>
                <a:gd name="connsiteY19" fmla="*/ 89798 h 106368"/>
                <a:gd name="connsiteX20" fmla="*/ 2963 w 61808"/>
                <a:gd name="connsiteY20" fmla="*/ 84709 h 106368"/>
                <a:gd name="connsiteX21" fmla="*/ 3710 w 61808"/>
                <a:gd name="connsiteY21" fmla="*/ 78902 h 106368"/>
                <a:gd name="connsiteX22" fmla="*/ 4458 w 61808"/>
                <a:gd name="connsiteY22" fmla="*/ 73670 h 106368"/>
                <a:gd name="connsiteX23" fmla="*/ 5148 w 61808"/>
                <a:gd name="connsiteY23" fmla="*/ 68121 h 106368"/>
                <a:gd name="connsiteX24" fmla="*/ 5809 w 61808"/>
                <a:gd name="connsiteY24" fmla="*/ 62860 h 106368"/>
                <a:gd name="connsiteX25" fmla="*/ 6585 w 61808"/>
                <a:gd name="connsiteY25" fmla="*/ 57341 h 106368"/>
                <a:gd name="connsiteX26" fmla="*/ 7304 w 61808"/>
                <a:gd name="connsiteY26" fmla="*/ 51850 h 106368"/>
                <a:gd name="connsiteX27" fmla="*/ 8310 w 61808"/>
                <a:gd name="connsiteY27" fmla="*/ 43944 h 106368"/>
                <a:gd name="connsiteX28" fmla="*/ 9086 w 61808"/>
                <a:gd name="connsiteY28" fmla="*/ 38453 h 106368"/>
                <a:gd name="connsiteX29" fmla="*/ 10064 w 61808"/>
                <a:gd name="connsiteY29" fmla="*/ 31525 h 106368"/>
                <a:gd name="connsiteX30" fmla="*/ 16791 w 61808"/>
                <a:gd name="connsiteY30" fmla="*/ 13701 h 106368"/>
                <a:gd name="connsiteX31" fmla="*/ 28894 w 61808"/>
                <a:gd name="connsiteY31" fmla="*/ 3610 h 106368"/>
                <a:gd name="connsiteX32" fmla="*/ 41974 w 61808"/>
                <a:gd name="connsiteY32" fmla="*/ 275 h 106368"/>
                <a:gd name="connsiteX33" fmla="*/ 51174 w 61808"/>
                <a:gd name="connsiteY33" fmla="*/ 247 h 106368"/>
                <a:gd name="connsiteX34" fmla="*/ 51174 w 61808"/>
                <a:gd name="connsiteY34" fmla="*/ 218 h 10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808" h="106368">
                  <a:moveTo>
                    <a:pt x="51174" y="218"/>
                  </a:moveTo>
                  <a:cubicBezTo>
                    <a:pt x="54279" y="218"/>
                    <a:pt x="57412" y="247"/>
                    <a:pt x="60517" y="218"/>
                  </a:cubicBezTo>
                  <a:cubicBezTo>
                    <a:pt x="61437" y="218"/>
                    <a:pt x="61811" y="218"/>
                    <a:pt x="61581" y="1454"/>
                  </a:cubicBezTo>
                  <a:cubicBezTo>
                    <a:pt x="61006" y="4616"/>
                    <a:pt x="60718" y="7865"/>
                    <a:pt x="60316" y="11056"/>
                  </a:cubicBezTo>
                  <a:cubicBezTo>
                    <a:pt x="59741" y="15426"/>
                    <a:pt x="59166" y="19796"/>
                    <a:pt x="58591" y="24165"/>
                  </a:cubicBezTo>
                  <a:cubicBezTo>
                    <a:pt x="58476" y="25056"/>
                    <a:pt x="57815" y="24711"/>
                    <a:pt x="57355" y="24711"/>
                  </a:cubicBezTo>
                  <a:cubicBezTo>
                    <a:pt x="53100" y="24740"/>
                    <a:pt x="48816" y="24711"/>
                    <a:pt x="44562" y="24740"/>
                  </a:cubicBezTo>
                  <a:cubicBezTo>
                    <a:pt x="40911" y="24740"/>
                    <a:pt x="37863" y="25976"/>
                    <a:pt x="35822" y="29139"/>
                  </a:cubicBezTo>
                  <a:cubicBezTo>
                    <a:pt x="34672" y="30950"/>
                    <a:pt x="34442" y="33048"/>
                    <a:pt x="34155" y="35090"/>
                  </a:cubicBezTo>
                  <a:cubicBezTo>
                    <a:pt x="33465" y="39977"/>
                    <a:pt x="32832" y="44864"/>
                    <a:pt x="32171" y="49751"/>
                  </a:cubicBezTo>
                  <a:cubicBezTo>
                    <a:pt x="31654" y="53747"/>
                    <a:pt x="31194" y="57772"/>
                    <a:pt x="30676" y="61768"/>
                  </a:cubicBezTo>
                  <a:cubicBezTo>
                    <a:pt x="30159" y="65764"/>
                    <a:pt x="29584" y="69760"/>
                    <a:pt x="29066" y="73756"/>
                  </a:cubicBezTo>
                  <a:cubicBezTo>
                    <a:pt x="28549" y="77666"/>
                    <a:pt x="28060" y="81576"/>
                    <a:pt x="27543" y="85457"/>
                  </a:cubicBezTo>
                  <a:cubicBezTo>
                    <a:pt x="26996" y="89654"/>
                    <a:pt x="26421" y="93822"/>
                    <a:pt x="25875" y="98020"/>
                  </a:cubicBezTo>
                  <a:cubicBezTo>
                    <a:pt x="25559" y="100406"/>
                    <a:pt x="25214" y="102821"/>
                    <a:pt x="24984" y="105236"/>
                  </a:cubicBezTo>
                  <a:cubicBezTo>
                    <a:pt x="24898" y="106012"/>
                    <a:pt x="24754" y="106299"/>
                    <a:pt x="23920" y="106299"/>
                  </a:cubicBezTo>
                  <a:cubicBezTo>
                    <a:pt x="16388" y="106270"/>
                    <a:pt x="8885" y="106270"/>
                    <a:pt x="1353" y="106299"/>
                  </a:cubicBezTo>
                  <a:cubicBezTo>
                    <a:pt x="404" y="106299"/>
                    <a:pt x="88" y="105839"/>
                    <a:pt x="261" y="105121"/>
                  </a:cubicBezTo>
                  <a:cubicBezTo>
                    <a:pt x="835" y="102677"/>
                    <a:pt x="922" y="100176"/>
                    <a:pt x="1324" y="97703"/>
                  </a:cubicBezTo>
                  <a:cubicBezTo>
                    <a:pt x="1755" y="95087"/>
                    <a:pt x="1928" y="92414"/>
                    <a:pt x="2244" y="89798"/>
                  </a:cubicBezTo>
                  <a:cubicBezTo>
                    <a:pt x="2445" y="88102"/>
                    <a:pt x="2762" y="86405"/>
                    <a:pt x="2963" y="84709"/>
                  </a:cubicBezTo>
                  <a:cubicBezTo>
                    <a:pt x="3164" y="82754"/>
                    <a:pt x="3567" y="80857"/>
                    <a:pt x="3710" y="78902"/>
                  </a:cubicBezTo>
                  <a:cubicBezTo>
                    <a:pt x="3825" y="77148"/>
                    <a:pt x="4228" y="75424"/>
                    <a:pt x="4458" y="73670"/>
                  </a:cubicBezTo>
                  <a:cubicBezTo>
                    <a:pt x="4716" y="71830"/>
                    <a:pt x="4918" y="69961"/>
                    <a:pt x="5148" y="68121"/>
                  </a:cubicBezTo>
                  <a:cubicBezTo>
                    <a:pt x="5378" y="66368"/>
                    <a:pt x="5579" y="64614"/>
                    <a:pt x="5809" y="62860"/>
                  </a:cubicBezTo>
                  <a:cubicBezTo>
                    <a:pt x="6068" y="61021"/>
                    <a:pt x="6355" y="59181"/>
                    <a:pt x="6585" y="57341"/>
                  </a:cubicBezTo>
                  <a:cubicBezTo>
                    <a:pt x="6844" y="55501"/>
                    <a:pt x="7074" y="53661"/>
                    <a:pt x="7304" y="51850"/>
                  </a:cubicBezTo>
                  <a:cubicBezTo>
                    <a:pt x="7649" y="49205"/>
                    <a:pt x="7908" y="46560"/>
                    <a:pt x="8310" y="43944"/>
                  </a:cubicBezTo>
                  <a:cubicBezTo>
                    <a:pt x="8598" y="42104"/>
                    <a:pt x="8713" y="40264"/>
                    <a:pt x="9086" y="38453"/>
                  </a:cubicBezTo>
                  <a:cubicBezTo>
                    <a:pt x="9546" y="36182"/>
                    <a:pt x="9862" y="33853"/>
                    <a:pt x="10064" y="31525"/>
                  </a:cubicBezTo>
                  <a:cubicBezTo>
                    <a:pt x="10610" y="24941"/>
                    <a:pt x="12680" y="18933"/>
                    <a:pt x="16791" y="13701"/>
                  </a:cubicBezTo>
                  <a:cubicBezTo>
                    <a:pt x="20097" y="9504"/>
                    <a:pt x="24064" y="6054"/>
                    <a:pt x="28894" y="3610"/>
                  </a:cubicBezTo>
                  <a:cubicBezTo>
                    <a:pt x="33005" y="1512"/>
                    <a:pt x="37375" y="419"/>
                    <a:pt x="41974" y="275"/>
                  </a:cubicBezTo>
                  <a:cubicBezTo>
                    <a:pt x="45022" y="160"/>
                    <a:pt x="48098" y="247"/>
                    <a:pt x="51174" y="247"/>
                  </a:cubicBezTo>
                  <a:cubicBezTo>
                    <a:pt x="51174" y="247"/>
                    <a:pt x="51174" y="247"/>
                    <a:pt x="51174" y="2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E8E18310-3BAA-441D-96C0-2E60E4C8AECB}"/>
                </a:ext>
              </a:extLst>
            </p:cNvPr>
            <p:cNvSpPr/>
            <p:nvPr/>
          </p:nvSpPr>
          <p:spPr>
            <a:xfrm>
              <a:off x="2166324" y="2428150"/>
              <a:ext cx="30761" cy="29898"/>
            </a:xfrm>
            <a:custGeom>
              <a:avLst/>
              <a:gdLst>
                <a:gd name="connsiteX0" fmla="*/ 19259 w 30760"/>
                <a:gd name="connsiteY0" fmla="*/ 29877 h 29898"/>
                <a:gd name="connsiteX1" fmla="*/ 20667 w 30760"/>
                <a:gd name="connsiteY1" fmla="*/ 21569 h 29898"/>
                <a:gd name="connsiteX2" fmla="*/ 21214 w 30760"/>
                <a:gd name="connsiteY2" fmla="*/ 19011 h 29898"/>
                <a:gd name="connsiteX3" fmla="*/ 20380 w 30760"/>
                <a:gd name="connsiteY3" fmla="*/ 17947 h 29898"/>
                <a:gd name="connsiteX4" fmla="*/ 9456 w 30760"/>
                <a:gd name="connsiteY4" fmla="*/ 17947 h 29898"/>
                <a:gd name="connsiteX5" fmla="*/ 8277 w 30760"/>
                <a:gd name="connsiteY5" fmla="*/ 19355 h 29898"/>
                <a:gd name="connsiteX6" fmla="*/ 6581 w 30760"/>
                <a:gd name="connsiteY6" fmla="*/ 29130 h 29898"/>
                <a:gd name="connsiteX7" fmla="*/ 5690 w 30760"/>
                <a:gd name="connsiteY7" fmla="*/ 29877 h 29898"/>
                <a:gd name="connsiteX8" fmla="*/ 1090 w 30760"/>
                <a:gd name="connsiteY8" fmla="*/ 29877 h 29898"/>
                <a:gd name="connsiteX9" fmla="*/ 256 w 30760"/>
                <a:gd name="connsiteY9" fmla="*/ 28900 h 29898"/>
                <a:gd name="connsiteX10" fmla="*/ 2872 w 30760"/>
                <a:gd name="connsiteY10" fmla="*/ 14353 h 29898"/>
                <a:gd name="connsiteX11" fmla="*/ 5143 w 30760"/>
                <a:gd name="connsiteY11" fmla="*/ 1445 h 29898"/>
                <a:gd name="connsiteX12" fmla="*/ 6552 w 30760"/>
                <a:gd name="connsiteY12" fmla="*/ 238 h 29898"/>
                <a:gd name="connsiteX13" fmla="*/ 10720 w 30760"/>
                <a:gd name="connsiteY13" fmla="*/ 267 h 29898"/>
                <a:gd name="connsiteX14" fmla="*/ 11525 w 30760"/>
                <a:gd name="connsiteY14" fmla="*/ 1158 h 29898"/>
                <a:gd name="connsiteX15" fmla="*/ 9743 w 30760"/>
                <a:gd name="connsiteY15" fmla="*/ 10788 h 29898"/>
                <a:gd name="connsiteX16" fmla="*/ 10807 w 30760"/>
                <a:gd name="connsiteY16" fmla="*/ 12053 h 29898"/>
                <a:gd name="connsiteX17" fmla="*/ 21156 w 30760"/>
                <a:gd name="connsiteY17" fmla="*/ 12053 h 29898"/>
                <a:gd name="connsiteX18" fmla="*/ 22680 w 30760"/>
                <a:gd name="connsiteY18" fmla="*/ 10760 h 29898"/>
                <a:gd name="connsiteX19" fmla="*/ 24146 w 30760"/>
                <a:gd name="connsiteY19" fmla="*/ 1733 h 29898"/>
                <a:gd name="connsiteX20" fmla="*/ 25871 w 30760"/>
                <a:gd name="connsiteY20" fmla="*/ 238 h 29898"/>
                <a:gd name="connsiteX21" fmla="*/ 29896 w 30760"/>
                <a:gd name="connsiteY21" fmla="*/ 267 h 29898"/>
                <a:gd name="connsiteX22" fmla="*/ 30643 w 30760"/>
                <a:gd name="connsiteY22" fmla="*/ 1187 h 29898"/>
                <a:gd name="connsiteX23" fmla="*/ 26388 w 30760"/>
                <a:gd name="connsiteY23" fmla="*/ 25076 h 29898"/>
                <a:gd name="connsiteX24" fmla="*/ 25842 w 30760"/>
                <a:gd name="connsiteY24" fmla="*/ 27721 h 29898"/>
                <a:gd name="connsiteX25" fmla="*/ 23255 w 30760"/>
                <a:gd name="connsiteY25" fmla="*/ 29877 h 29898"/>
                <a:gd name="connsiteX26" fmla="*/ 19259 w 30760"/>
                <a:gd name="connsiteY26" fmla="*/ 29877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760" h="29898">
                  <a:moveTo>
                    <a:pt x="19259" y="29877"/>
                  </a:moveTo>
                  <a:cubicBezTo>
                    <a:pt x="19747" y="27031"/>
                    <a:pt x="20207" y="24300"/>
                    <a:pt x="20667" y="21569"/>
                  </a:cubicBezTo>
                  <a:cubicBezTo>
                    <a:pt x="20811" y="20707"/>
                    <a:pt x="21041" y="19844"/>
                    <a:pt x="21214" y="19011"/>
                  </a:cubicBezTo>
                  <a:cubicBezTo>
                    <a:pt x="21357" y="18321"/>
                    <a:pt x="21214" y="17947"/>
                    <a:pt x="20380" y="17947"/>
                  </a:cubicBezTo>
                  <a:cubicBezTo>
                    <a:pt x="16729" y="17976"/>
                    <a:pt x="13107" y="18004"/>
                    <a:pt x="9456" y="17947"/>
                  </a:cubicBezTo>
                  <a:cubicBezTo>
                    <a:pt x="8334" y="17918"/>
                    <a:pt x="8392" y="18694"/>
                    <a:pt x="8277" y="19355"/>
                  </a:cubicBezTo>
                  <a:cubicBezTo>
                    <a:pt x="7673" y="22604"/>
                    <a:pt x="7069" y="25853"/>
                    <a:pt x="6581" y="29130"/>
                  </a:cubicBezTo>
                  <a:cubicBezTo>
                    <a:pt x="6466" y="29791"/>
                    <a:pt x="6264" y="29906"/>
                    <a:pt x="5690" y="29877"/>
                  </a:cubicBezTo>
                  <a:cubicBezTo>
                    <a:pt x="4166" y="29849"/>
                    <a:pt x="2613" y="29849"/>
                    <a:pt x="1090" y="29877"/>
                  </a:cubicBezTo>
                  <a:cubicBezTo>
                    <a:pt x="342" y="29906"/>
                    <a:pt x="112" y="29475"/>
                    <a:pt x="256" y="28900"/>
                  </a:cubicBezTo>
                  <a:cubicBezTo>
                    <a:pt x="1320" y="24070"/>
                    <a:pt x="2010" y="19212"/>
                    <a:pt x="2872" y="14353"/>
                  </a:cubicBezTo>
                  <a:cubicBezTo>
                    <a:pt x="3648" y="10041"/>
                    <a:pt x="4482" y="5758"/>
                    <a:pt x="5143" y="1445"/>
                  </a:cubicBezTo>
                  <a:cubicBezTo>
                    <a:pt x="5258" y="755"/>
                    <a:pt x="5575" y="180"/>
                    <a:pt x="6552" y="238"/>
                  </a:cubicBezTo>
                  <a:cubicBezTo>
                    <a:pt x="7932" y="353"/>
                    <a:pt x="9341" y="267"/>
                    <a:pt x="10720" y="267"/>
                  </a:cubicBezTo>
                  <a:cubicBezTo>
                    <a:pt x="11324" y="267"/>
                    <a:pt x="11755" y="180"/>
                    <a:pt x="11525" y="1158"/>
                  </a:cubicBezTo>
                  <a:cubicBezTo>
                    <a:pt x="10835" y="4349"/>
                    <a:pt x="10318" y="7569"/>
                    <a:pt x="9743" y="10788"/>
                  </a:cubicBezTo>
                  <a:cubicBezTo>
                    <a:pt x="9599" y="11651"/>
                    <a:pt x="9743" y="12053"/>
                    <a:pt x="10807" y="12053"/>
                  </a:cubicBezTo>
                  <a:cubicBezTo>
                    <a:pt x="14257" y="11967"/>
                    <a:pt x="17706" y="11967"/>
                    <a:pt x="21156" y="12053"/>
                  </a:cubicBezTo>
                  <a:cubicBezTo>
                    <a:pt x="22220" y="12082"/>
                    <a:pt x="22594" y="11622"/>
                    <a:pt x="22680" y="10760"/>
                  </a:cubicBezTo>
                  <a:cubicBezTo>
                    <a:pt x="22967" y="7712"/>
                    <a:pt x="23887" y="4780"/>
                    <a:pt x="24146" y="1733"/>
                  </a:cubicBezTo>
                  <a:cubicBezTo>
                    <a:pt x="24203" y="928"/>
                    <a:pt x="24548" y="65"/>
                    <a:pt x="25871" y="238"/>
                  </a:cubicBezTo>
                  <a:cubicBezTo>
                    <a:pt x="27193" y="410"/>
                    <a:pt x="28544" y="324"/>
                    <a:pt x="29896" y="267"/>
                  </a:cubicBezTo>
                  <a:cubicBezTo>
                    <a:pt x="30643" y="238"/>
                    <a:pt x="30758" y="497"/>
                    <a:pt x="30643" y="1187"/>
                  </a:cubicBezTo>
                  <a:cubicBezTo>
                    <a:pt x="29206" y="9150"/>
                    <a:pt x="27797" y="17113"/>
                    <a:pt x="26388" y="25076"/>
                  </a:cubicBezTo>
                  <a:cubicBezTo>
                    <a:pt x="26245" y="25968"/>
                    <a:pt x="26015" y="26830"/>
                    <a:pt x="25842" y="27721"/>
                  </a:cubicBezTo>
                  <a:cubicBezTo>
                    <a:pt x="25411" y="29877"/>
                    <a:pt x="25411" y="29877"/>
                    <a:pt x="23255" y="29877"/>
                  </a:cubicBezTo>
                  <a:cubicBezTo>
                    <a:pt x="21904" y="29877"/>
                    <a:pt x="20581" y="29877"/>
                    <a:pt x="19259" y="298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BF9EA600-7125-4303-A59A-761A23EE05C4}"/>
                </a:ext>
              </a:extLst>
            </p:cNvPr>
            <p:cNvSpPr/>
            <p:nvPr/>
          </p:nvSpPr>
          <p:spPr>
            <a:xfrm>
              <a:off x="2089061" y="2428170"/>
              <a:ext cx="28461" cy="29898"/>
            </a:xfrm>
            <a:custGeom>
              <a:avLst/>
              <a:gdLst>
                <a:gd name="connsiteX0" fmla="*/ 216 w 28460"/>
                <a:gd name="connsiteY0" fmla="*/ 29857 h 29898"/>
                <a:gd name="connsiteX1" fmla="*/ 6569 w 28460"/>
                <a:gd name="connsiteY1" fmla="*/ 17927 h 29898"/>
                <a:gd name="connsiteX2" fmla="*/ 15481 w 28460"/>
                <a:gd name="connsiteY2" fmla="*/ 1252 h 29898"/>
                <a:gd name="connsiteX3" fmla="*/ 17235 w 28460"/>
                <a:gd name="connsiteY3" fmla="*/ 218 h 29898"/>
                <a:gd name="connsiteX4" fmla="*/ 22266 w 28460"/>
                <a:gd name="connsiteY4" fmla="*/ 246 h 29898"/>
                <a:gd name="connsiteX5" fmla="*/ 23186 w 28460"/>
                <a:gd name="connsiteY5" fmla="*/ 994 h 29898"/>
                <a:gd name="connsiteX6" fmla="*/ 26032 w 28460"/>
                <a:gd name="connsiteY6" fmla="*/ 16633 h 29898"/>
                <a:gd name="connsiteX7" fmla="*/ 28216 w 28460"/>
                <a:gd name="connsiteY7" fmla="*/ 28333 h 29898"/>
                <a:gd name="connsiteX8" fmla="*/ 27009 w 28460"/>
                <a:gd name="connsiteY8" fmla="*/ 29915 h 29898"/>
                <a:gd name="connsiteX9" fmla="*/ 22841 w 28460"/>
                <a:gd name="connsiteY9" fmla="*/ 29915 h 29898"/>
                <a:gd name="connsiteX10" fmla="*/ 21518 w 28460"/>
                <a:gd name="connsiteY10" fmla="*/ 28851 h 29898"/>
                <a:gd name="connsiteX11" fmla="*/ 20943 w 28460"/>
                <a:gd name="connsiteY11" fmla="*/ 24452 h 29898"/>
                <a:gd name="connsiteX12" fmla="*/ 20023 w 28460"/>
                <a:gd name="connsiteY12" fmla="*/ 23561 h 29898"/>
                <a:gd name="connsiteX13" fmla="*/ 11542 w 28460"/>
                <a:gd name="connsiteY13" fmla="*/ 23561 h 29898"/>
                <a:gd name="connsiteX14" fmla="*/ 10278 w 28460"/>
                <a:gd name="connsiteY14" fmla="*/ 24452 h 29898"/>
                <a:gd name="connsiteX15" fmla="*/ 7891 w 28460"/>
                <a:gd name="connsiteY15" fmla="*/ 29110 h 29898"/>
                <a:gd name="connsiteX16" fmla="*/ 6626 w 28460"/>
                <a:gd name="connsiteY16" fmla="*/ 29915 h 29898"/>
                <a:gd name="connsiteX17" fmla="*/ 216 w 28460"/>
                <a:gd name="connsiteY17" fmla="*/ 29857 h 29898"/>
                <a:gd name="connsiteX18" fmla="*/ 18471 w 28460"/>
                <a:gd name="connsiteY18" fmla="*/ 8353 h 29898"/>
                <a:gd name="connsiteX19" fmla="*/ 13814 w 28460"/>
                <a:gd name="connsiteY19" fmla="*/ 17553 h 29898"/>
                <a:gd name="connsiteX20" fmla="*/ 19046 w 28460"/>
                <a:gd name="connsiteY20" fmla="*/ 17553 h 29898"/>
                <a:gd name="connsiteX21" fmla="*/ 19764 w 28460"/>
                <a:gd name="connsiteY21" fmla="*/ 16604 h 29898"/>
                <a:gd name="connsiteX22" fmla="*/ 18471 w 28460"/>
                <a:gd name="connsiteY22" fmla="*/ 83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60" h="29898">
                  <a:moveTo>
                    <a:pt x="216" y="29857"/>
                  </a:moveTo>
                  <a:cubicBezTo>
                    <a:pt x="2372" y="25832"/>
                    <a:pt x="4470" y="21894"/>
                    <a:pt x="6569" y="17927"/>
                  </a:cubicBezTo>
                  <a:cubicBezTo>
                    <a:pt x="9530" y="12378"/>
                    <a:pt x="12549" y="6830"/>
                    <a:pt x="15481" y="1252"/>
                  </a:cubicBezTo>
                  <a:cubicBezTo>
                    <a:pt x="15883" y="476"/>
                    <a:pt x="16343" y="189"/>
                    <a:pt x="17235" y="218"/>
                  </a:cubicBezTo>
                  <a:cubicBezTo>
                    <a:pt x="18902" y="304"/>
                    <a:pt x="20598" y="246"/>
                    <a:pt x="22266" y="246"/>
                  </a:cubicBezTo>
                  <a:cubicBezTo>
                    <a:pt x="22812" y="246"/>
                    <a:pt x="23071" y="304"/>
                    <a:pt x="23186" y="994"/>
                  </a:cubicBezTo>
                  <a:cubicBezTo>
                    <a:pt x="24077" y="6197"/>
                    <a:pt x="25054" y="11429"/>
                    <a:pt x="26032" y="16633"/>
                  </a:cubicBezTo>
                  <a:cubicBezTo>
                    <a:pt x="26750" y="20543"/>
                    <a:pt x="27440" y="24424"/>
                    <a:pt x="28216" y="28333"/>
                  </a:cubicBezTo>
                  <a:cubicBezTo>
                    <a:pt x="28446" y="29455"/>
                    <a:pt x="28360" y="30030"/>
                    <a:pt x="27009" y="29915"/>
                  </a:cubicBezTo>
                  <a:cubicBezTo>
                    <a:pt x="25629" y="29800"/>
                    <a:pt x="24220" y="29800"/>
                    <a:pt x="22841" y="29915"/>
                  </a:cubicBezTo>
                  <a:cubicBezTo>
                    <a:pt x="21921" y="30001"/>
                    <a:pt x="21489" y="29426"/>
                    <a:pt x="21518" y="28851"/>
                  </a:cubicBezTo>
                  <a:cubicBezTo>
                    <a:pt x="21576" y="27327"/>
                    <a:pt x="20857" y="25947"/>
                    <a:pt x="20943" y="24452"/>
                  </a:cubicBezTo>
                  <a:cubicBezTo>
                    <a:pt x="20972" y="23762"/>
                    <a:pt x="20684" y="23561"/>
                    <a:pt x="20023" y="23561"/>
                  </a:cubicBezTo>
                  <a:cubicBezTo>
                    <a:pt x="17206" y="23590"/>
                    <a:pt x="14389" y="23590"/>
                    <a:pt x="11542" y="23561"/>
                  </a:cubicBezTo>
                  <a:cubicBezTo>
                    <a:pt x="10824" y="23561"/>
                    <a:pt x="10536" y="23906"/>
                    <a:pt x="10278" y="24452"/>
                  </a:cubicBezTo>
                  <a:cubicBezTo>
                    <a:pt x="9501" y="26005"/>
                    <a:pt x="8668" y="27557"/>
                    <a:pt x="7891" y="29110"/>
                  </a:cubicBezTo>
                  <a:cubicBezTo>
                    <a:pt x="7604" y="29656"/>
                    <a:pt x="7316" y="29943"/>
                    <a:pt x="6626" y="29915"/>
                  </a:cubicBezTo>
                  <a:cubicBezTo>
                    <a:pt x="4499" y="29828"/>
                    <a:pt x="2400" y="29857"/>
                    <a:pt x="216" y="29857"/>
                  </a:cubicBezTo>
                  <a:close/>
                  <a:moveTo>
                    <a:pt x="18471" y="8353"/>
                  </a:moveTo>
                  <a:cubicBezTo>
                    <a:pt x="16832" y="11573"/>
                    <a:pt x="15366" y="14477"/>
                    <a:pt x="13814" y="17553"/>
                  </a:cubicBezTo>
                  <a:cubicBezTo>
                    <a:pt x="15711" y="17553"/>
                    <a:pt x="17378" y="17524"/>
                    <a:pt x="19046" y="17553"/>
                  </a:cubicBezTo>
                  <a:cubicBezTo>
                    <a:pt x="19822" y="17582"/>
                    <a:pt x="19851" y="17265"/>
                    <a:pt x="19764" y="16604"/>
                  </a:cubicBezTo>
                  <a:cubicBezTo>
                    <a:pt x="19304" y="14017"/>
                    <a:pt x="18931" y="11372"/>
                    <a:pt x="18471" y="83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4850D28D-6FB3-4371-911F-E083E2DF0171}"/>
                </a:ext>
              </a:extLst>
            </p:cNvPr>
            <p:cNvSpPr/>
            <p:nvPr/>
          </p:nvSpPr>
          <p:spPr>
            <a:xfrm>
              <a:off x="2015580" y="2428103"/>
              <a:ext cx="28461" cy="29898"/>
            </a:xfrm>
            <a:custGeom>
              <a:avLst/>
              <a:gdLst>
                <a:gd name="connsiteX0" fmla="*/ 216 w 28460"/>
                <a:gd name="connsiteY0" fmla="*/ 29925 h 29898"/>
                <a:gd name="connsiteX1" fmla="*/ 4988 w 28460"/>
                <a:gd name="connsiteY1" fmla="*/ 20955 h 29898"/>
                <a:gd name="connsiteX2" fmla="*/ 14446 w 28460"/>
                <a:gd name="connsiteY2" fmla="*/ 3103 h 29898"/>
                <a:gd name="connsiteX3" fmla="*/ 14619 w 28460"/>
                <a:gd name="connsiteY3" fmla="*/ 2873 h 29898"/>
                <a:gd name="connsiteX4" fmla="*/ 19304 w 28460"/>
                <a:gd name="connsiteY4" fmla="*/ 314 h 29898"/>
                <a:gd name="connsiteX5" fmla="*/ 22898 w 28460"/>
                <a:gd name="connsiteY5" fmla="*/ 573 h 29898"/>
                <a:gd name="connsiteX6" fmla="*/ 23674 w 28460"/>
                <a:gd name="connsiteY6" fmla="*/ 3965 h 29898"/>
                <a:gd name="connsiteX7" fmla="*/ 27641 w 28460"/>
                <a:gd name="connsiteY7" fmla="*/ 25728 h 29898"/>
                <a:gd name="connsiteX8" fmla="*/ 28245 w 28460"/>
                <a:gd name="connsiteY8" fmla="*/ 29062 h 29898"/>
                <a:gd name="connsiteX9" fmla="*/ 27469 w 28460"/>
                <a:gd name="connsiteY9" fmla="*/ 29925 h 29898"/>
                <a:gd name="connsiteX10" fmla="*/ 23444 w 28460"/>
                <a:gd name="connsiteY10" fmla="*/ 29925 h 29898"/>
                <a:gd name="connsiteX11" fmla="*/ 21346 w 28460"/>
                <a:gd name="connsiteY11" fmla="*/ 27941 h 29898"/>
                <a:gd name="connsiteX12" fmla="*/ 20771 w 28460"/>
                <a:gd name="connsiteY12" fmla="*/ 24377 h 29898"/>
                <a:gd name="connsiteX13" fmla="*/ 19793 w 28460"/>
                <a:gd name="connsiteY13" fmla="*/ 23572 h 29898"/>
                <a:gd name="connsiteX14" fmla="*/ 11600 w 28460"/>
                <a:gd name="connsiteY14" fmla="*/ 23572 h 29898"/>
                <a:gd name="connsiteX15" fmla="*/ 10191 w 28460"/>
                <a:gd name="connsiteY15" fmla="*/ 24463 h 29898"/>
                <a:gd name="connsiteX16" fmla="*/ 7834 w 28460"/>
                <a:gd name="connsiteY16" fmla="*/ 29149 h 29898"/>
                <a:gd name="connsiteX17" fmla="*/ 6971 w 28460"/>
                <a:gd name="connsiteY17" fmla="*/ 29925 h 29898"/>
                <a:gd name="connsiteX18" fmla="*/ 216 w 28460"/>
                <a:gd name="connsiteY18" fmla="*/ 29925 h 29898"/>
                <a:gd name="connsiteX19" fmla="*/ 18442 w 28460"/>
                <a:gd name="connsiteY19" fmla="*/ 8479 h 29898"/>
                <a:gd name="connsiteX20" fmla="*/ 14504 w 28460"/>
                <a:gd name="connsiteY20" fmla="*/ 16269 h 29898"/>
                <a:gd name="connsiteX21" fmla="*/ 15423 w 28460"/>
                <a:gd name="connsiteY21" fmla="*/ 17649 h 29898"/>
                <a:gd name="connsiteX22" fmla="*/ 17580 w 28460"/>
                <a:gd name="connsiteY22" fmla="*/ 17649 h 29898"/>
                <a:gd name="connsiteX23" fmla="*/ 19563 w 28460"/>
                <a:gd name="connsiteY23" fmla="*/ 15350 h 29898"/>
                <a:gd name="connsiteX24" fmla="*/ 18442 w 28460"/>
                <a:gd name="connsiteY24" fmla="*/ 8479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460" h="29898">
                  <a:moveTo>
                    <a:pt x="216" y="29925"/>
                  </a:moveTo>
                  <a:cubicBezTo>
                    <a:pt x="1883" y="26791"/>
                    <a:pt x="3435" y="23859"/>
                    <a:pt x="4988" y="20955"/>
                  </a:cubicBezTo>
                  <a:cubicBezTo>
                    <a:pt x="8150" y="15005"/>
                    <a:pt x="11485" y="9140"/>
                    <a:pt x="14446" y="3103"/>
                  </a:cubicBezTo>
                  <a:cubicBezTo>
                    <a:pt x="14475" y="3017"/>
                    <a:pt x="14590" y="2959"/>
                    <a:pt x="14619" y="2873"/>
                  </a:cubicBezTo>
                  <a:cubicBezTo>
                    <a:pt x="15395" y="602"/>
                    <a:pt x="17005" y="-60"/>
                    <a:pt x="19304" y="314"/>
                  </a:cubicBezTo>
                  <a:cubicBezTo>
                    <a:pt x="20512" y="515"/>
                    <a:pt x="22064" y="-175"/>
                    <a:pt x="22898" y="573"/>
                  </a:cubicBezTo>
                  <a:cubicBezTo>
                    <a:pt x="23674" y="1263"/>
                    <a:pt x="23473" y="2787"/>
                    <a:pt x="23674" y="3965"/>
                  </a:cubicBezTo>
                  <a:cubicBezTo>
                    <a:pt x="24968" y="11239"/>
                    <a:pt x="26319" y="18483"/>
                    <a:pt x="27641" y="25728"/>
                  </a:cubicBezTo>
                  <a:cubicBezTo>
                    <a:pt x="27843" y="26849"/>
                    <a:pt x="27900" y="27999"/>
                    <a:pt x="28245" y="29062"/>
                  </a:cubicBezTo>
                  <a:cubicBezTo>
                    <a:pt x="28561" y="30040"/>
                    <a:pt x="28044" y="29925"/>
                    <a:pt x="27469" y="29925"/>
                  </a:cubicBezTo>
                  <a:cubicBezTo>
                    <a:pt x="26118" y="29925"/>
                    <a:pt x="24795" y="29925"/>
                    <a:pt x="23444" y="29925"/>
                  </a:cubicBezTo>
                  <a:cubicBezTo>
                    <a:pt x="21604" y="29925"/>
                    <a:pt x="21403" y="29752"/>
                    <a:pt x="21346" y="27941"/>
                  </a:cubicBezTo>
                  <a:cubicBezTo>
                    <a:pt x="21317" y="26734"/>
                    <a:pt x="21029" y="25555"/>
                    <a:pt x="20771" y="24377"/>
                  </a:cubicBezTo>
                  <a:cubicBezTo>
                    <a:pt x="20627" y="23658"/>
                    <a:pt x="20397" y="23572"/>
                    <a:pt x="19793" y="23572"/>
                  </a:cubicBezTo>
                  <a:cubicBezTo>
                    <a:pt x="17062" y="23600"/>
                    <a:pt x="14331" y="23600"/>
                    <a:pt x="11600" y="23572"/>
                  </a:cubicBezTo>
                  <a:cubicBezTo>
                    <a:pt x="10881" y="23572"/>
                    <a:pt x="10479" y="23802"/>
                    <a:pt x="10191" y="24463"/>
                  </a:cubicBezTo>
                  <a:cubicBezTo>
                    <a:pt x="9444" y="26044"/>
                    <a:pt x="8639" y="27568"/>
                    <a:pt x="7834" y="29149"/>
                  </a:cubicBezTo>
                  <a:cubicBezTo>
                    <a:pt x="7633" y="29522"/>
                    <a:pt x="7518" y="29925"/>
                    <a:pt x="6971" y="29925"/>
                  </a:cubicBezTo>
                  <a:cubicBezTo>
                    <a:pt x="4787" y="29925"/>
                    <a:pt x="2602" y="29925"/>
                    <a:pt x="216" y="29925"/>
                  </a:cubicBezTo>
                  <a:close/>
                  <a:moveTo>
                    <a:pt x="18442" y="8479"/>
                  </a:moveTo>
                  <a:cubicBezTo>
                    <a:pt x="17005" y="11325"/>
                    <a:pt x="15740" y="13797"/>
                    <a:pt x="14504" y="16269"/>
                  </a:cubicBezTo>
                  <a:cubicBezTo>
                    <a:pt x="13814" y="17649"/>
                    <a:pt x="13814" y="17649"/>
                    <a:pt x="15423" y="17649"/>
                  </a:cubicBezTo>
                  <a:cubicBezTo>
                    <a:pt x="16142" y="17649"/>
                    <a:pt x="16861" y="17649"/>
                    <a:pt x="17580" y="17649"/>
                  </a:cubicBezTo>
                  <a:cubicBezTo>
                    <a:pt x="19879" y="17649"/>
                    <a:pt x="19908" y="17649"/>
                    <a:pt x="19563" y="15350"/>
                  </a:cubicBezTo>
                  <a:cubicBezTo>
                    <a:pt x="19218" y="13193"/>
                    <a:pt x="18845" y="11037"/>
                    <a:pt x="18442" y="84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755AB119-4FC3-4017-9A90-22E1C2920BED}"/>
                </a:ext>
              </a:extLst>
            </p:cNvPr>
            <p:cNvSpPr/>
            <p:nvPr/>
          </p:nvSpPr>
          <p:spPr>
            <a:xfrm>
              <a:off x="2210062" y="2428201"/>
              <a:ext cx="22136" cy="29898"/>
            </a:xfrm>
            <a:custGeom>
              <a:avLst/>
              <a:gdLst>
                <a:gd name="connsiteX0" fmla="*/ 21921 w 22136"/>
                <a:gd name="connsiteY0" fmla="*/ 216 h 29898"/>
                <a:gd name="connsiteX1" fmla="*/ 21144 w 22136"/>
                <a:gd name="connsiteY1" fmla="*/ 4815 h 29898"/>
                <a:gd name="connsiteX2" fmla="*/ 19563 w 22136"/>
                <a:gd name="connsiteY2" fmla="*/ 6253 h 29898"/>
                <a:gd name="connsiteX3" fmla="*/ 11801 w 22136"/>
                <a:gd name="connsiteY3" fmla="*/ 6224 h 29898"/>
                <a:gd name="connsiteX4" fmla="*/ 10450 w 22136"/>
                <a:gd name="connsiteY4" fmla="*/ 7345 h 29898"/>
                <a:gd name="connsiteX5" fmla="*/ 9818 w 22136"/>
                <a:gd name="connsiteY5" fmla="*/ 10967 h 29898"/>
                <a:gd name="connsiteX6" fmla="*/ 10738 w 22136"/>
                <a:gd name="connsiteY6" fmla="*/ 11974 h 29898"/>
                <a:gd name="connsiteX7" fmla="*/ 17925 w 22136"/>
                <a:gd name="connsiteY7" fmla="*/ 11945 h 29898"/>
                <a:gd name="connsiteX8" fmla="*/ 18845 w 22136"/>
                <a:gd name="connsiteY8" fmla="*/ 12951 h 29898"/>
                <a:gd name="connsiteX9" fmla="*/ 18183 w 22136"/>
                <a:gd name="connsiteY9" fmla="*/ 16890 h 29898"/>
                <a:gd name="connsiteX10" fmla="*/ 16861 w 22136"/>
                <a:gd name="connsiteY10" fmla="*/ 17953 h 29898"/>
                <a:gd name="connsiteX11" fmla="*/ 9530 w 22136"/>
                <a:gd name="connsiteY11" fmla="*/ 17925 h 29898"/>
                <a:gd name="connsiteX12" fmla="*/ 8409 w 22136"/>
                <a:gd name="connsiteY12" fmla="*/ 18816 h 29898"/>
                <a:gd name="connsiteX13" fmla="*/ 7661 w 22136"/>
                <a:gd name="connsiteY13" fmla="*/ 22697 h 29898"/>
                <a:gd name="connsiteX14" fmla="*/ 8610 w 22136"/>
                <a:gd name="connsiteY14" fmla="*/ 23875 h 29898"/>
                <a:gd name="connsiteX15" fmla="*/ 16660 w 22136"/>
                <a:gd name="connsiteY15" fmla="*/ 23847 h 29898"/>
                <a:gd name="connsiteX16" fmla="*/ 17608 w 22136"/>
                <a:gd name="connsiteY16" fmla="*/ 24910 h 29898"/>
                <a:gd name="connsiteX17" fmla="*/ 16832 w 22136"/>
                <a:gd name="connsiteY17" fmla="*/ 29079 h 29898"/>
                <a:gd name="connsiteX18" fmla="*/ 16113 w 22136"/>
                <a:gd name="connsiteY18" fmla="*/ 29855 h 29898"/>
                <a:gd name="connsiteX19" fmla="*/ 216 w 22136"/>
                <a:gd name="connsiteY19" fmla="*/ 29855 h 29898"/>
                <a:gd name="connsiteX20" fmla="*/ 1653 w 22136"/>
                <a:gd name="connsiteY20" fmla="*/ 22237 h 29898"/>
                <a:gd name="connsiteX21" fmla="*/ 3234 w 22136"/>
                <a:gd name="connsiteY21" fmla="*/ 13095 h 29898"/>
                <a:gd name="connsiteX22" fmla="*/ 5045 w 22136"/>
                <a:gd name="connsiteY22" fmla="*/ 2142 h 29898"/>
                <a:gd name="connsiteX23" fmla="*/ 7288 w 22136"/>
                <a:gd name="connsiteY23" fmla="*/ 244 h 29898"/>
                <a:gd name="connsiteX24" fmla="*/ 20368 w 22136"/>
                <a:gd name="connsiteY24" fmla="*/ 244 h 29898"/>
                <a:gd name="connsiteX25" fmla="*/ 21921 w 22136"/>
                <a:gd name="connsiteY25" fmla="*/ 216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136" h="29898">
                  <a:moveTo>
                    <a:pt x="21921" y="216"/>
                  </a:moveTo>
                  <a:cubicBezTo>
                    <a:pt x="21633" y="1826"/>
                    <a:pt x="21317" y="3320"/>
                    <a:pt x="21144" y="4815"/>
                  </a:cubicBezTo>
                  <a:cubicBezTo>
                    <a:pt x="21029" y="5850"/>
                    <a:pt x="20684" y="6282"/>
                    <a:pt x="19563" y="6253"/>
                  </a:cubicBezTo>
                  <a:cubicBezTo>
                    <a:pt x="16976" y="6167"/>
                    <a:pt x="14389" y="6253"/>
                    <a:pt x="11801" y="6224"/>
                  </a:cubicBezTo>
                  <a:cubicBezTo>
                    <a:pt x="10967" y="6224"/>
                    <a:pt x="10479" y="6310"/>
                    <a:pt x="10450" y="7345"/>
                  </a:cubicBezTo>
                  <a:cubicBezTo>
                    <a:pt x="10393" y="8553"/>
                    <a:pt x="10134" y="9789"/>
                    <a:pt x="9818" y="10967"/>
                  </a:cubicBezTo>
                  <a:cubicBezTo>
                    <a:pt x="9588" y="11887"/>
                    <a:pt x="9961" y="12002"/>
                    <a:pt x="10738" y="11974"/>
                  </a:cubicBezTo>
                  <a:cubicBezTo>
                    <a:pt x="13124" y="11945"/>
                    <a:pt x="15538" y="12002"/>
                    <a:pt x="17925" y="11945"/>
                  </a:cubicBezTo>
                  <a:cubicBezTo>
                    <a:pt x="18758" y="11916"/>
                    <a:pt x="18988" y="12175"/>
                    <a:pt x="18845" y="12951"/>
                  </a:cubicBezTo>
                  <a:cubicBezTo>
                    <a:pt x="18615" y="14245"/>
                    <a:pt x="18413" y="15567"/>
                    <a:pt x="18183" y="16890"/>
                  </a:cubicBezTo>
                  <a:cubicBezTo>
                    <a:pt x="18068" y="17608"/>
                    <a:pt x="17752" y="17982"/>
                    <a:pt x="16861" y="17953"/>
                  </a:cubicBezTo>
                  <a:cubicBezTo>
                    <a:pt x="14417" y="17867"/>
                    <a:pt x="11974" y="17925"/>
                    <a:pt x="9530" y="17925"/>
                  </a:cubicBezTo>
                  <a:cubicBezTo>
                    <a:pt x="8898" y="17925"/>
                    <a:pt x="8495" y="17982"/>
                    <a:pt x="8409" y="18816"/>
                  </a:cubicBezTo>
                  <a:cubicBezTo>
                    <a:pt x="8265" y="20138"/>
                    <a:pt x="7949" y="21403"/>
                    <a:pt x="7661" y="22697"/>
                  </a:cubicBezTo>
                  <a:cubicBezTo>
                    <a:pt x="7460" y="23559"/>
                    <a:pt x="7661" y="23875"/>
                    <a:pt x="8610" y="23875"/>
                  </a:cubicBezTo>
                  <a:cubicBezTo>
                    <a:pt x="11284" y="23818"/>
                    <a:pt x="13986" y="23875"/>
                    <a:pt x="16660" y="23847"/>
                  </a:cubicBezTo>
                  <a:cubicBezTo>
                    <a:pt x="17493" y="23847"/>
                    <a:pt x="17810" y="24048"/>
                    <a:pt x="17608" y="24910"/>
                  </a:cubicBezTo>
                  <a:cubicBezTo>
                    <a:pt x="17321" y="26290"/>
                    <a:pt x="17033" y="27699"/>
                    <a:pt x="16832" y="29079"/>
                  </a:cubicBezTo>
                  <a:cubicBezTo>
                    <a:pt x="16746" y="29568"/>
                    <a:pt x="16688" y="29855"/>
                    <a:pt x="16113" y="29855"/>
                  </a:cubicBezTo>
                  <a:cubicBezTo>
                    <a:pt x="10824" y="29826"/>
                    <a:pt x="5505" y="29855"/>
                    <a:pt x="216" y="29855"/>
                  </a:cubicBezTo>
                  <a:cubicBezTo>
                    <a:pt x="704" y="27239"/>
                    <a:pt x="1193" y="24738"/>
                    <a:pt x="1653" y="22237"/>
                  </a:cubicBezTo>
                  <a:cubicBezTo>
                    <a:pt x="2199" y="19190"/>
                    <a:pt x="2717" y="16142"/>
                    <a:pt x="3234" y="13095"/>
                  </a:cubicBezTo>
                  <a:cubicBezTo>
                    <a:pt x="3838" y="9444"/>
                    <a:pt x="4499" y="5793"/>
                    <a:pt x="5045" y="2142"/>
                  </a:cubicBezTo>
                  <a:cubicBezTo>
                    <a:pt x="5333" y="244"/>
                    <a:pt x="5275" y="244"/>
                    <a:pt x="7288" y="244"/>
                  </a:cubicBezTo>
                  <a:cubicBezTo>
                    <a:pt x="11657" y="244"/>
                    <a:pt x="15998" y="244"/>
                    <a:pt x="20368" y="244"/>
                  </a:cubicBezTo>
                  <a:cubicBezTo>
                    <a:pt x="20857" y="216"/>
                    <a:pt x="21374" y="216"/>
                    <a:pt x="21921" y="2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DA469AE1-8B6E-4429-AC50-30C23BDF6666}"/>
                </a:ext>
              </a:extLst>
            </p:cNvPr>
            <p:cNvSpPr/>
            <p:nvPr/>
          </p:nvSpPr>
          <p:spPr>
            <a:xfrm>
              <a:off x="2058518" y="2428172"/>
              <a:ext cx="23286" cy="29898"/>
            </a:xfrm>
            <a:custGeom>
              <a:avLst/>
              <a:gdLst>
                <a:gd name="connsiteX0" fmla="*/ 11267 w 23286"/>
                <a:gd name="connsiteY0" fmla="*/ 273 h 29898"/>
                <a:gd name="connsiteX1" fmla="*/ 16930 w 23286"/>
                <a:gd name="connsiteY1" fmla="*/ 503 h 29898"/>
                <a:gd name="connsiteX2" fmla="*/ 23284 w 23286"/>
                <a:gd name="connsiteY2" fmla="*/ 8466 h 29898"/>
                <a:gd name="connsiteX3" fmla="*/ 17936 w 23286"/>
                <a:gd name="connsiteY3" fmla="*/ 17695 h 29898"/>
                <a:gd name="connsiteX4" fmla="*/ 12072 w 23286"/>
                <a:gd name="connsiteY4" fmla="*/ 18988 h 29898"/>
                <a:gd name="connsiteX5" fmla="*/ 8449 w 23286"/>
                <a:gd name="connsiteY5" fmla="*/ 19190 h 29898"/>
                <a:gd name="connsiteX6" fmla="*/ 7616 w 23286"/>
                <a:gd name="connsiteY6" fmla="*/ 22697 h 29898"/>
                <a:gd name="connsiteX7" fmla="*/ 6495 w 23286"/>
                <a:gd name="connsiteY7" fmla="*/ 29108 h 29898"/>
                <a:gd name="connsiteX8" fmla="*/ 5546 w 23286"/>
                <a:gd name="connsiteY8" fmla="*/ 29855 h 29898"/>
                <a:gd name="connsiteX9" fmla="*/ 1090 w 23286"/>
                <a:gd name="connsiteY9" fmla="*/ 29855 h 29898"/>
                <a:gd name="connsiteX10" fmla="*/ 256 w 23286"/>
                <a:gd name="connsiteY10" fmla="*/ 28849 h 29898"/>
                <a:gd name="connsiteX11" fmla="*/ 1607 w 23286"/>
                <a:gd name="connsiteY11" fmla="*/ 21518 h 29898"/>
                <a:gd name="connsiteX12" fmla="*/ 3102 w 23286"/>
                <a:gd name="connsiteY12" fmla="*/ 13037 h 29898"/>
                <a:gd name="connsiteX13" fmla="*/ 4655 w 23286"/>
                <a:gd name="connsiteY13" fmla="*/ 3895 h 29898"/>
                <a:gd name="connsiteX14" fmla="*/ 5086 w 23286"/>
                <a:gd name="connsiteY14" fmla="*/ 1423 h 29898"/>
                <a:gd name="connsiteX15" fmla="*/ 6437 w 23286"/>
                <a:gd name="connsiteY15" fmla="*/ 216 h 29898"/>
                <a:gd name="connsiteX16" fmla="*/ 11267 w 23286"/>
                <a:gd name="connsiteY16" fmla="*/ 273 h 29898"/>
                <a:gd name="connsiteX17" fmla="*/ 13049 w 23286"/>
                <a:gd name="connsiteY17" fmla="*/ 6253 h 29898"/>
                <a:gd name="connsiteX18" fmla="*/ 12043 w 23286"/>
                <a:gd name="connsiteY18" fmla="*/ 6253 h 29898"/>
                <a:gd name="connsiteX19" fmla="*/ 10261 w 23286"/>
                <a:gd name="connsiteY19" fmla="*/ 7748 h 29898"/>
                <a:gd name="connsiteX20" fmla="*/ 9513 w 23286"/>
                <a:gd name="connsiteY20" fmla="*/ 12117 h 29898"/>
                <a:gd name="connsiteX21" fmla="*/ 10059 w 23286"/>
                <a:gd name="connsiteY21" fmla="*/ 13095 h 29898"/>
                <a:gd name="connsiteX22" fmla="*/ 13912 w 23286"/>
                <a:gd name="connsiteY22" fmla="*/ 12951 h 29898"/>
                <a:gd name="connsiteX23" fmla="*/ 16873 w 23286"/>
                <a:gd name="connsiteY23" fmla="*/ 8668 h 29898"/>
                <a:gd name="connsiteX24" fmla="*/ 13480 w 23286"/>
                <a:gd name="connsiteY24" fmla="*/ 6282 h 29898"/>
                <a:gd name="connsiteX25" fmla="*/ 13049 w 23286"/>
                <a:gd name="connsiteY25" fmla="*/ 62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86" h="29898">
                  <a:moveTo>
                    <a:pt x="11267" y="273"/>
                  </a:moveTo>
                  <a:cubicBezTo>
                    <a:pt x="12934" y="417"/>
                    <a:pt x="14918" y="187"/>
                    <a:pt x="16930" y="503"/>
                  </a:cubicBezTo>
                  <a:cubicBezTo>
                    <a:pt x="20552" y="1078"/>
                    <a:pt x="23399" y="4039"/>
                    <a:pt x="23284" y="8466"/>
                  </a:cubicBezTo>
                  <a:cubicBezTo>
                    <a:pt x="23197" y="12491"/>
                    <a:pt x="21559" y="15682"/>
                    <a:pt x="17936" y="17695"/>
                  </a:cubicBezTo>
                  <a:cubicBezTo>
                    <a:pt x="16096" y="18730"/>
                    <a:pt x="14113" y="18960"/>
                    <a:pt x="12072" y="18988"/>
                  </a:cubicBezTo>
                  <a:cubicBezTo>
                    <a:pt x="10836" y="19017"/>
                    <a:pt x="9312" y="18500"/>
                    <a:pt x="8449" y="19190"/>
                  </a:cubicBezTo>
                  <a:cubicBezTo>
                    <a:pt x="7616" y="19880"/>
                    <a:pt x="7846" y="21489"/>
                    <a:pt x="7616" y="22697"/>
                  </a:cubicBezTo>
                  <a:cubicBezTo>
                    <a:pt x="7242" y="24824"/>
                    <a:pt x="6840" y="26980"/>
                    <a:pt x="6495" y="29108"/>
                  </a:cubicBezTo>
                  <a:cubicBezTo>
                    <a:pt x="6408" y="29769"/>
                    <a:pt x="6092" y="29855"/>
                    <a:pt x="5546" y="29855"/>
                  </a:cubicBezTo>
                  <a:cubicBezTo>
                    <a:pt x="4051" y="29826"/>
                    <a:pt x="2585" y="29798"/>
                    <a:pt x="1090" y="29855"/>
                  </a:cubicBezTo>
                  <a:cubicBezTo>
                    <a:pt x="227" y="29884"/>
                    <a:pt x="141" y="29510"/>
                    <a:pt x="256" y="28849"/>
                  </a:cubicBezTo>
                  <a:cubicBezTo>
                    <a:pt x="716" y="26405"/>
                    <a:pt x="1176" y="23962"/>
                    <a:pt x="1607" y="21518"/>
                  </a:cubicBezTo>
                  <a:cubicBezTo>
                    <a:pt x="2125" y="18701"/>
                    <a:pt x="2614" y="15884"/>
                    <a:pt x="3102" y="13037"/>
                  </a:cubicBezTo>
                  <a:cubicBezTo>
                    <a:pt x="3620" y="9990"/>
                    <a:pt x="4137" y="6943"/>
                    <a:pt x="4655" y="3895"/>
                  </a:cubicBezTo>
                  <a:cubicBezTo>
                    <a:pt x="4798" y="3062"/>
                    <a:pt x="5172" y="2228"/>
                    <a:pt x="5086" y="1423"/>
                  </a:cubicBezTo>
                  <a:cubicBezTo>
                    <a:pt x="4971" y="187"/>
                    <a:pt x="5603" y="216"/>
                    <a:pt x="6437" y="216"/>
                  </a:cubicBezTo>
                  <a:cubicBezTo>
                    <a:pt x="7961" y="273"/>
                    <a:pt x="9456" y="273"/>
                    <a:pt x="11267" y="273"/>
                  </a:cubicBezTo>
                  <a:close/>
                  <a:moveTo>
                    <a:pt x="13049" y="6253"/>
                  </a:moveTo>
                  <a:cubicBezTo>
                    <a:pt x="12704" y="6253"/>
                    <a:pt x="12359" y="6310"/>
                    <a:pt x="12043" y="6253"/>
                  </a:cubicBezTo>
                  <a:cubicBezTo>
                    <a:pt x="10778" y="5994"/>
                    <a:pt x="10404" y="6627"/>
                    <a:pt x="10261" y="7748"/>
                  </a:cubicBezTo>
                  <a:cubicBezTo>
                    <a:pt x="10088" y="9214"/>
                    <a:pt x="9772" y="10651"/>
                    <a:pt x="9513" y="12117"/>
                  </a:cubicBezTo>
                  <a:cubicBezTo>
                    <a:pt x="9427" y="12606"/>
                    <a:pt x="9254" y="13095"/>
                    <a:pt x="10059" y="13095"/>
                  </a:cubicBezTo>
                  <a:cubicBezTo>
                    <a:pt x="11353" y="13066"/>
                    <a:pt x="12647" y="13210"/>
                    <a:pt x="13912" y="12951"/>
                  </a:cubicBezTo>
                  <a:cubicBezTo>
                    <a:pt x="15838" y="12549"/>
                    <a:pt x="17045" y="10795"/>
                    <a:pt x="16873" y="8668"/>
                  </a:cubicBezTo>
                  <a:cubicBezTo>
                    <a:pt x="16729" y="6943"/>
                    <a:pt x="15780" y="6282"/>
                    <a:pt x="13480" y="6282"/>
                  </a:cubicBezTo>
                  <a:cubicBezTo>
                    <a:pt x="13337" y="6253"/>
                    <a:pt x="13193" y="6253"/>
                    <a:pt x="13049" y="62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5A59545B-D1B1-47FD-84FA-08E0DBB2FBF7}"/>
                </a:ext>
              </a:extLst>
            </p:cNvPr>
            <p:cNvSpPr/>
            <p:nvPr/>
          </p:nvSpPr>
          <p:spPr>
            <a:xfrm>
              <a:off x="2130309" y="2427741"/>
              <a:ext cx="23861" cy="30761"/>
            </a:xfrm>
            <a:custGeom>
              <a:avLst/>
              <a:gdLst>
                <a:gd name="connsiteX0" fmla="*/ 22875 w 23861"/>
                <a:gd name="connsiteY0" fmla="*/ 8812 h 30760"/>
                <a:gd name="connsiteX1" fmla="*/ 6805 w 23861"/>
                <a:gd name="connsiteY1" fmla="*/ 15798 h 30760"/>
                <a:gd name="connsiteX2" fmla="*/ 12008 w 23861"/>
                <a:gd name="connsiteY2" fmla="*/ 24394 h 30760"/>
                <a:gd name="connsiteX3" fmla="*/ 19310 w 23861"/>
                <a:gd name="connsiteY3" fmla="*/ 22899 h 30760"/>
                <a:gd name="connsiteX4" fmla="*/ 20316 w 23861"/>
                <a:gd name="connsiteY4" fmla="*/ 22582 h 30760"/>
                <a:gd name="connsiteX5" fmla="*/ 20403 w 23861"/>
                <a:gd name="connsiteY5" fmla="*/ 23646 h 30760"/>
                <a:gd name="connsiteX6" fmla="*/ 19885 w 23861"/>
                <a:gd name="connsiteY6" fmla="*/ 28160 h 30760"/>
                <a:gd name="connsiteX7" fmla="*/ 17355 w 23861"/>
                <a:gd name="connsiteY7" fmla="*/ 30143 h 30760"/>
                <a:gd name="connsiteX8" fmla="*/ 4361 w 23861"/>
                <a:gd name="connsiteY8" fmla="*/ 27700 h 30760"/>
                <a:gd name="connsiteX9" fmla="*/ 365 w 23861"/>
                <a:gd name="connsiteY9" fmla="*/ 19679 h 30760"/>
                <a:gd name="connsiteX10" fmla="*/ 1831 w 23861"/>
                <a:gd name="connsiteY10" fmla="*/ 10336 h 30760"/>
                <a:gd name="connsiteX11" fmla="*/ 7811 w 23861"/>
                <a:gd name="connsiteY11" fmla="*/ 3177 h 30760"/>
                <a:gd name="connsiteX12" fmla="*/ 21869 w 23861"/>
                <a:gd name="connsiteY12" fmla="*/ 906 h 30760"/>
                <a:gd name="connsiteX13" fmla="*/ 23651 w 23861"/>
                <a:gd name="connsiteY13" fmla="*/ 3407 h 30760"/>
                <a:gd name="connsiteX14" fmla="*/ 22875 w 23861"/>
                <a:gd name="connsiteY14" fmla="*/ 8812 h 3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861" h="30760">
                  <a:moveTo>
                    <a:pt x="22875" y="8812"/>
                  </a:moveTo>
                  <a:cubicBezTo>
                    <a:pt x="15803" y="3149"/>
                    <a:pt x="7495" y="8869"/>
                    <a:pt x="6805" y="15798"/>
                  </a:cubicBezTo>
                  <a:cubicBezTo>
                    <a:pt x="6345" y="20426"/>
                    <a:pt x="8903" y="23819"/>
                    <a:pt x="12008" y="24394"/>
                  </a:cubicBezTo>
                  <a:cubicBezTo>
                    <a:pt x="14653" y="24911"/>
                    <a:pt x="17068" y="24279"/>
                    <a:pt x="19310" y="22899"/>
                  </a:cubicBezTo>
                  <a:cubicBezTo>
                    <a:pt x="19655" y="22697"/>
                    <a:pt x="20029" y="22352"/>
                    <a:pt x="20316" y="22582"/>
                  </a:cubicBezTo>
                  <a:cubicBezTo>
                    <a:pt x="20518" y="22755"/>
                    <a:pt x="20431" y="23301"/>
                    <a:pt x="20403" y="23646"/>
                  </a:cubicBezTo>
                  <a:cubicBezTo>
                    <a:pt x="20230" y="25141"/>
                    <a:pt x="19943" y="26665"/>
                    <a:pt x="19885" y="28160"/>
                  </a:cubicBezTo>
                  <a:cubicBezTo>
                    <a:pt x="19828" y="29913"/>
                    <a:pt x="18247" y="29913"/>
                    <a:pt x="17355" y="30143"/>
                  </a:cubicBezTo>
                  <a:cubicBezTo>
                    <a:pt x="12698" y="31322"/>
                    <a:pt x="8098" y="31149"/>
                    <a:pt x="4361" y="27700"/>
                  </a:cubicBezTo>
                  <a:cubicBezTo>
                    <a:pt x="2090" y="25601"/>
                    <a:pt x="796" y="22870"/>
                    <a:pt x="365" y="19679"/>
                  </a:cubicBezTo>
                  <a:cubicBezTo>
                    <a:pt x="-95" y="16344"/>
                    <a:pt x="538" y="13325"/>
                    <a:pt x="1831" y="10336"/>
                  </a:cubicBezTo>
                  <a:cubicBezTo>
                    <a:pt x="3096" y="7375"/>
                    <a:pt x="5137" y="4931"/>
                    <a:pt x="7811" y="3177"/>
                  </a:cubicBezTo>
                  <a:cubicBezTo>
                    <a:pt x="12123" y="360"/>
                    <a:pt x="16809" y="-560"/>
                    <a:pt x="21869" y="906"/>
                  </a:cubicBezTo>
                  <a:cubicBezTo>
                    <a:pt x="23220" y="1309"/>
                    <a:pt x="23968" y="1797"/>
                    <a:pt x="23651" y="3407"/>
                  </a:cubicBezTo>
                  <a:cubicBezTo>
                    <a:pt x="23220" y="5161"/>
                    <a:pt x="23105" y="6915"/>
                    <a:pt x="22875" y="881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C71315DF-5FB7-4E22-BA4F-8644F679544F}"/>
                </a:ext>
              </a:extLst>
            </p:cNvPr>
            <p:cNvSpPr/>
            <p:nvPr/>
          </p:nvSpPr>
          <p:spPr>
            <a:xfrm>
              <a:off x="2409286" y="2574692"/>
              <a:ext cx="14087" cy="12937"/>
            </a:xfrm>
            <a:custGeom>
              <a:avLst/>
              <a:gdLst>
                <a:gd name="connsiteX0" fmla="*/ 11458 w 14086"/>
                <a:gd name="connsiteY0" fmla="*/ 3303 h 12936"/>
                <a:gd name="connsiteX1" fmla="*/ 8037 w 14086"/>
                <a:gd name="connsiteY1" fmla="*/ 11841 h 12936"/>
                <a:gd name="connsiteX2" fmla="*/ 6973 w 14086"/>
                <a:gd name="connsiteY2" fmla="*/ 12703 h 12936"/>
                <a:gd name="connsiteX3" fmla="*/ 5938 w 14086"/>
                <a:gd name="connsiteY3" fmla="*/ 11783 h 12936"/>
                <a:gd name="connsiteX4" fmla="*/ 2345 w 14086"/>
                <a:gd name="connsiteY4" fmla="*/ 3303 h 12936"/>
                <a:gd name="connsiteX5" fmla="*/ 2345 w 14086"/>
                <a:gd name="connsiteY5" fmla="*/ 11237 h 12936"/>
                <a:gd name="connsiteX6" fmla="*/ 1942 w 14086"/>
                <a:gd name="connsiteY6" fmla="*/ 12646 h 12936"/>
                <a:gd name="connsiteX7" fmla="*/ 246 w 14086"/>
                <a:gd name="connsiteY7" fmla="*/ 11611 h 12936"/>
                <a:gd name="connsiteX8" fmla="*/ 217 w 14086"/>
                <a:gd name="connsiteY8" fmla="*/ 1405 h 12936"/>
                <a:gd name="connsiteX9" fmla="*/ 1367 w 14086"/>
                <a:gd name="connsiteY9" fmla="*/ 284 h 12936"/>
                <a:gd name="connsiteX10" fmla="*/ 4271 w 14086"/>
                <a:gd name="connsiteY10" fmla="*/ 2296 h 12936"/>
                <a:gd name="connsiteX11" fmla="*/ 7117 w 14086"/>
                <a:gd name="connsiteY11" fmla="*/ 9541 h 12936"/>
                <a:gd name="connsiteX12" fmla="*/ 10222 w 14086"/>
                <a:gd name="connsiteY12" fmla="*/ 1376 h 12936"/>
                <a:gd name="connsiteX13" fmla="*/ 13298 w 14086"/>
                <a:gd name="connsiteY13" fmla="*/ 370 h 12936"/>
                <a:gd name="connsiteX14" fmla="*/ 13930 w 14086"/>
                <a:gd name="connsiteY14" fmla="*/ 1836 h 12936"/>
                <a:gd name="connsiteX15" fmla="*/ 13959 w 14086"/>
                <a:gd name="connsiteY15" fmla="*/ 11467 h 12936"/>
                <a:gd name="connsiteX16" fmla="*/ 12982 w 14086"/>
                <a:gd name="connsiteY16" fmla="*/ 12732 h 12936"/>
                <a:gd name="connsiteX17" fmla="*/ 11889 w 14086"/>
                <a:gd name="connsiteY17" fmla="*/ 11410 h 12936"/>
                <a:gd name="connsiteX18" fmla="*/ 11860 w 14086"/>
                <a:gd name="connsiteY18" fmla="*/ 3791 h 12936"/>
                <a:gd name="connsiteX19" fmla="*/ 11803 w 14086"/>
                <a:gd name="connsiteY19" fmla="*/ 2756 h 12936"/>
                <a:gd name="connsiteX20" fmla="*/ 11458 w 14086"/>
                <a:gd name="connsiteY20" fmla="*/ 3303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86" h="12936">
                  <a:moveTo>
                    <a:pt x="11458" y="3303"/>
                  </a:moveTo>
                  <a:cubicBezTo>
                    <a:pt x="10308" y="6149"/>
                    <a:pt x="9158" y="8995"/>
                    <a:pt x="8037" y="11841"/>
                  </a:cubicBezTo>
                  <a:cubicBezTo>
                    <a:pt x="7836" y="12387"/>
                    <a:pt x="7634" y="12732"/>
                    <a:pt x="6973" y="12703"/>
                  </a:cubicBezTo>
                  <a:cubicBezTo>
                    <a:pt x="6312" y="12674"/>
                    <a:pt x="6111" y="12243"/>
                    <a:pt x="5938" y="11783"/>
                  </a:cubicBezTo>
                  <a:cubicBezTo>
                    <a:pt x="4846" y="8937"/>
                    <a:pt x="3753" y="6091"/>
                    <a:pt x="2345" y="3303"/>
                  </a:cubicBezTo>
                  <a:cubicBezTo>
                    <a:pt x="2345" y="5947"/>
                    <a:pt x="2345" y="8592"/>
                    <a:pt x="2345" y="11237"/>
                  </a:cubicBezTo>
                  <a:cubicBezTo>
                    <a:pt x="2345" y="11726"/>
                    <a:pt x="2546" y="12329"/>
                    <a:pt x="1942" y="12646"/>
                  </a:cubicBezTo>
                  <a:cubicBezTo>
                    <a:pt x="1108" y="13077"/>
                    <a:pt x="246" y="12559"/>
                    <a:pt x="246" y="11611"/>
                  </a:cubicBezTo>
                  <a:cubicBezTo>
                    <a:pt x="246" y="8218"/>
                    <a:pt x="275" y="4797"/>
                    <a:pt x="217" y="1405"/>
                  </a:cubicBezTo>
                  <a:cubicBezTo>
                    <a:pt x="189" y="485"/>
                    <a:pt x="534" y="370"/>
                    <a:pt x="1367" y="284"/>
                  </a:cubicBezTo>
                  <a:cubicBezTo>
                    <a:pt x="3006" y="111"/>
                    <a:pt x="3782" y="658"/>
                    <a:pt x="4271" y="2296"/>
                  </a:cubicBezTo>
                  <a:cubicBezTo>
                    <a:pt x="4961" y="4654"/>
                    <a:pt x="6082" y="6925"/>
                    <a:pt x="7117" y="9541"/>
                  </a:cubicBezTo>
                  <a:cubicBezTo>
                    <a:pt x="8238" y="6609"/>
                    <a:pt x="9330" y="4021"/>
                    <a:pt x="10222" y="1376"/>
                  </a:cubicBezTo>
                  <a:cubicBezTo>
                    <a:pt x="10854" y="-492"/>
                    <a:pt x="12263" y="485"/>
                    <a:pt x="13298" y="370"/>
                  </a:cubicBezTo>
                  <a:cubicBezTo>
                    <a:pt x="14505" y="226"/>
                    <a:pt x="13930" y="1319"/>
                    <a:pt x="13930" y="1836"/>
                  </a:cubicBezTo>
                  <a:cubicBezTo>
                    <a:pt x="13988" y="5056"/>
                    <a:pt x="13959" y="8247"/>
                    <a:pt x="13959" y="11467"/>
                  </a:cubicBezTo>
                  <a:cubicBezTo>
                    <a:pt x="13959" y="12186"/>
                    <a:pt x="14016" y="12703"/>
                    <a:pt x="12982" y="12732"/>
                  </a:cubicBezTo>
                  <a:cubicBezTo>
                    <a:pt x="11860" y="12761"/>
                    <a:pt x="11889" y="12186"/>
                    <a:pt x="11889" y="11410"/>
                  </a:cubicBezTo>
                  <a:cubicBezTo>
                    <a:pt x="11889" y="8880"/>
                    <a:pt x="11889" y="6321"/>
                    <a:pt x="11860" y="3791"/>
                  </a:cubicBezTo>
                  <a:cubicBezTo>
                    <a:pt x="11889" y="3446"/>
                    <a:pt x="12090" y="3073"/>
                    <a:pt x="11803" y="2756"/>
                  </a:cubicBezTo>
                  <a:cubicBezTo>
                    <a:pt x="11688" y="2958"/>
                    <a:pt x="11573" y="3130"/>
                    <a:pt x="11458" y="3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3399049B-9BF2-483C-A62F-09DFD7A21CA0}"/>
                </a:ext>
              </a:extLst>
            </p:cNvPr>
            <p:cNvSpPr/>
            <p:nvPr/>
          </p:nvSpPr>
          <p:spPr>
            <a:xfrm>
              <a:off x="2396926" y="2574731"/>
              <a:ext cx="10349" cy="12649"/>
            </a:xfrm>
            <a:custGeom>
              <a:avLst/>
              <a:gdLst>
                <a:gd name="connsiteX0" fmla="*/ 3895 w 10349"/>
                <a:gd name="connsiteY0" fmla="*/ 1998 h 12649"/>
                <a:gd name="connsiteX1" fmla="*/ 1193 w 10349"/>
                <a:gd name="connsiteY1" fmla="*/ 2055 h 12649"/>
                <a:gd name="connsiteX2" fmla="*/ 216 w 10349"/>
                <a:gd name="connsiteY2" fmla="*/ 1222 h 12649"/>
                <a:gd name="connsiteX3" fmla="*/ 1193 w 10349"/>
                <a:gd name="connsiteY3" fmla="*/ 216 h 12649"/>
                <a:gd name="connsiteX4" fmla="*/ 9185 w 10349"/>
                <a:gd name="connsiteY4" fmla="*/ 216 h 12649"/>
                <a:gd name="connsiteX5" fmla="*/ 10134 w 10349"/>
                <a:gd name="connsiteY5" fmla="*/ 1107 h 12649"/>
                <a:gd name="connsiteX6" fmla="*/ 9243 w 10349"/>
                <a:gd name="connsiteY6" fmla="*/ 1883 h 12649"/>
                <a:gd name="connsiteX7" fmla="*/ 6540 w 10349"/>
                <a:gd name="connsiteY7" fmla="*/ 1941 h 12649"/>
                <a:gd name="connsiteX8" fmla="*/ 6253 w 10349"/>
                <a:gd name="connsiteY8" fmla="*/ 2314 h 12649"/>
                <a:gd name="connsiteX9" fmla="*/ 6224 w 10349"/>
                <a:gd name="connsiteY9" fmla="*/ 11485 h 12649"/>
                <a:gd name="connsiteX10" fmla="*/ 5189 w 10349"/>
                <a:gd name="connsiteY10" fmla="*/ 12692 h 12649"/>
                <a:gd name="connsiteX11" fmla="*/ 4154 w 10349"/>
                <a:gd name="connsiteY11" fmla="*/ 11485 h 12649"/>
                <a:gd name="connsiteX12" fmla="*/ 4125 w 10349"/>
                <a:gd name="connsiteY12" fmla="*/ 2314 h 12649"/>
                <a:gd name="connsiteX13" fmla="*/ 3895 w 10349"/>
                <a:gd name="connsiteY13" fmla="*/ 1998 h 1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49" h="12649">
                  <a:moveTo>
                    <a:pt x="3895" y="1998"/>
                  </a:moveTo>
                  <a:cubicBezTo>
                    <a:pt x="3004" y="1998"/>
                    <a:pt x="2084" y="1998"/>
                    <a:pt x="1193" y="2055"/>
                  </a:cubicBezTo>
                  <a:cubicBezTo>
                    <a:pt x="589" y="2084"/>
                    <a:pt x="216" y="1998"/>
                    <a:pt x="216" y="1222"/>
                  </a:cubicBezTo>
                  <a:cubicBezTo>
                    <a:pt x="216" y="474"/>
                    <a:pt x="417" y="216"/>
                    <a:pt x="1193" y="216"/>
                  </a:cubicBezTo>
                  <a:cubicBezTo>
                    <a:pt x="3867" y="244"/>
                    <a:pt x="6540" y="244"/>
                    <a:pt x="9185" y="216"/>
                  </a:cubicBezTo>
                  <a:cubicBezTo>
                    <a:pt x="9846" y="216"/>
                    <a:pt x="10134" y="388"/>
                    <a:pt x="10134" y="1107"/>
                  </a:cubicBezTo>
                  <a:cubicBezTo>
                    <a:pt x="10134" y="1797"/>
                    <a:pt x="9760" y="1883"/>
                    <a:pt x="9243" y="1883"/>
                  </a:cubicBezTo>
                  <a:cubicBezTo>
                    <a:pt x="8351" y="1883"/>
                    <a:pt x="7431" y="1912"/>
                    <a:pt x="6540" y="1941"/>
                  </a:cubicBezTo>
                  <a:cubicBezTo>
                    <a:pt x="6167" y="1854"/>
                    <a:pt x="6224" y="2113"/>
                    <a:pt x="6253" y="2314"/>
                  </a:cubicBezTo>
                  <a:cubicBezTo>
                    <a:pt x="6253" y="5362"/>
                    <a:pt x="6224" y="8438"/>
                    <a:pt x="6224" y="11485"/>
                  </a:cubicBezTo>
                  <a:cubicBezTo>
                    <a:pt x="6224" y="12261"/>
                    <a:pt x="6167" y="12692"/>
                    <a:pt x="5189" y="12692"/>
                  </a:cubicBezTo>
                  <a:cubicBezTo>
                    <a:pt x="4183" y="12692"/>
                    <a:pt x="4154" y="12232"/>
                    <a:pt x="4154" y="11485"/>
                  </a:cubicBezTo>
                  <a:cubicBezTo>
                    <a:pt x="4154" y="8438"/>
                    <a:pt x="4125" y="5390"/>
                    <a:pt x="4125" y="2314"/>
                  </a:cubicBezTo>
                  <a:cubicBezTo>
                    <a:pt x="4154" y="2142"/>
                    <a:pt x="4154" y="1969"/>
                    <a:pt x="3895" y="19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213F3F11-9563-4041-9E6B-45BDDC0188B6}"/>
                </a:ext>
              </a:extLst>
            </p:cNvPr>
            <p:cNvSpPr/>
            <p:nvPr/>
          </p:nvSpPr>
          <p:spPr>
            <a:xfrm>
              <a:off x="2402913" y="2576438"/>
              <a:ext cx="575" cy="575"/>
            </a:xfrm>
            <a:custGeom>
              <a:avLst/>
              <a:gdLst>
                <a:gd name="connsiteX0" fmla="*/ 237 w 574"/>
                <a:gd name="connsiteY0" fmla="*/ 608 h 574"/>
                <a:gd name="connsiteX1" fmla="*/ 524 w 574"/>
                <a:gd name="connsiteY1" fmla="*/ 234 h 574"/>
                <a:gd name="connsiteX2" fmla="*/ 237 w 574"/>
                <a:gd name="connsiteY2" fmla="*/ 608 h 574"/>
              </a:gdLst>
              <a:ahLst/>
              <a:cxnLst>
                <a:cxn ang="0">
                  <a:pos x="connsiteX0" y="connsiteY0"/>
                </a:cxn>
                <a:cxn ang="0">
                  <a:pos x="connsiteX1" y="connsiteY1"/>
                </a:cxn>
                <a:cxn ang="0">
                  <a:pos x="connsiteX2" y="connsiteY2"/>
                </a:cxn>
              </a:cxnLst>
              <a:rect l="l" t="t" r="r" b="b"/>
              <a:pathLst>
                <a:path w="574" h="574">
                  <a:moveTo>
                    <a:pt x="237" y="608"/>
                  </a:moveTo>
                  <a:cubicBezTo>
                    <a:pt x="208" y="378"/>
                    <a:pt x="151" y="148"/>
                    <a:pt x="524" y="234"/>
                  </a:cubicBezTo>
                  <a:cubicBezTo>
                    <a:pt x="438" y="349"/>
                    <a:pt x="352" y="493"/>
                    <a:pt x="237" y="6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grpSp>
      <p:pic>
        <p:nvPicPr>
          <p:cNvPr id="66" name="Picture 4" descr="Image result for cognitive toolkit">
            <a:extLst>
              <a:ext uri="{FF2B5EF4-FFF2-40B4-BE49-F238E27FC236}">
                <a16:creationId xmlns:a16="http://schemas.microsoft.com/office/drawing/2014/main" id="{858CE4F3-E864-4F6B-8A00-F452EB741FC0}"/>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444402" y="6029972"/>
            <a:ext cx="224958" cy="338610"/>
          </a:xfrm>
          <a:prstGeom prst="rect">
            <a:avLst/>
          </a:prstGeom>
          <a:extLst>
            <a:ext uri="{909E8E84-426E-40DD-AFC4-6F175D3DCCD1}">
              <a14:hiddenFill xmlns:a14="http://schemas.microsoft.com/office/drawing/2010/main">
                <a:solidFill>
                  <a:srgbClr val="FFFFFF"/>
                </a:solidFill>
              </a14:hiddenFill>
            </a:ext>
          </a:extLst>
        </p:spPr>
      </p:pic>
      <p:pic>
        <p:nvPicPr>
          <p:cNvPr id="69" name="Picture 2" descr="See the source image">
            <a:extLst>
              <a:ext uri="{FF2B5EF4-FFF2-40B4-BE49-F238E27FC236}">
                <a16:creationId xmlns:a16="http://schemas.microsoft.com/office/drawing/2014/main" id="{C8186BCE-7E49-4F39-AD14-59073E79D7DE}"/>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205914" y="6099013"/>
            <a:ext cx="364527" cy="200528"/>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AF40ACB9-53B1-495A-9E3D-4E97EDED9AA8}"/>
              </a:ext>
            </a:extLst>
          </p:cNvPr>
          <p:cNvSpPr/>
          <p:nvPr/>
        </p:nvSpPr>
        <p:spPr>
          <a:xfrm>
            <a:off x="769300" y="6425984"/>
            <a:ext cx="75200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TensorFlow</a:t>
            </a:r>
          </a:p>
        </p:txBody>
      </p:sp>
      <p:sp>
        <p:nvSpPr>
          <p:cNvPr id="94" name="Rectangle 93">
            <a:extLst>
              <a:ext uri="{FF2B5EF4-FFF2-40B4-BE49-F238E27FC236}">
                <a16:creationId xmlns:a16="http://schemas.microsoft.com/office/drawing/2014/main" id="{E97FEAF4-0E7E-417D-8186-FAA8DAA43B10}"/>
              </a:ext>
            </a:extLst>
          </p:cNvPr>
          <p:cNvSpPr/>
          <p:nvPr/>
        </p:nvSpPr>
        <p:spPr>
          <a:xfrm>
            <a:off x="1860728" y="6425984"/>
            <a:ext cx="139230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S Cognitive Toolkit</a:t>
            </a:r>
          </a:p>
        </p:txBody>
      </p:sp>
      <p:sp>
        <p:nvSpPr>
          <p:cNvPr id="95" name="Rectangle 94">
            <a:extLst>
              <a:ext uri="{FF2B5EF4-FFF2-40B4-BE49-F238E27FC236}">
                <a16:creationId xmlns:a16="http://schemas.microsoft.com/office/drawing/2014/main" id="{4A11A022-B35C-46F0-9878-37D627C20BC8}"/>
              </a:ext>
            </a:extLst>
          </p:cNvPr>
          <p:cNvSpPr/>
          <p:nvPr/>
        </p:nvSpPr>
        <p:spPr>
          <a:xfrm>
            <a:off x="3711367" y="6425984"/>
            <a:ext cx="522322"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PyTorch</a:t>
            </a:r>
          </a:p>
        </p:txBody>
      </p:sp>
      <p:sp>
        <p:nvSpPr>
          <p:cNvPr id="101" name="Rectangle 100">
            <a:extLst>
              <a:ext uri="{FF2B5EF4-FFF2-40B4-BE49-F238E27FC236}">
                <a16:creationId xmlns:a16="http://schemas.microsoft.com/office/drawing/2014/main" id="{E055A106-F89B-419A-A78E-BFD58C9EE82F}"/>
              </a:ext>
            </a:extLst>
          </p:cNvPr>
          <p:cNvSpPr/>
          <p:nvPr/>
        </p:nvSpPr>
        <p:spPr>
          <a:xfrm>
            <a:off x="4994800" y="6425984"/>
            <a:ext cx="78675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Scikit-Learn</a:t>
            </a:r>
          </a:p>
        </p:txBody>
      </p:sp>
      <p:sp>
        <p:nvSpPr>
          <p:cNvPr id="102" name="Rectangle 101">
            <a:extLst>
              <a:ext uri="{FF2B5EF4-FFF2-40B4-BE49-F238E27FC236}">
                <a16:creationId xmlns:a16="http://schemas.microsoft.com/office/drawing/2014/main" id="{9E0E8021-FB56-464C-B3FA-41D39F6D62BC}"/>
              </a:ext>
            </a:extLst>
          </p:cNvPr>
          <p:cNvSpPr/>
          <p:nvPr/>
        </p:nvSpPr>
        <p:spPr>
          <a:xfrm>
            <a:off x="6587781" y="6425984"/>
            <a:ext cx="437619"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ONNX</a:t>
            </a:r>
          </a:p>
        </p:txBody>
      </p:sp>
      <p:sp>
        <p:nvSpPr>
          <p:cNvPr id="103" name="Rectangle 102">
            <a:extLst>
              <a:ext uri="{FF2B5EF4-FFF2-40B4-BE49-F238E27FC236}">
                <a16:creationId xmlns:a16="http://schemas.microsoft.com/office/drawing/2014/main" id="{DE516FA8-2D0D-4FD3-B334-B0743E131D37}"/>
              </a:ext>
            </a:extLst>
          </p:cNvPr>
          <p:cNvSpPr/>
          <p:nvPr/>
        </p:nvSpPr>
        <p:spPr>
          <a:xfrm>
            <a:off x="8003067" y="6425984"/>
            <a:ext cx="43281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Caffe2</a:t>
            </a:r>
          </a:p>
        </p:txBody>
      </p:sp>
      <p:sp>
        <p:nvSpPr>
          <p:cNvPr id="104" name="Rectangle 103">
            <a:extLst>
              <a:ext uri="{FF2B5EF4-FFF2-40B4-BE49-F238E27FC236}">
                <a16:creationId xmlns:a16="http://schemas.microsoft.com/office/drawing/2014/main" id="{9853B192-DA4A-4E3F-85FC-FD8A9024DD4D}"/>
              </a:ext>
            </a:extLst>
          </p:cNvPr>
          <p:cNvSpPr/>
          <p:nvPr/>
        </p:nvSpPr>
        <p:spPr>
          <a:xfrm>
            <a:off x="9396274" y="6425984"/>
            <a:ext cx="477695"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XNet</a:t>
            </a:r>
          </a:p>
        </p:txBody>
      </p:sp>
      <p:sp>
        <p:nvSpPr>
          <p:cNvPr id="105" name="Rectangle 104">
            <a:extLst>
              <a:ext uri="{FF2B5EF4-FFF2-40B4-BE49-F238E27FC236}">
                <a16:creationId xmlns:a16="http://schemas.microsoft.com/office/drawing/2014/main" id="{520F09B0-3667-41DD-9B4D-6901F089A61C}"/>
              </a:ext>
            </a:extLst>
          </p:cNvPr>
          <p:cNvSpPr/>
          <p:nvPr/>
        </p:nvSpPr>
        <p:spPr>
          <a:xfrm>
            <a:off x="10781463" y="6425984"/>
            <a:ext cx="516167"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Chainer</a:t>
            </a:r>
          </a:p>
        </p:txBody>
      </p:sp>
      <p:pic>
        <p:nvPicPr>
          <p:cNvPr id="64" name="Picture 63">
            <a:extLst>
              <a:ext uri="{FF2B5EF4-FFF2-40B4-BE49-F238E27FC236}">
                <a16:creationId xmlns:a16="http://schemas.microsoft.com/office/drawing/2014/main" id="{9A7E6E56-F106-4E41-AF25-E2355D17EFFF}"/>
              </a:ext>
            </a:extLst>
          </p:cNvPr>
          <p:cNvPicPr>
            <a:picLocks noChangeAspect="1"/>
          </p:cNvPicPr>
          <p:nvPr/>
        </p:nvPicPr>
        <p:blipFill>
          <a:blip r:embed="rId12"/>
          <a:stretch>
            <a:fillRect/>
          </a:stretch>
        </p:blipFill>
        <p:spPr>
          <a:xfrm>
            <a:off x="1027677" y="1385160"/>
            <a:ext cx="508119" cy="458847"/>
          </a:xfrm>
          <a:prstGeom prst="rect">
            <a:avLst/>
          </a:prstGeom>
        </p:spPr>
      </p:pic>
    </p:spTree>
    <p:extLst>
      <p:ext uri="{BB962C8B-B14F-4D97-AF65-F5344CB8AC3E}">
        <p14:creationId xmlns:p14="http://schemas.microsoft.com/office/powerpoint/2010/main" val="381316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pPr defTabSz="914016"/>
            <a:r>
              <a:rPr lang="en-US" spc="-150" dirty="0"/>
              <a:t>Introducing Azure Databricks</a:t>
            </a:r>
          </a:p>
        </p:txBody>
      </p:sp>
      <p:sp>
        <p:nvSpPr>
          <p:cNvPr id="122" name="Rectangle 121">
            <a:extLst>
              <a:ext uri="{FF2B5EF4-FFF2-40B4-BE49-F238E27FC236}">
                <a16:creationId xmlns:a16="http://schemas.microsoft.com/office/drawing/2014/main" id="{FE4C8A2D-AC1C-48BA-BEA6-E01A69074EEA}"/>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US" sz="2400" dirty="0">
                <a:solidFill>
                  <a:schemeClr val="tx1"/>
                </a:solidFill>
                <a:latin typeface="+mj-lt"/>
                <a:cs typeface="Segoe UI" panose="020B0502040204020203" pitchFamily="34" charset="0"/>
              </a:rPr>
              <a:t>Fast, easy, and collaborative Apache Spark™-based analytics platform</a:t>
            </a:r>
          </a:p>
        </p:txBody>
      </p:sp>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190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6487"/>
            <a:ext cx="2814119" cy="22159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49977"/>
            <a:ext cx="4583030" cy="246221"/>
            <a:chOff x="7151769" y="2930634"/>
            <a:chExt cx="4583030" cy="246221"/>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30634"/>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Role-based access control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58112"/>
            <a:ext cx="4583030" cy="246221"/>
            <a:chOff x="7151769" y="3492915"/>
            <a:chExt cx="4583030" cy="246221"/>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492915"/>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ffortless autoscaling</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66247"/>
            <a:ext cx="4583030" cy="246221"/>
            <a:chOff x="7151769" y="4055196"/>
            <a:chExt cx="4583030" cy="246221"/>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55196"/>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ive collaboration</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374382"/>
            <a:ext cx="4583030" cy="246221"/>
            <a:chOff x="7151769" y="4617477"/>
            <a:chExt cx="4583030" cy="246221"/>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17477"/>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nterprise-grade SLA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882517"/>
            <a:ext cx="4583030" cy="246221"/>
            <a:chOff x="7151769" y="5179758"/>
            <a:chExt cx="4583030" cy="246221"/>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179758"/>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Best-in-class notebooks</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390654"/>
            <a:ext cx="4583030" cy="246221"/>
            <a:chOff x="7151769" y="5742039"/>
            <a:chExt cx="4583030" cy="246221"/>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42039"/>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Simple job schedul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358612"/>
            <a:ext cx="9727945" cy="0"/>
          </a:xfrm>
          <a:prstGeom prst="line">
            <a:avLst/>
          </a:prstGeom>
          <a:ln w="19050">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F80C54A0-4282-4128-A089-B122B853864A}"/>
              </a:ext>
            </a:extLst>
          </p:cNvPr>
          <p:cNvSpPr/>
          <p:nvPr/>
        </p:nvSpPr>
        <p:spPr>
          <a:xfrm>
            <a:off x="3136310" y="2211781"/>
            <a:ext cx="3749040" cy="246221"/>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Increase productivity</a:t>
            </a:r>
          </a:p>
        </p:txBody>
      </p:sp>
      <p:sp>
        <p:nvSpPr>
          <p:cNvPr id="154" name="Rectangle 153">
            <a:extLst>
              <a:ext uri="{FF2B5EF4-FFF2-40B4-BE49-F238E27FC236}">
                <a16:creationId xmlns:a16="http://schemas.microsoft.com/office/drawing/2014/main" id="{28D5FC33-0565-4F00-98F8-C229493A1084}"/>
              </a:ext>
            </a:extLst>
          </p:cNvPr>
          <p:cNvSpPr/>
          <p:nvPr/>
        </p:nvSpPr>
        <p:spPr>
          <a:xfrm>
            <a:off x="3136310" y="3752885"/>
            <a:ext cx="3749040" cy="246221"/>
          </a:xfrm>
          <a:prstGeom prst="rect">
            <a:avLst/>
          </a:prstGeom>
        </p:spPr>
        <p:txBody>
          <a:bodyPr wrap="square" lIns="0" tIns="0" rIns="0" bIns="0">
            <a:spAutoFit/>
          </a:bodyPr>
          <a:lstStyle/>
          <a:p>
            <a:pPr marL="0" marR="0" lvl="0" indent="0" algn="l" defTabSz="914049" rtl="0" eaLnBrk="1" fontAlgn="base" latinLnBrk="0" hangingPunct="1">
              <a:lnSpc>
                <a:spcPct val="100000"/>
              </a:lnSpc>
              <a:spcBef>
                <a:spcPct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Build on a secure, trusted cloud</a:t>
            </a:r>
          </a:p>
        </p:txBody>
      </p:sp>
      <p:sp>
        <p:nvSpPr>
          <p:cNvPr id="155" name="Rectangle 154">
            <a:extLst>
              <a:ext uri="{FF2B5EF4-FFF2-40B4-BE49-F238E27FC236}">
                <a16:creationId xmlns:a16="http://schemas.microsoft.com/office/drawing/2014/main" id="{61528272-B15F-40C7-A681-5C8CDC908C5E}"/>
              </a:ext>
            </a:extLst>
          </p:cNvPr>
          <p:cNvSpPr/>
          <p:nvPr/>
        </p:nvSpPr>
        <p:spPr>
          <a:xfrm>
            <a:off x="3136310" y="5293989"/>
            <a:ext cx="3749040" cy="246221"/>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Scale without limits</a:t>
            </a:r>
          </a:p>
        </p:txBody>
      </p:sp>
      <p:sp>
        <p:nvSpPr>
          <p:cNvPr id="80" name="speedometer_2" title="Icon of a spedometer showing fast speed">
            <a:extLst>
              <a:ext uri="{FF2B5EF4-FFF2-40B4-BE49-F238E27FC236}">
                <a16:creationId xmlns:a16="http://schemas.microsoft.com/office/drawing/2014/main" id="{219DC171-FB76-487C-A0D4-0DC334F18A41}"/>
              </a:ext>
            </a:extLst>
          </p:cNvPr>
          <p:cNvSpPr>
            <a:spLocks noChangeAspect="1" noEditPoints="1"/>
          </p:cNvSpPr>
          <p:nvPr/>
        </p:nvSpPr>
        <p:spPr bwMode="auto">
          <a:xfrm>
            <a:off x="1879042" y="2028884"/>
            <a:ext cx="612951" cy="61295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81" name="Group 20">
            <a:extLst>
              <a:ext uri="{FF2B5EF4-FFF2-40B4-BE49-F238E27FC236}">
                <a16:creationId xmlns:a16="http://schemas.microsoft.com/office/drawing/2014/main" id="{4122D9CB-834A-453E-A191-B8C85A457F39}"/>
              </a:ext>
            </a:extLst>
          </p:cNvPr>
          <p:cNvGrpSpPr>
            <a:grpSpLocks noChangeAspect="1"/>
          </p:cNvGrpSpPr>
          <p:nvPr/>
        </p:nvGrpSpPr>
        <p:grpSpPr bwMode="auto">
          <a:xfrm>
            <a:off x="1767424" y="3567661"/>
            <a:ext cx="704471" cy="599150"/>
            <a:chOff x="3444" y="477"/>
            <a:chExt cx="408" cy="347"/>
          </a:xfrm>
          <a:solidFill>
            <a:schemeClr val="tx1"/>
          </a:solidFill>
        </p:grpSpPr>
        <p:sp>
          <p:nvSpPr>
            <p:cNvPr id="82" name="Freeform 21">
              <a:extLst>
                <a:ext uri="{FF2B5EF4-FFF2-40B4-BE49-F238E27FC236}">
                  <a16:creationId xmlns:a16="http://schemas.microsoft.com/office/drawing/2014/main" id="{423654A4-85FB-422C-8CD7-172343E2439B}"/>
                </a:ext>
              </a:extLst>
            </p:cNvPr>
            <p:cNvSpPr>
              <a:spLocks/>
            </p:cNvSpPr>
            <p:nvPr/>
          </p:nvSpPr>
          <p:spPr bwMode="auto">
            <a:xfrm>
              <a:off x="3444" y="477"/>
              <a:ext cx="408" cy="256"/>
            </a:xfrm>
            <a:custGeom>
              <a:avLst/>
              <a:gdLst>
                <a:gd name="T0" fmla="*/ 219 w 276"/>
                <a:gd name="T1" fmla="*/ 173 h 173"/>
                <a:gd name="T2" fmla="*/ 213 w 276"/>
                <a:gd name="T3" fmla="*/ 168 h 173"/>
                <a:gd name="T4" fmla="*/ 218 w 276"/>
                <a:gd name="T5" fmla="*/ 161 h 173"/>
                <a:gd name="T6" fmla="*/ 264 w 276"/>
                <a:gd name="T7" fmla="*/ 109 h 173"/>
                <a:gd name="T8" fmla="*/ 249 w 276"/>
                <a:gd name="T9" fmla="*/ 72 h 173"/>
                <a:gd name="T10" fmla="*/ 211 w 276"/>
                <a:gd name="T11" fmla="*/ 58 h 173"/>
                <a:gd name="T12" fmla="*/ 206 w 276"/>
                <a:gd name="T13" fmla="*/ 55 h 173"/>
                <a:gd name="T14" fmla="*/ 138 w 276"/>
                <a:gd name="T15" fmla="*/ 12 h 173"/>
                <a:gd name="T16" fmla="*/ 64 w 276"/>
                <a:gd name="T17" fmla="*/ 82 h 173"/>
                <a:gd name="T18" fmla="*/ 62 w 276"/>
                <a:gd name="T19" fmla="*/ 86 h 173"/>
                <a:gd name="T20" fmla="*/ 57 w 276"/>
                <a:gd name="T21" fmla="*/ 87 h 173"/>
                <a:gd name="T22" fmla="*/ 26 w 276"/>
                <a:gd name="T23" fmla="*/ 95 h 173"/>
                <a:gd name="T24" fmla="*/ 12 w 276"/>
                <a:gd name="T25" fmla="*/ 124 h 173"/>
                <a:gd name="T26" fmla="*/ 49 w 276"/>
                <a:gd name="T27" fmla="*/ 161 h 173"/>
                <a:gd name="T28" fmla="*/ 54 w 276"/>
                <a:gd name="T29" fmla="*/ 167 h 173"/>
                <a:gd name="T30" fmla="*/ 48 w 276"/>
                <a:gd name="T31" fmla="*/ 173 h 173"/>
                <a:gd name="T32" fmla="*/ 0 w 276"/>
                <a:gd name="T33" fmla="*/ 124 h 173"/>
                <a:gd name="T34" fmla="*/ 19 w 276"/>
                <a:gd name="T35" fmla="*/ 86 h 173"/>
                <a:gd name="T36" fmla="*/ 53 w 276"/>
                <a:gd name="T37" fmla="*/ 75 h 173"/>
                <a:gd name="T38" fmla="*/ 138 w 276"/>
                <a:gd name="T39" fmla="*/ 0 h 173"/>
                <a:gd name="T40" fmla="*/ 215 w 276"/>
                <a:gd name="T41" fmla="*/ 46 h 173"/>
                <a:gd name="T42" fmla="*/ 257 w 276"/>
                <a:gd name="T43" fmla="*/ 64 h 173"/>
                <a:gd name="T44" fmla="*/ 276 w 276"/>
                <a:gd name="T45" fmla="*/ 109 h 173"/>
                <a:gd name="T46" fmla="*/ 220 w 276"/>
                <a:gd name="T47" fmla="*/ 173 h 173"/>
                <a:gd name="T48" fmla="*/ 219 w 276"/>
                <a:gd name="T4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 h="173">
                  <a:moveTo>
                    <a:pt x="219" y="173"/>
                  </a:moveTo>
                  <a:cubicBezTo>
                    <a:pt x="216" y="173"/>
                    <a:pt x="213" y="171"/>
                    <a:pt x="213" y="168"/>
                  </a:cubicBezTo>
                  <a:cubicBezTo>
                    <a:pt x="212" y="164"/>
                    <a:pt x="215" y="161"/>
                    <a:pt x="218" y="161"/>
                  </a:cubicBezTo>
                  <a:cubicBezTo>
                    <a:pt x="220" y="161"/>
                    <a:pt x="264" y="154"/>
                    <a:pt x="264" y="109"/>
                  </a:cubicBezTo>
                  <a:cubicBezTo>
                    <a:pt x="264" y="95"/>
                    <a:pt x="259" y="82"/>
                    <a:pt x="249" y="72"/>
                  </a:cubicBezTo>
                  <a:cubicBezTo>
                    <a:pt x="239" y="63"/>
                    <a:pt x="225" y="58"/>
                    <a:pt x="211" y="58"/>
                  </a:cubicBezTo>
                  <a:cubicBezTo>
                    <a:pt x="209" y="58"/>
                    <a:pt x="207" y="57"/>
                    <a:pt x="206" y="55"/>
                  </a:cubicBezTo>
                  <a:cubicBezTo>
                    <a:pt x="193" y="29"/>
                    <a:pt x="167" y="12"/>
                    <a:pt x="138" y="12"/>
                  </a:cubicBezTo>
                  <a:cubicBezTo>
                    <a:pt x="99" y="12"/>
                    <a:pt x="67" y="43"/>
                    <a:pt x="64" y="82"/>
                  </a:cubicBezTo>
                  <a:cubicBezTo>
                    <a:pt x="64" y="84"/>
                    <a:pt x="63" y="85"/>
                    <a:pt x="62" y="86"/>
                  </a:cubicBezTo>
                  <a:cubicBezTo>
                    <a:pt x="61" y="87"/>
                    <a:pt x="59" y="88"/>
                    <a:pt x="57" y="87"/>
                  </a:cubicBezTo>
                  <a:cubicBezTo>
                    <a:pt x="46" y="85"/>
                    <a:pt x="35" y="88"/>
                    <a:pt x="26" y="95"/>
                  </a:cubicBezTo>
                  <a:cubicBezTo>
                    <a:pt x="17" y="102"/>
                    <a:pt x="12" y="112"/>
                    <a:pt x="12" y="124"/>
                  </a:cubicBezTo>
                  <a:cubicBezTo>
                    <a:pt x="12" y="153"/>
                    <a:pt x="35" y="159"/>
                    <a:pt x="49" y="161"/>
                  </a:cubicBezTo>
                  <a:cubicBezTo>
                    <a:pt x="52" y="161"/>
                    <a:pt x="55" y="164"/>
                    <a:pt x="54" y="167"/>
                  </a:cubicBezTo>
                  <a:cubicBezTo>
                    <a:pt x="54" y="170"/>
                    <a:pt x="51" y="173"/>
                    <a:pt x="48" y="173"/>
                  </a:cubicBezTo>
                  <a:cubicBezTo>
                    <a:pt x="37" y="172"/>
                    <a:pt x="0" y="165"/>
                    <a:pt x="0" y="124"/>
                  </a:cubicBezTo>
                  <a:cubicBezTo>
                    <a:pt x="0" y="109"/>
                    <a:pt x="7" y="95"/>
                    <a:pt x="19" y="86"/>
                  </a:cubicBezTo>
                  <a:cubicBezTo>
                    <a:pt x="28" y="78"/>
                    <a:pt x="41" y="74"/>
                    <a:pt x="53" y="75"/>
                  </a:cubicBezTo>
                  <a:cubicBezTo>
                    <a:pt x="59" y="32"/>
                    <a:pt x="95" y="0"/>
                    <a:pt x="138" y="0"/>
                  </a:cubicBezTo>
                  <a:cubicBezTo>
                    <a:pt x="170" y="0"/>
                    <a:pt x="200" y="18"/>
                    <a:pt x="215" y="46"/>
                  </a:cubicBezTo>
                  <a:cubicBezTo>
                    <a:pt x="231" y="46"/>
                    <a:pt x="246" y="53"/>
                    <a:pt x="257" y="64"/>
                  </a:cubicBezTo>
                  <a:cubicBezTo>
                    <a:pt x="270" y="76"/>
                    <a:pt x="276" y="92"/>
                    <a:pt x="276" y="109"/>
                  </a:cubicBezTo>
                  <a:cubicBezTo>
                    <a:pt x="276" y="165"/>
                    <a:pt x="220" y="173"/>
                    <a:pt x="220" y="173"/>
                  </a:cubicBezTo>
                  <a:cubicBezTo>
                    <a:pt x="219" y="173"/>
                    <a:pt x="219" y="173"/>
                    <a:pt x="219" y="173"/>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3" name="Freeform 22">
              <a:extLst>
                <a:ext uri="{FF2B5EF4-FFF2-40B4-BE49-F238E27FC236}">
                  <a16:creationId xmlns:a16="http://schemas.microsoft.com/office/drawing/2014/main" id="{11938052-01F1-4B4D-B1E3-890411280A6F}"/>
                </a:ext>
              </a:extLst>
            </p:cNvPr>
            <p:cNvSpPr>
              <a:spLocks noEditPoints="1"/>
            </p:cNvSpPr>
            <p:nvPr/>
          </p:nvSpPr>
          <p:spPr bwMode="auto">
            <a:xfrm>
              <a:off x="3568" y="699"/>
              <a:ext cx="160" cy="125"/>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4" name="Freeform 23">
              <a:extLst>
                <a:ext uri="{FF2B5EF4-FFF2-40B4-BE49-F238E27FC236}">
                  <a16:creationId xmlns:a16="http://schemas.microsoft.com/office/drawing/2014/main" id="{4221D359-E886-4F9A-B3C9-47F6A8578C87}"/>
                </a:ext>
              </a:extLst>
            </p:cNvPr>
            <p:cNvSpPr>
              <a:spLocks/>
            </p:cNvSpPr>
            <p:nvPr/>
          </p:nvSpPr>
          <p:spPr bwMode="auto">
            <a:xfrm>
              <a:off x="3639" y="753"/>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3"/>
                    <a:pt x="3" y="0"/>
                    <a:pt x="6" y="0"/>
                  </a:cubicBezTo>
                  <a:cubicBezTo>
                    <a:pt x="10" y="0"/>
                    <a:pt x="12" y="3"/>
                    <a:pt x="12" y="6"/>
                  </a:cubicBezTo>
                  <a:cubicBezTo>
                    <a:pt x="12" y="18"/>
                    <a:pt x="12" y="18"/>
                    <a:pt x="12" y="18"/>
                  </a:cubicBezTo>
                  <a:cubicBezTo>
                    <a:pt x="12" y="21"/>
                    <a:pt x="10" y="24"/>
                    <a:pt x="6" y="24"/>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5" name="Freeform 24">
              <a:extLst>
                <a:ext uri="{FF2B5EF4-FFF2-40B4-BE49-F238E27FC236}">
                  <a16:creationId xmlns:a16="http://schemas.microsoft.com/office/drawing/2014/main" id="{E4B21E0D-3023-425C-9D8C-5A818AE9EE51}"/>
                </a:ext>
              </a:extLst>
            </p:cNvPr>
            <p:cNvSpPr>
              <a:spLocks/>
            </p:cNvSpPr>
            <p:nvPr/>
          </p:nvSpPr>
          <p:spPr bwMode="auto">
            <a:xfrm>
              <a:off x="3586" y="628"/>
              <a:ext cx="124" cy="89"/>
            </a:xfrm>
            <a:custGeom>
              <a:avLst/>
              <a:gdLst>
                <a:gd name="T0" fmla="*/ 78 w 84"/>
                <a:gd name="T1" fmla="*/ 60 h 60"/>
                <a:gd name="T2" fmla="*/ 72 w 84"/>
                <a:gd name="T3" fmla="*/ 54 h 60"/>
                <a:gd name="T4" fmla="*/ 72 w 84"/>
                <a:gd name="T5" fmla="*/ 42 h 60"/>
                <a:gd name="T6" fmla="*/ 42 w 84"/>
                <a:gd name="T7" fmla="*/ 12 h 60"/>
                <a:gd name="T8" fmla="*/ 12 w 84"/>
                <a:gd name="T9" fmla="*/ 42 h 60"/>
                <a:gd name="T10" fmla="*/ 12 w 84"/>
                <a:gd name="T11" fmla="*/ 54 h 60"/>
                <a:gd name="T12" fmla="*/ 6 w 84"/>
                <a:gd name="T13" fmla="*/ 60 h 60"/>
                <a:gd name="T14" fmla="*/ 0 w 84"/>
                <a:gd name="T15" fmla="*/ 54 h 60"/>
                <a:gd name="T16" fmla="*/ 0 w 84"/>
                <a:gd name="T17" fmla="*/ 42 h 60"/>
                <a:gd name="T18" fmla="*/ 42 w 84"/>
                <a:gd name="T19" fmla="*/ 0 h 60"/>
                <a:gd name="T20" fmla="*/ 84 w 84"/>
                <a:gd name="T21" fmla="*/ 42 h 60"/>
                <a:gd name="T22" fmla="*/ 84 w 84"/>
                <a:gd name="T23" fmla="*/ 54 h 60"/>
                <a:gd name="T24" fmla="*/ 78 w 84"/>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0">
                  <a:moveTo>
                    <a:pt x="78" y="60"/>
                  </a:moveTo>
                  <a:cubicBezTo>
                    <a:pt x="75" y="60"/>
                    <a:pt x="72" y="57"/>
                    <a:pt x="72" y="54"/>
                  </a:cubicBezTo>
                  <a:cubicBezTo>
                    <a:pt x="72" y="42"/>
                    <a:pt x="72" y="42"/>
                    <a:pt x="72" y="42"/>
                  </a:cubicBezTo>
                  <a:cubicBezTo>
                    <a:pt x="72" y="25"/>
                    <a:pt x="59" y="12"/>
                    <a:pt x="42" y="12"/>
                  </a:cubicBezTo>
                  <a:cubicBezTo>
                    <a:pt x="26" y="12"/>
                    <a:pt x="12" y="25"/>
                    <a:pt x="12" y="42"/>
                  </a:cubicBezTo>
                  <a:cubicBezTo>
                    <a:pt x="12" y="54"/>
                    <a:pt x="12" y="54"/>
                    <a:pt x="12" y="54"/>
                  </a:cubicBezTo>
                  <a:cubicBezTo>
                    <a:pt x="12" y="57"/>
                    <a:pt x="10" y="60"/>
                    <a:pt x="6" y="60"/>
                  </a:cubicBezTo>
                  <a:cubicBezTo>
                    <a:pt x="3" y="60"/>
                    <a:pt x="0" y="57"/>
                    <a:pt x="0" y="54"/>
                  </a:cubicBezTo>
                  <a:cubicBezTo>
                    <a:pt x="0" y="42"/>
                    <a:pt x="0" y="42"/>
                    <a:pt x="0" y="42"/>
                  </a:cubicBezTo>
                  <a:cubicBezTo>
                    <a:pt x="0" y="19"/>
                    <a:pt x="19" y="0"/>
                    <a:pt x="42" y="0"/>
                  </a:cubicBezTo>
                  <a:cubicBezTo>
                    <a:pt x="66" y="0"/>
                    <a:pt x="84" y="19"/>
                    <a:pt x="84" y="42"/>
                  </a:cubicBezTo>
                  <a:cubicBezTo>
                    <a:pt x="84" y="54"/>
                    <a:pt x="84" y="54"/>
                    <a:pt x="84" y="54"/>
                  </a:cubicBezTo>
                  <a:cubicBezTo>
                    <a:pt x="84" y="57"/>
                    <a:pt x="82" y="60"/>
                    <a:pt x="78" y="60"/>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6" name="Oval 25">
              <a:extLst>
                <a:ext uri="{FF2B5EF4-FFF2-40B4-BE49-F238E27FC236}">
                  <a16:creationId xmlns:a16="http://schemas.microsoft.com/office/drawing/2014/main" id="{869DDE0A-C1D8-4980-880E-D1DEFDF7A7F7}"/>
                </a:ext>
              </a:extLst>
            </p:cNvPr>
            <p:cNvSpPr>
              <a:spLocks noChangeArrowheads="1"/>
            </p:cNvSpPr>
            <p:nvPr/>
          </p:nvSpPr>
          <p:spPr bwMode="auto">
            <a:xfrm>
              <a:off x="3630" y="735"/>
              <a:ext cx="36" cy="35"/>
            </a:xfrm>
            <a:prstGeom prst="ellipse">
              <a:avLst/>
            </a:pr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87" name="Freeform 147">
            <a:extLst>
              <a:ext uri="{FF2B5EF4-FFF2-40B4-BE49-F238E27FC236}">
                <a16:creationId xmlns:a16="http://schemas.microsoft.com/office/drawing/2014/main" id="{AAC07D36-3935-4B3E-8A69-57B5357C31E9}"/>
              </a:ext>
            </a:extLst>
          </p:cNvPr>
          <p:cNvSpPr>
            <a:spLocks noEditPoints="1"/>
          </p:cNvSpPr>
          <p:nvPr/>
        </p:nvSpPr>
        <p:spPr bwMode="auto">
          <a:xfrm>
            <a:off x="1728318" y="5391253"/>
            <a:ext cx="420182" cy="263972"/>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US" dirty="0"/>
          </a:p>
        </p:txBody>
      </p:sp>
      <p:grpSp>
        <p:nvGrpSpPr>
          <p:cNvPr id="88" name="Group 223">
            <a:extLst>
              <a:ext uri="{FF2B5EF4-FFF2-40B4-BE49-F238E27FC236}">
                <a16:creationId xmlns:a16="http://schemas.microsoft.com/office/drawing/2014/main" id="{EEC6D911-DD56-4891-B037-38595CC88C59}"/>
              </a:ext>
            </a:extLst>
          </p:cNvPr>
          <p:cNvGrpSpPr>
            <a:grpSpLocks noChangeAspect="1"/>
          </p:cNvGrpSpPr>
          <p:nvPr/>
        </p:nvGrpSpPr>
        <p:grpSpPr bwMode="auto">
          <a:xfrm>
            <a:off x="2079467" y="5088546"/>
            <a:ext cx="543994" cy="542724"/>
            <a:chOff x="5505" y="2992"/>
            <a:chExt cx="428" cy="427"/>
          </a:xfrm>
          <a:solidFill>
            <a:schemeClr val="tx1"/>
          </a:solidFill>
        </p:grpSpPr>
        <p:sp>
          <p:nvSpPr>
            <p:cNvPr id="89" name="Freeform 224">
              <a:extLst>
                <a:ext uri="{FF2B5EF4-FFF2-40B4-BE49-F238E27FC236}">
                  <a16:creationId xmlns:a16="http://schemas.microsoft.com/office/drawing/2014/main" id="{CE7E238B-D1F7-445E-A9E5-C96A86457174}"/>
                </a:ext>
              </a:extLst>
            </p:cNvPr>
            <p:cNvSpPr>
              <a:spLocks/>
            </p:cNvSpPr>
            <p:nvPr/>
          </p:nvSpPr>
          <p:spPr bwMode="auto">
            <a:xfrm>
              <a:off x="5505" y="306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49" y="0"/>
                    <a:pt x="252" y="3"/>
                    <a:pt x="252" y="6"/>
                  </a:cubicBezTo>
                  <a:cubicBezTo>
                    <a:pt x="252" y="9"/>
                    <a:pt x="249"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0" name="Oval 225">
              <a:extLst>
                <a:ext uri="{FF2B5EF4-FFF2-40B4-BE49-F238E27FC236}">
                  <a16:creationId xmlns:a16="http://schemas.microsoft.com/office/drawing/2014/main" id="{687344EC-5983-4EDB-AE1C-2046D665C6EF}"/>
                </a:ext>
              </a:extLst>
            </p:cNvPr>
            <p:cNvSpPr>
              <a:spLocks noChangeArrowheads="1"/>
            </p:cNvSpPr>
            <p:nvPr/>
          </p:nvSpPr>
          <p:spPr bwMode="auto">
            <a:xfrm>
              <a:off x="5559"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1" name="Oval 226">
              <a:extLst>
                <a:ext uri="{FF2B5EF4-FFF2-40B4-BE49-F238E27FC236}">
                  <a16:creationId xmlns:a16="http://schemas.microsoft.com/office/drawing/2014/main" id="{08B88178-D825-47C5-A3F3-DDEEB2B5C90D}"/>
                </a:ext>
              </a:extLst>
            </p:cNvPr>
            <p:cNvSpPr>
              <a:spLocks noChangeArrowheads="1"/>
            </p:cNvSpPr>
            <p:nvPr/>
          </p:nvSpPr>
          <p:spPr bwMode="auto">
            <a:xfrm>
              <a:off x="5594" y="302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2" name="Oval 227">
              <a:extLst>
                <a:ext uri="{FF2B5EF4-FFF2-40B4-BE49-F238E27FC236}">
                  <a16:creationId xmlns:a16="http://schemas.microsoft.com/office/drawing/2014/main" id="{6E2EF462-2633-4B53-99E3-D2E83882E700}"/>
                </a:ext>
              </a:extLst>
            </p:cNvPr>
            <p:cNvSpPr>
              <a:spLocks noChangeArrowheads="1"/>
            </p:cNvSpPr>
            <p:nvPr/>
          </p:nvSpPr>
          <p:spPr bwMode="auto">
            <a:xfrm>
              <a:off x="5630"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3" name="Freeform 228">
              <a:extLst>
                <a:ext uri="{FF2B5EF4-FFF2-40B4-BE49-F238E27FC236}">
                  <a16:creationId xmlns:a16="http://schemas.microsoft.com/office/drawing/2014/main" id="{7540A07B-2C61-4601-B933-4D34978D1587}"/>
                </a:ext>
              </a:extLst>
            </p:cNvPr>
            <p:cNvSpPr>
              <a:spLocks/>
            </p:cNvSpPr>
            <p:nvPr/>
          </p:nvSpPr>
          <p:spPr bwMode="auto">
            <a:xfrm>
              <a:off x="5505" y="2992"/>
              <a:ext cx="373" cy="302"/>
            </a:xfrm>
            <a:custGeom>
              <a:avLst/>
              <a:gdLst>
                <a:gd name="T0" fmla="*/ 114 w 252"/>
                <a:gd name="T1" fmla="*/ 204 h 204"/>
                <a:gd name="T2" fmla="*/ 30 w 252"/>
                <a:gd name="T3" fmla="*/ 204 h 204"/>
                <a:gd name="T4" fmla="*/ 0 w 252"/>
                <a:gd name="T5" fmla="*/ 174 h 204"/>
                <a:gd name="T6" fmla="*/ 0 w 252"/>
                <a:gd name="T7" fmla="*/ 30 h 204"/>
                <a:gd name="T8" fmla="*/ 30 w 252"/>
                <a:gd name="T9" fmla="*/ 0 h 204"/>
                <a:gd name="T10" fmla="*/ 222 w 252"/>
                <a:gd name="T11" fmla="*/ 0 h 204"/>
                <a:gd name="T12" fmla="*/ 252 w 252"/>
                <a:gd name="T13" fmla="*/ 30 h 204"/>
                <a:gd name="T14" fmla="*/ 252 w 252"/>
                <a:gd name="T15" fmla="*/ 126 h 204"/>
                <a:gd name="T16" fmla="*/ 246 w 252"/>
                <a:gd name="T17" fmla="*/ 132 h 204"/>
                <a:gd name="T18" fmla="*/ 240 w 252"/>
                <a:gd name="T19" fmla="*/ 126 h 204"/>
                <a:gd name="T20" fmla="*/ 240 w 252"/>
                <a:gd name="T21" fmla="*/ 30 h 204"/>
                <a:gd name="T22" fmla="*/ 222 w 252"/>
                <a:gd name="T23" fmla="*/ 12 h 204"/>
                <a:gd name="T24" fmla="*/ 30 w 252"/>
                <a:gd name="T25" fmla="*/ 12 h 204"/>
                <a:gd name="T26" fmla="*/ 12 w 252"/>
                <a:gd name="T27" fmla="*/ 30 h 204"/>
                <a:gd name="T28" fmla="*/ 12 w 252"/>
                <a:gd name="T29" fmla="*/ 174 h 204"/>
                <a:gd name="T30" fmla="*/ 30 w 252"/>
                <a:gd name="T31" fmla="*/ 192 h 204"/>
                <a:gd name="T32" fmla="*/ 114 w 252"/>
                <a:gd name="T33" fmla="*/ 192 h 204"/>
                <a:gd name="T34" fmla="*/ 120 w 252"/>
                <a:gd name="T35" fmla="*/ 198 h 204"/>
                <a:gd name="T36" fmla="*/ 114 w 252"/>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04">
                  <a:moveTo>
                    <a:pt x="114" y="204"/>
                  </a:moveTo>
                  <a:cubicBezTo>
                    <a:pt x="30" y="204"/>
                    <a:pt x="30" y="204"/>
                    <a:pt x="30" y="204"/>
                  </a:cubicBezTo>
                  <a:cubicBezTo>
                    <a:pt x="13" y="204"/>
                    <a:pt x="0" y="191"/>
                    <a:pt x="0" y="174"/>
                  </a:cubicBezTo>
                  <a:cubicBezTo>
                    <a:pt x="0" y="30"/>
                    <a:pt x="0" y="30"/>
                    <a:pt x="0" y="30"/>
                  </a:cubicBezTo>
                  <a:cubicBezTo>
                    <a:pt x="0" y="13"/>
                    <a:pt x="13" y="0"/>
                    <a:pt x="30" y="0"/>
                  </a:cubicBezTo>
                  <a:cubicBezTo>
                    <a:pt x="222" y="0"/>
                    <a:pt x="222" y="0"/>
                    <a:pt x="222" y="0"/>
                  </a:cubicBezTo>
                  <a:cubicBezTo>
                    <a:pt x="238" y="0"/>
                    <a:pt x="252" y="13"/>
                    <a:pt x="252" y="30"/>
                  </a:cubicBezTo>
                  <a:cubicBezTo>
                    <a:pt x="252" y="126"/>
                    <a:pt x="252" y="126"/>
                    <a:pt x="252" y="126"/>
                  </a:cubicBezTo>
                  <a:cubicBezTo>
                    <a:pt x="252" y="129"/>
                    <a:pt x="249" y="132"/>
                    <a:pt x="246" y="132"/>
                  </a:cubicBezTo>
                  <a:cubicBezTo>
                    <a:pt x="243" y="132"/>
                    <a:pt x="240" y="129"/>
                    <a:pt x="240" y="126"/>
                  </a:cubicBezTo>
                  <a:cubicBezTo>
                    <a:pt x="240" y="30"/>
                    <a:pt x="240" y="30"/>
                    <a:pt x="240" y="30"/>
                  </a:cubicBezTo>
                  <a:cubicBezTo>
                    <a:pt x="240" y="20"/>
                    <a:pt x="232" y="12"/>
                    <a:pt x="222" y="12"/>
                  </a:cubicBezTo>
                  <a:cubicBezTo>
                    <a:pt x="30" y="12"/>
                    <a:pt x="30" y="12"/>
                    <a:pt x="30" y="12"/>
                  </a:cubicBezTo>
                  <a:cubicBezTo>
                    <a:pt x="20" y="12"/>
                    <a:pt x="12" y="20"/>
                    <a:pt x="12" y="30"/>
                  </a:cubicBezTo>
                  <a:cubicBezTo>
                    <a:pt x="12" y="174"/>
                    <a:pt x="12" y="174"/>
                    <a:pt x="12" y="174"/>
                  </a:cubicBezTo>
                  <a:cubicBezTo>
                    <a:pt x="12" y="184"/>
                    <a:pt x="20" y="192"/>
                    <a:pt x="30" y="192"/>
                  </a:cubicBezTo>
                  <a:cubicBezTo>
                    <a:pt x="114" y="192"/>
                    <a:pt x="114" y="192"/>
                    <a:pt x="114" y="192"/>
                  </a:cubicBezTo>
                  <a:cubicBezTo>
                    <a:pt x="117" y="192"/>
                    <a:pt x="120" y="195"/>
                    <a:pt x="120" y="198"/>
                  </a:cubicBezTo>
                  <a:cubicBezTo>
                    <a:pt x="120" y="201"/>
                    <a:pt x="117" y="204"/>
                    <a:pt x="11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4" name="Freeform 229">
              <a:extLst>
                <a:ext uri="{FF2B5EF4-FFF2-40B4-BE49-F238E27FC236}">
                  <a16:creationId xmlns:a16="http://schemas.microsoft.com/office/drawing/2014/main" id="{244DF326-C0DE-4C17-8BC7-4B22E0059776}"/>
                </a:ext>
              </a:extLst>
            </p:cNvPr>
            <p:cNvSpPr>
              <a:spLocks noEditPoints="1"/>
            </p:cNvSpPr>
            <p:nvPr/>
          </p:nvSpPr>
          <p:spPr bwMode="auto">
            <a:xfrm>
              <a:off x="5717" y="3205"/>
              <a:ext cx="216" cy="214"/>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34" name="Freeform 230">
              <a:extLst>
                <a:ext uri="{FF2B5EF4-FFF2-40B4-BE49-F238E27FC236}">
                  <a16:creationId xmlns:a16="http://schemas.microsoft.com/office/drawing/2014/main" id="{6095118F-1363-4F03-B909-C149358B45DE}"/>
                </a:ext>
              </a:extLst>
            </p:cNvPr>
            <p:cNvSpPr>
              <a:spLocks noEditPoints="1"/>
            </p:cNvSpPr>
            <p:nvPr/>
          </p:nvSpPr>
          <p:spPr bwMode="auto">
            <a:xfrm>
              <a:off x="5781" y="3268"/>
              <a:ext cx="88"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sp>
        <p:nvSpPr>
          <p:cNvPr id="141" name="Freeform 147">
            <a:extLst>
              <a:ext uri="{FF2B5EF4-FFF2-40B4-BE49-F238E27FC236}">
                <a16:creationId xmlns:a16="http://schemas.microsoft.com/office/drawing/2014/main" id="{2E41FE95-F0E3-4659-90AB-D2111FCBC7E1}"/>
              </a:ext>
            </a:extLst>
          </p:cNvPr>
          <p:cNvSpPr>
            <a:spLocks noEditPoints="1"/>
          </p:cNvSpPr>
          <p:nvPr/>
        </p:nvSpPr>
        <p:spPr bwMode="auto">
          <a:xfrm>
            <a:off x="1722894" y="5144757"/>
            <a:ext cx="312084" cy="196060"/>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US" dirty="0"/>
          </a:p>
        </p:txBody>
      </p:sp>
      <p:pic>
        <p:nvPicPr>
          <p:cNvPr id="58" name="Picture 57">
            <a:extLst>
              <a:ext uri="{FF2B5EF4-FFF2-40B4-BE49-F238E27FC236}">
                <a16:creationId xmlns:a16="http://schemas.microsoft.com/office/drawing/2014/main" id="{063A856B-4D6E-45F2-8754-96E3F2AC467C}"/>
              </a:ext>
            </a:extLst>
          </p:cNvPr>
          <p:cNvPicPr>
            <a:picLocks noChangeAspect="1"/>
          </p:cNvPicPr>
          <p:nvPr/>
        </p:nvPicPr>
        <p:blipFill>
          <a:blip r:embed="rId3"/>
          <a:stretch>
            <a:fillRect/>
          </a:stretch>
        </p:blipFill>
        <p:spPr>
          <a:xfrm>
            <a:off x="10959972" y="424758"/>
            <a:ext cx="760555" cy="686804"/>
          </a:xfrm>
          <a:prstGeom prst="rect">
            <a:avLst/>
          </a:prstGeom>
        </p:spPr>
      </p:pic>
    </p:spTree>
    <p:extLst>
      <p:ext uri="{BB962C8B-B14F-4D97-AF65-F5344CB8AC3E}">
        <p14:creationId xmlns:p14="http://schemas.microsoft.com/office/powerpoint/2010/main" val="131933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50000">
                                      <p:stCondLst>
                                        <p:cond delay="100"/>
                                      </p:stCondLst>
                                      <p:childTnLst>
                                        <p:set>
                                          <p:cBhvr>
                                            <p:cTn id="6" dur="1" fill="hold">
                                              <p:stCondLst>
                                                <p:cond delay="0"/>
                                              </p:stCondLst>
                                            </p:cTn>
                                            <p:tgtEl>
                                              <p:spTgt spid="95"/>
                                            </p:tgtEl>
                                            <p:attrNameLst>
                                              <p:attrName>style.visibility</p:attrName>
                                            </p:attrNameLst>
                                          </p:cBhvr>
                                          <p:to>
                                            <p:strVal val="visible"/>
                                          </p:to>
                                        </p:set>
                                        <p:anim calcmode="lin" valueType="num" p14:bounceEnd="50000">
                                          <p:cBhvr additive="base">
                                            <p:cTn id="7" dur="500" fill="hold"/>
                                            <p:tgtEl>
                                              <p:spTgt spid="95"/>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95"/>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200"/>
                                      </p:stCondLst>
                                      <p:childTnLst>
                                        <p:set>
                                          <p:cBhvr>
                                            <p:cTn id="10" dur="1" fill="hold">
                                              <p:stCondLst>
                                                <p:cond delay="0"/>
                                              </p:stCondLst>
                                            </p:cTn>
                                            <p:tgtEl>
                                              <p:spTgt spid="96"/>
                                            </p:tgtEl>
                                            <p:attrNameLst>
                                              <p:attrName>style.visibility</p:attrName>
                                            </p:attrNameLst>
                                          </p:cBhvr>
                                          <p:to>
                                            <p:strVal val="visible"/>
                                          </p:to>
                                        </p:set>
                                        <p:animEffect transition="in" filter="barn(outVertical)">
                                          <p:cBhvr>
                                            <p:cTn id="1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
                                      </p:stCondLst>
                                      <p:childTnLst>
                                        <p:set>
                                          <p:cBhvr>
                                            <p:cTn id="6" dur="1" fill="hold">
                                              <p:stCondLst>
                                                <p:cond delay="0"/>
                                              </p:stCondLst>
                                            </p:cTn>
                                            <p:tgtEl>
                                              <p:spTgt spid="95"/>
                                            </p:tgtEl>
                                            <p:attrNameLst>
                                              <p:attrName>style.visibility</p:attrName>
                                            </p:attrNameLst>
                                          </p:cBhvr>
                                          <p:to>
                                            <p:strVal val="visible"/>
                                          </p:to>
                                        </p:set>
                                        <p:anim calcmode="lin" valueType="num">
                                          <p:cBhvr additive="base">
                                            <p:cTn id="7" dur="500" fill="hold"/>
                                            <p:tgtEl>
                                              <p:spTgt spid="95"/>
                                            </p:tgtEl>
                                            <p:attrNameLst>
                                              <p:attrName>ppt_x</p:attrName>
                                            </p:attrNameLst>
                                          </p:cBhvr>
                                          <p:tavLst>
                                            <p:tav tm="0">
                                              <p:val>
                                                <p:strVal val="#ppt_x"/>
                                              </p:val>
                                            </p:tav>
                                            <p:tav tm="100000">
                                              <p:val>
                                                <p:strVal val="#ppt_x"/>
                                              </p:val>
                                            </p:tav>
                                          </p:tavLst>
                                        </p:anim>
                                        <p:anim calcmode="lin" valueType="num">
                                          <p:cBhvr additive="base">
                                            <p:cTn id="8" dur="500" fill="hold"/>
                                            <p:tgtEl>
                                              <p:spTgt spid="95"/>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200"/>
                                      </p:stCondLst>
                                      <p:childTnLst>
                                        <p:set>
                                          <p:cBhvr>
                                            <p:cTn id="10" dur="1" fill="hold">
                                              <p:stCondLst>
                                                <p:cond delay="0"/>
                                              </p:stCondLst>
                                            </p:cTn>
                                            <p:tgtEl>
                                              <p:spTgt spid="96"/>
                                            </p:tgtEl>
                                            <p:attrNameLst>
                                              <p:attrName>style.visibility</p:attrName>
                                            </p:attrNameLst>
                                          </p:cBhvr>
                                          <p:to>
                                            <p:strVal val="visible"/>
                                          </p:to>
                                        </p:set>
                                        <p:animEffect transition="in" filter="barn(outVertical)">
                                          <p:cBhvr>
                                            <p:cTn id="1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pPr defTabSz="914016"/>
            <a:r>
              <a:rPr lang="en-US" spc="-150" dirty="0"/>
              <a:t>Azure Machine Learning Services</a:t>
            </a:r>
          </a:p>
        </p:txBody>
      </p:sp>
      <p:sp>
        <p:nvSpPr>
          <p:cNvPr id="11" name="Rectangle 10">
            <a:extLst>
              <a:ext uri="{FF2B5EF4-FFF2-40B4-BE49-F238E27FC236}">
                <a16:creationId xmlns:a16="http://schemas.microsoft.com/office/drawing/2014/main" id="{D88CF9A1-0ACF-4E45-B06C-2AB62194FDC8}"/>
              </a:ext>
            </a:extLst>
          </p:cNvPr>
          <p:cNvSpPr/>
          <p:nvPr/>
        </p:nvSpPr>
        <p:spPr>
          <a:xfrm>
            <a:off x="3124235" y="2211781"/>
            <a:ext cx="3408324" cy="246221"/>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Boost your data science productivity</a:t>
            </a:r>
          </a:p>
        </p:txBody>
      </p:sp>
      <p:sp>
        <p:nvSpPr>
          <p:cNvPr id="12" name="Rectangle 11">
            <a:extLst>
              <a:ext uri="{FF2B5EF4-FFF2-40B4-BE49-F238E27FC236}">
                <a16:creationId xmlns:a16="http://schemas.microsoft.com/office/drawing/2014/main" id="{54C3F0E5-8EFB-4AD7-8D7F-2A838942A046}"/>
              </a:ext>
            </a:extLst>
          </p:cNvPr>
          <p:cNvSpPr/>
          <p:nvPr/>
        </p:nvSpPr>
        <p:spPr>
          <a:xfrm>
            <a:off x="3124235" y="3752885"/>
            <a:ext cx="3588954" cy="246221"/>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Increase your rate of experimentation</a:t>
            </a:r>
          </a:p>
        </p:txBody>
      </p:sp>
      <p:sp>
        <p:nvSpPr>
          <p:cNvPr id="13" name="Rectangle 12">
            <a:extLst>
              <a:ext uri="{FF2B5EF4-FFF2-40B4-BE49-F238E27FC236}">
                <a16:creationId xmlns:a16="http://schemas.microsoft.com/office/drawing/2014/main" id="{98D83CD9-B7FC-4CE5-9248-FD1F384CF6E8}"/>
              </a:ext>
            </a:extLst>
          </p:cNvPr>
          <p:cNvSpPr/>
          <p:nvPr/>
        </p:nvSpPr>
        <p:spPr>
          <a:xfrm>
            <a:off x="3124235" y="5170878"/>
            <a:ext cx="3588954" cy="492443"/>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Deploy and manage your</a:t>
            </a:r>
            <a:br>
              <a:rPr lang="en-US" sz="1600" b="1" kern="0" dirty="0">
                <a:solidFill>
                  <a:srgbClr val="0078D7"/>
                </a:solidFill>
                <a:latin typeface="Segoe UI Semibold" charset="0"/>
                <a:cs typeface="Segoe UI Semibold" charset="0"/>
              </a:rPr>
            </a:br>
            <a:r>
              <a:rPr lang="en-US" sz="1600" b="1" kern="0" dirty="0">
                <a:solidFill>
                  <a:srgbClr val="0078D7"/>
                </a:solidFill>
                <a:latin typeface="Segoe UI Semibold" charset="0"/>
                <a:cs typeface="Segoe UI Semibold" charset="0"/>
              </a:rPr>
              <a:t>models everywhere</a:t>
            </a:r>
          </a:p>
        </p:txBody>
      </p:sp>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190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6487"/>
            <a:ext cx="2814119"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62288"/>
            <a:ext cx="4583030" cy="221599"/>
            <a:chOff x="7151769" y="2942945"/>
            <a:chExt cx="4583030" cy="221599"/>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42945"/>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GPU-enabled virtual machine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70423"/>
            <a:ext cx="4583030" cy="221599"/>
            <a:chOff x="7151769" y="3505226"/>
            <a:chExt cx="4583030" cy="221599"/>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505226"/>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ow latency predictions at scale</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78558"/>
            <a:ext cx="4583030" cy="221599"/>
            <a:chOff x="7151769" y="4067507"/>
            <a:chExt cx="4583030" cy="221599"/>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67507"/>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Integration with popular Python IDEs</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386693"/>
            <a:ext cx="4583030" cy="221599"/>
            <a:chOff x="7151769" y="4629788"/>
            <a:chExt cx="4583030" cy="221599"/>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29788"/>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Role-based access control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894828"/>
            <a:ext cx="4583030" cy="221599"/>
            <a:chOff x="7151769" y="5192069"/>
            <a:chExt cx="4583030" cy="221599"/>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192069"/>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Model versioning</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402965"/>
            <a:ext cx="4583030" cy="221599"/>
            <a:chOff x="7151769" y="5754350"/>
            <a:chExt cx="4583030" cy="221599"/>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54350"/>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utomated model retrain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358612"/>
            <a:ext cx="9727945" cy="0"/>
          </a:xfrm>
          <a:prstGeom prst="line">
            <a:avLst/>
          </a:prstGeom>
          <a:ln w="19050">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pic>
        <p:nvPicPr>
          <p:cNvPr id="134" name="Picture 133">
            <a:extLst>
              <a:ext uri="{FF2B5EF4-FFF2-40B4-BE49-F238E27FC236}">
                <a16:creationId xmlns:a16="http://schemas.microsoft.com/office/drawing/2014/main" id="{F615ECE7-CD8F-4CE8-8016-E982D69313A6}"/>
              </a:ext>
            </a:extLst>
          </p:cNvPr>
          <p:cNvPicPr>
            <a:picLocks noChangeAspect="1"/>
          </p:cNvPicPr>
          <p:nvPr/>
        </p:nvPicPr>
        <p:blipFill>
          <a:blip r:embed="rId3"/>
          <a:stretch>
            <a:fillRect/>
          </a:stretch>
        </p:blipFill>
        <p:spPr>
          <a:xfrm>
            <a:off x="10959972" y="361686"/>
            <a:ext cx="774827" cy="903958"/>
          </a:xfrm>
          <a:prstGeom prst="rect">
            <a:avLst/>
          </a:prstGeom>
        </p:spPr>
      </p:pic>
      <p:sp>
        <p:nvSpPr>
          <p:cNvPr id="152" name="Rectangle 151">
            <a:extLst>
              <a:ext uri="{FF2B5EF4-FFF2-40B4-BE49-F238E27FC236}">
                <a16:creationId xmlns:a16="http://schemas.microsoft.com/office/drawing/2014/main" id="{D95D2C99-D80D-4E27-941A-9BFD30CCEF5C}"/>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IN" sz="2400" dirty="0">
                <a:solidFill>
                  <a:schemeClr val="tx1"/>
                </a:solidFill>
                <a:latin typeface="+mj-lt"/>
                <a:cs typeface="Segoe UI" panose="020B0502040204020203" pitchFamily="34" charset="0"/>
              </a:rPr>
              <a:t>Bring AI to everyone with an end-to-end, scalable, trusted platform</a:t>
            </a:r>
          </a:p>
        </p:txBody>
      </p:sp>
      <p:grpSp>
        <p:nvGrpSpPr>
          <p:cNvPr id="153" name="Group 19">
            <a:extLst>
              <a:ext uri="{FF2B5EF4-FFF2-40B4-BE49-F238E27FC236}">
                <a16:creationId xmlns:a16="http://schemas.microsoft.com/office/drawing/2014/main" id="{9742FFD7-44F1-4572-9959-C37BE11D4F52}"/>
              </a:ext>
            </a:extLst>
          </p:cNvPr>
          <p:cNvGrpSpPr>
            <a:grpSpLocks noChangeAspect="1"/>
          </p:cNvGrpSpPr>
          <p:nvPr/>
        </p:nvGrpSpPr>
        <p:grpSpPr bwMode="auto">
          <a:xfrm>
            <a:off x="1747574" y="2033738"/>
            <a:ext cx="522999" cy="576035"/>
            <a:chOff x="5501" y="2996"/>
            <a:chExt cx="355" cy="391"/>
          </a:xfrm>
          <a:solidFill>
            <a:schemeClr val="tx1"/>
          </a:solidFill>
        </p:grpSpPr>
        <p:sp>
          <p:nvSpPr>
            <p:cNvPr id="154" name="Freeform 20">
              <a:extLst>
                <a:ext uri="{FF2B5EF4-FFF2-40B4-BE49-F238E27FC236}">
                  <a16:creationId xmlns:a16="http://schemas.microsoft.com/office/drawing/2014/main" id="{D98ADEE9-49F0-47C5-95BF-B4CB9688AB39}"/>
                </a:ext>
              </a:extLst>
            </p:cNvPr>
            <p:cNvSpPr>
              <a:spLocks noEditPoints="1"/>
            </p:cNvSpPr>
            <p:nvPr/>
          </p:nvSpPr>
          <p:spPr bwMode="auto">
            <a:xfrm>
              <a:off x="5501"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6" y="12"/>
                    <a:pt x="12" y="34"/>
                    <a:pt x="12" y="54"/>
                  </a:cubicBezTo>
                  <a:cubicBezTo>
                    <a:pt x="12" y="74"/>
                    <a:pt x="56" y="96"/>
                    <a:pt x="120" y="96"/>
                  </a:cubicBezTo>
                  <a:cubicBezTo>
                    <a:pt x="184" y="96"/>
                    <a:pt x="228" y="74"/>
                    <a:pt x="228" y="54"/>
                  </a:cubicBezTo>
                  <a:cubicBezTo>
                    <a:pt x="228" y="34"/>
                    <a:pt x="184"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5" name="Freeform 21">
              <a:extLst>
                <a:ext uri="{FF2B5EF4-FFF2-40B4-BE49-F238E27FC236}">
                  <a16:creationId xmlns:a16="http://schemas.microsoft.com/office/drawing/2014/main" id="{899DC48D-14FC-4FAE-879F-BD2E7AA73F54}"/>
                </a:ext>
              </a:extLst>
            </p:cNvPr>
            <p:cNvSpPr>
              <a:spLocks/>
            </p:cNvSpPr>
            <p:nvPr/>
          </p:nvSpPr>
          <p:spPr bwMode="auto">
            <a:xfrm>
              <a:off x="5501"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8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6" y="48"/>
                    <a:pt x="132" y="48"/>
                    <a:pt x="138" y="47"/>
                  </a:cubicBezTo>
                  <a:cubicBezTo>
                    <a:pt x="141" y="47"/>
                    <a:pt x="144" y="50"/>
                    <a:pt x="144" y="53"/>
                  </a:cubicBezTo>
                  <a:cubicBezTo>
                    <a:pt x="144" y="56"/>
                    <a:pt x="142" y="59"/>
                    <a:pt x="138" y="59"/>
                  </a:cubicBezTo>
                  <a:cubicBezTo>
                    <a:pt x="132" y="60"/>
                    <a:pt x="126"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6" name="Freeform 22">
              <a:extLst>
                <a:ext uri="{FF2B5EF4-FFF2-40B4-BE49-F238E27FC236}">
                  <a16:creationId xmlns:a16="http://schemas.microsoft.com/office/drawing/2014/main" id="{4A057447-17A6-4B42-8C16-9B8B5CD9774D}"/>
                </a:ext>
              </a:extLst>
            </p:cNvPr>
            <p:cNvSpPr>
              <a:spLocks/>
            </p:cNvSpPr>
            <p:nvPr/>
          </p:nvSpPr>
          <p:spPr bwMode="auto">
            <a:xfrm>
              <a:off x="5501"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3" y="48"/>
                    <a:pt x="126" y="51"/>
                    <a:pt x="126" y="54"/>
                  </a:cubicBezTo>
                  <a:cubicBezTo>
                    <a:pt x="126" y="57"/>
                    <a:pt x="123"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7" name="Freeform 23">
              <a:extLst>
                <a:ext uri="{FF2B5EF4-FFF2-40B4-BE49-F238E27FC236}">
                  <a16:creationId xmlns:a16="http://schemas.microsoft.com/office/drawing/2014/main" id="{15AC6CC7-4E07-40B9-AEC8-A2202DF55AD7}"/>
                </a:ext>
              </a:extLst>
            </p:cNvPr>
            <p:cNvSpPr>
              <a:spLocks/>
            </p:cNvSpPr>
            <p:nvPr/>
          </p:nvSpPr>
          <p:spPr bwMode="auto">
            <a:xfrm>
              <a:off x="5501"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9" y="0"/>
                    <a:pt x="12" y="3"/>
                    <a:pt x="12" y="6"/>
                  </a:cubicBezTo>
                  <a:cubicBezTo>
                    <a:pt x="12" y="162"/>
                    <a:pt x="12" y="162"/>
                    <a:pt x="12" y="162"/>
                  </a:cubicBezTo>
                  <a:cubicBezTo>
                    <a:pt x="12" y="182"/>
                    <a:pt x="56" y="204"/>
                    <a:pt x="120" y="204"/>
                  </a:cubicBezTo>
                  <a:cubicBezTo>
                    <a:pt x="123" y="204"/>
                    <a:pt x="126" y="207"/>
                    <a:pt x="126" y="210"/>
                  </a:cubicBezTo>
                  <a:cubicBezTo>
                    <a:pt x="126" y="213"/>
                    <a:pt x="123"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8" name="Freeform 24">
              <a:extLst>
                <a:ext uri="{FF2B5EF4-FFF2-40B4-BE49-F238E27FC236}">
                  <a16:creationId xmlns:a16="http://schemas.microsoft.com/office/drawing/2014/main" id="{EAD25058-4F70-40DE-815A-CB8EC74F123D}"/>
                </a:ext>
              </a:extLst>
            </p:cNvPr>
            <p:cNvSpPr>
              <a:spLocks/>
            </p:cNvSpPr>
            <p:nvPr/>
          </p:nvSpPr>
          <p:spPr bwMode="auto">
            <a:xfrm>
              <a:off x="5838"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9" y="0"/>
                    <a:pt x="12" y="3"/>
                    <a:pt x="12" y="6"/>
                  </a:cubicBezTo>
                  <a:cubicBezTo>
                    <a:pt x="12" y="72"/>
                    <a:pt x="12" y="72"/>
                    <a:pt x="12" y="72"/>
                  </a:cubicBezTo>
                  <a:cubicBezTo>
                    <a:pt x="12" y="75"/>
                    <a:pt x="9"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161" name="Group 160">
            <a:extLst>
              <a:ext uri="{FF2B5EF4-FFF2-40B4-BE49-F238E27FC236}">
                <a16:creationId xmlns:a16="http://schemas.microsoft.com/office/drawing/2014/main" id="{28CE031F-205D-4A9E-A592-5EC5902E246D}"/>
              </a:ext>
            </a:extLst>
          </p:cNvPr>
          <p:cNvGrpSpPr/>
          <p:nvPr/>
        </p:nvGrpSpPr>
        <p:grpSpPr>
          <a:xfrm>
            <a:off x="2068680" y="2345275"/>
            <a:ext cx="301987" cy="338361"/>
            <a:chOff x="8388351" y="-2647950"/>
            <a:chExt cx="566738" cy="635000"/>
          </a:xfrm>
          <a:solidFill>
            <a:schemeClr val="tx1"/>
          </a:solidFill>
        </p:grpSpPr>
        <p:sp>
          <p:nvSpPr>
            <p:cNvPr id="162" name="Freeform 14">
              <a:extLst>
                <a:ext uri="{FF2B5EF4-FFF2-40B4-BE49-F238E27FC236}">
                  <a16:creationId xmlns:a16="http://schemas.microsoft.com/office/drawing/2014/main" id="{8FF7EF55-C68D-4372-AADC-905F6038C1E8}"/>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w="6350">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63" name="Freeform 15">
              <a:extLst>
                <a:ext uri="{FF2B5EF4-FFF2-40B4-BE49-F238E27FC236}">
                  <a16:creationId xmlns:a16="http://schemas.microsoft.com/office/drawing/2014/main" id="{51526615-73DC-413D-A2AE-7FC1F29097C4}"/>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w="6350">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grpSp>
      <p:grpSp>
        <p:nvGrpSpPr>
          <p:cNvPr id="164" name="Group 103">
            <a:extLst>
              <a:ext uri="{FF2B5EF4-FFF2-40B4-BE49-F238E27FC236}">
                <a16:creationId xmlns:a16="http://schemas.microsoft.com/office/drawing/2014/main" id="{D6446F49-61B5-4014-AA1F-46F949F589E9}"/>
              </a:ext>
            </a:extLst>
          </p:cNvPr>
          <p:cNvGrpSpPr>
            <a:grpSpLocks noChangeAspect="1"/>
          </p:cNvGrpSpPr>
          <p:nvPr/>
        </p:nvGrpSpPr>
        <p:grpSpPr bwMode="auto">
          <a:xfrm>
            <a:off x="1739976" y="3513746"/>
            <a:ext cx="691724" cy="693351"/>
            <a:chOff x="349" y="2997"/>
            <a:chExt cx="425" cy="426"/>
          </a:xfrm>
          <a:solidFill>
            <a:schemeClr val="tx1"/>
          </a:solidFill>
        </p:grpSpPr>
        <p:sp>
          <p:nvSpPr>
            <p:cNvPr id="165" name="Freeform 104">
              <a:extLst>
                <a:ext uri="{FF2B5EF4-FFF2-40B4-BE49-F238E27FC236}">
                  <a16:creationId xmlns:a16="http://schemas.microsoft.com/office/drawing/2014/main" id="{4DD5641C-CE6A-4A73-A650-E43763DCAD7D}"/>
                </a:ext>
              </a:extLst>
            </p:cNvPr>
            <p:cNvSpPr>
              <a:spLocks/>
            </p:cNvSpPr>
            <p:nvPr/>
          </p:nvSpPr>
          <p:spPr bwMode="auto">
            <a:xfrm>
              <a:off x="429" y="3405"/>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6" name="Freeform 105">
              <a:extLst>
                <a:ext uri="{FF2B5EF4-FFF2-40B4-BE49-F238E27FC236}">
                  <a16:creationId xmlns:a16="http://schemas.microsoft.com/office/drawing/2014/main" id="{7C5DFD06-9CA3-4CD9-8A9B-AC9BA23D96BA}"/>
                </a:ext>
              </a:extLst>
            </p:cNvPr>
            <p:cNvSpPr>
              <a:spLocks/>
            </p:cNvSpPr>
            <p:nvPr/>
          </p:nvSpPr>
          <p:spPr bwMode="auto">
            <a:xfrm>
              <a:off x="482" y="337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7" name="Rectangle 106">
              <a:extLst>
                <a:ext uri="{FF2B5EF4-FFF2-40B4-BE49-F238E27FC236}">
                  <a16:creationId xmlns:a16="http://schemas.microsoft.com/office/drawing/2014/main" id="{467C1D88-4DFA-4EAC-AFFC-61C89007666D}"/>
                </a:ext>
              </a:extLst>
            </p:cNvPr>
            <p:cNvSpPr>
              <a:spLocks noChangeArrowheads="1"/>
            </p:cNvSpPr>
            <p:nvPr/>
          </p:nvSpPr>
          <p:spPr bwMode="auto">
            <a:xfrm>
              <a:off x="358" y="3334"/>
              <a:ext cx="26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8" name="Freeform 107">
              <a:extLst>
                <a:ext uri="{FF2B5EF4-FFF2-40B4-BE49-F238E27FC236}">
                  <a16:creationId xmlns:a16="http://schemas.microsoft.com/office/drawing/2014/main" id="{E96F6CCA-588B-43BE-B1C9-97156121A6AD}"/>
                </a:ext>
              </a:extLst>
            </p:cNvPr>
            <p:cNvSpPr>
              <a:spLocks/>
            </p:cNvSpPr>
            <p:nvPr/>
          </p:nvSpPr>
          <p:spPr bwMode="auto">
            <a:xfrm>
              <a:off x="491" y="3068"/>
              <a:ext cx="115" cy="124"/>
            </a:xfrm>
            <a:custGeom>
              <a:avLst/>
              <a:gdLst>
                <a:gd name="T0" fmla="*/ 6 w 78"/>
                <a:gd name="T1" fmla="*/ 84 h 84"/>
                <a:gd name="T2" fmla="*/ 0 w 78"/>
                <a:gd name="T3" fmla="*/ 78 h 84"/>
                <a:gd name="T4" fmla="*/ 0 w 78"/>
                <a:gd name="T5" fmla="*/ 51 h 84"/>
                <a:gd name="T6" fmla="*/ 51 w 78"/>
                <a:gd name="T7" fmla="*/ 0 h 84"/>
                <a:gd name="T8" fmla="*/ 72 w 78"/>
                <a:gd name="T9" fmla="*/ 0 h 84"/>
                <a:gd name="T10" fmla="*/ 78 w 78"/>
                <a:gd name="T11" fmla="*/ 6 h 84"/>
                <a:gd name="T12" fmla="*/ 72 w 78"/>
                <a:gd name="T13" fmla="*/ 12 h 84"/>
                <a:gd name="T14" fmla="*/ 51 w 78"/>
                <a:gd name="T15" fmla="*/ 12 h 84"/>
                <a:gd name="T16" fmla="*/ 12 w 78"/>
                <a:gd name="T17" fmla="*/ 51 h 84"/>
                <a:gd name="T18" fmla="*/ 12 w 78"/>
                <a:gd name="T19" fmla="*/ 78 h 84"/>
                <a:gd name="T20" fmla="*/ 6 w 78"/>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84">
                  <a:moveTo>
                    <a:pt x="6" y="84"/>
                  </a:moveTo>
                  <a:cubicBezTo>
                    <a:pt x="2" y="84"/>
                    <a:pt x="0" y="82"/>
                    <a:pt x="0" y="78"/>
                  </a:cubicBezTo>
                  <a:cubicBezTo>
                    <a:pt x="0" y="51"/>
                    <a:pt x="0" y="51"/>
                    <a:pt x="0" y="51"/>
                  </a:cubicBezTo>
                  <a:cubicBezTo>
                    <a:pt x="0" y="23"/>
                    <a:pt x="23" y="0"/>
                    <a:pt x="51" y="0"/>
                  </a:cubicBezTo>
                  <a:cubicBezTo>
                    <a:pt x="72" y="0"/>
                    <a:pt x="72" y="0"/>
                    <a:pt x="72" y="0"/>
                  </a:cubicBezTo>
                  <a:cubicBezTo>
                    <a:pt x="75" y="0"/>
                    <a:pt x="78" y="3"/>
                    <a:pt x="78" y="6"/>
                  </a:cubicBezTo>
                  <a:cubicBezTo>
                    <a:pt x="78" y="10"/>
                    <a:pt x="75" y="12"/>
                    <a:pt x="72" y="12"/>
                  </a:cubicBezTo>
                  <a:cubicBezTo>
                    <a:pt x="51" y="12"/>
                    <a:pt x="51" y="12"/>
                    <a:pt x="51" y="12"/>
                  </a:cubicBezTo>
                  <a:cubicBezTo>
                    <a:pt x="29" y="12"/>
                    <a:pt x="12" y="30"/>
                    <a:pt x="12" y="51"/>
                  </a:cubicBezTo>
                  <a:cubicBezTo>
                    <a:pt x="12" y="78"/>
                    <a:pt x="12" y="78"/>
                    <a:pt x="12" y="78"/>
                  </a:cubicBezTo>
                  <a:cubicBezTo>
                    <a:pt x="12" y="82"/>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9" name="Freeform 108">
              <a:extLst>
                <a:ext uri="{FF2B5EF4-FFF2-40B4-BE49-F238E27FC236}">
                  <a16:creationId xmlns:a16="http://schemas.microsoft.com/office/drawing/2014/main" id="{1C2D40C8-C40F-4D6C-BF9F-6528AE7B7CE0}"/>
                </a:ext>
              </a:extLst>
            </p:cNvPr>
            <p:cNvSpPr>
              <a:spLocks/>
            </p:cNvSpPr>
            <p:nvPr/>
          </p:nvSpPr>
          <p:spPr bwMode="auto">
            <a:xfrm>
              <a:off x="454" y="3139"/>
              <a:ext cx="90" cy="53"/>
            </a:xfrm>
            <a:custGeom>
              <a:avLst/>
              <a:gdLst>
                <a:gd name="T0" fmla="*/ 31 w 61"/>
                <a:gd name="T1" fmla="*/ 36 h 36"/>
                <a:gd name="T2" fmla="*/ 26 w 61"/>
                <a:gd name="T3" fmla="*/ 34 h 36"/>
                <a:gd name="T4" fmla="*/ 2 w 61"/>
                <a:gd name="T5" fmla="*/ 10 h 36"/>
                <a:gd name="T6" fmla="*/ 2 w 61"/>
                <a:gd name="T7" fmla="*/ 2 h 36"/>
                <a:gd name="T8" fmla="*/ 11 w 61"/>
                <a:gd name="T9" fmla="*/ 2 h 36"/>
                <a:gd name="T10" fmla="*/ 31 w 61"/>
                <a:gd name="T11" fmla="*/ 22 h 36"/>
                <a:gd name="T12" fmla="*/ 50 w 61"/>
                <a:gd name="T13" fmla="*/ 2 h 36"/>
                <a:gd name="T14" fmla="*/ 59 w 61"/>
                <a:gd name="T15" fmla="*/ 2 h 36"/>
                <a:gd name="T16" fmla="*/ 59 w 61"/>
                <a:gd name="T17" fmla="*/ 10 h 36"/>
                <a:gd name="T18" fmla="*/ 35 w 61"/>
                <a:gd name="T19" fmla="*/ 34 h 36"/>
                <a:gd name="T20" fmla="*/ 31 w 61"/>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6">
                  <a:moveTo>
                    <a:pt x="31" y="36"/>
                  </a:moveTo>
                  <a:cubicBezTo>
                    <a:pt x="29" y="36"/>
                    <a:pt x="28" y="36"/>
                    <a:pt x="26" y="34"/>
                  </a:cubicBezTo>
                  <a:cubicBezTo>
                    <a:pt x="2" y="10"/>
                    <a:pt x="2" y="10"/>
                    <a:pt x="2" y="10"/>
                  </a:cubicBezTo>
                  <a:cubicBezTo>
                    <a:pt x="0" y="8"/>
                    <a:pt x="0" y="4"/>
                    <a:pt x="2" y="2"/>
                  </a:cubicBezTo>
                  <a:cubicBezTo>
                    <a:pt x="5" y="0"/>
                    <a:pt x="9" y="0"/>
                    <a:pt x="11" y="2"/>
                  </a:cubicBezTo>
                  <a:cubicBezTo>
                    <a:pt x="31" y="22"/>
                    <a:pt x="31" y="22"/>
                    <a:pt x="31" y="22"/>
                  </a:cubicBezTo>
                  <a:cubicBezTo>
                    <a:pt x="50" y="2"/>
                    <a:pt x="50" y="2"/>
                    <a:pt x="50" y="2"/>
                  </a:cubicBezTo>
                  <a:cubicBezTo>
                    <a:pt x="53" y="0"/>
                    <a:pt x="57" y="0"/>
                    <a:pt x="59" y="2"/>
                  </a:cubicBezTo>
                  <a:cubicBezTo>
                    <a:pt x="61" y="4"/>
                    <a:pt x="61" y="8"/>
                    <a:pt x="59" y="10"/>
                  </a:cubicBezTo>
                  <a:cubicBezTo>
                    <a:pt x="35" y="34"/>
                    <a:pt x="35" y="34"/>
                    <a:pt x="35" y="34"/>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0" name="Freeform 109">
              <a:extLst>
                <a:ext uri="{FF2B5EF4-FFF2-40B4-BE49-F238E27FC236}">
                  <a16:creationId xmlns:a16="http://schemas.microsoft.com/office/drawing/2014/main" id="{E83FB428-160A-405D-925B-63798D722EC7}"/>
                </a:ext>
              </a:extLst>
            </p:cNvPr>
            <p:cNvSpPr>
              <a:spLocks/>
            </p:cNvSpPr>
            <p:nvPr/>
          </p:nvSpPr>
          <p:spPr bwMode="auto">
            <a:xfrm>
              <a:off x="349" y="3192"/>
              <a:ext cx="283" cy="196"/>
            </a:xfrm>
            <a:custGeom>
              <a:avLst/>
              <a:gdLst>
                <a:gd name="T0" fmla="*/ 168 w 192"/>
                <a:gd name="T1" fmla="*/ 132 h 132"/>
                <a:gd name="T2" fmla="*/ 24 w 192"/>
                <a:gd name="T3" fmla="*/ 132 h 132"/>
                <a:gd name="T4" fmla="*/ 0 w 192"/>
                <a:gd name="T5" fmla="*/ 108 h 132"/>
                <a:gd name="T6" fmla="*/ 0 w 192"/>
                <a:gd name="T7" fmla="*/ 24 h 132"/>
                <a:gd name="T8" fmla="*/ 24 w 192"/>
                <a:gd name="T9" fmla="*/ 0 h 132"/>
                <a:gd name="T10" fmla="*/ 42 w 192"/>
                <a:gd name="T11" fmla="*/ 0 h 132"/>
                <a:gd name="T12" fmla="*/ 48 w 192"/>
                <a:gd name="T13" fmla="*/ 6 h 132"/>
                <a:gd name="T14" fmla="*/ 42 w 192"/>
                <a:gd name="T15" fmla="*/ 12 h 132"/>
                <a:gd name="T16" fmla="*/ 24 w 192"/>
                <a:gd name="T17" fmla="*/ 12 h 132"/>
                <a:gd name="T18" fmla="*/ 12 w 192"/>
                <a:gd name="T19" fmla="*/ 24 h 132"/>
                <a:gd name="T20" fmla="*/ 12 w 192"/>
                <a:gd name="T21" fmla="*/ 108 h 132"/>
                <a:gd name="T22" fmla="*/ 24 w 192"/>
                <a:gd name="T23" fmla="*/ 120 h 132"/>
                <a:gd name="T24" fmla="*/ 168 w 192"/>
                <a:gd name="T25" fmla="*/ 120 h 132"/>
                <a:gd name="T26" fmla="*/ 180 w 192"/>
                <a:gd name="T27" fmla="*/ 108 h 132"/>
                <a:gd name="T28" fmla="*/ 180 w 192"/>
                <a:gd name="T29" fmla="*/ 24 h 132"/>
                <a:gd name="T30" fmla="*/ 168 w 192"/>
                <a:gd name="T31" fmla="*/ 12 h 132"/>
                <a:gd name="T32" fmla="*/ 150 w 192"/>
                <a:gd name="T33" fmla="*/ 12 h 132"/>
                <a:gd name="T34" fmla="*/ 144 w 192"/>
                <a:gd name="T35" fmla="*/ 6 h 132"/>
                <a:gd name="T36" fmla="*/ 150 w 192"/>
                <a:gd name="T37" fmla="*/ 0 h 132"/>
                <a:gd name="T38" fmla="*/ 168 w 192"/>
                <a:gd name="T39" fmla="*/ 0 h 132"/>
                <a:gd name="T40" fmla="*/ 192 w 192"/>
                <a:gd name="T41" fmla="*/ 24 h 132"/>
                <a:gd name="T42" fmla="*/ 192 w 192"/>
                <a:gd name="T43" fmla="*/ 108 h 132"/>
                <a:gd name="T44" fmla="*/ 168 w 192"/>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32">
                  <a:moveTo>
                    <a:pt x="168" y="132"/>
                  </a:moveTo>
                  <a:cubicBezTo>
                    <a:pt x="24" y="132"/>
                    <a:pt x="24" y="132"/>
                    <a:pt x="24" y="132"/>
                  </a:cubicBezTo>
                  <a:cubicBezTo>
                    <a:pt x="10" y="132"/>
                    <a:pt x="0" y="121"/>
                    <a:pt x="0" y="108"/>
                  </a:cubicBezTo>
                  <a:cubicBezTo>
                    <a:pt x="0" y="24"/>
                    <a:pt x="0" y="24"/>
                    <a:pt x="0" y="24"/>
                  </a:cubicBezTo>
                  <a:cubicBezTo>
                    <a:pt x="0" y="11"/>
                    <a:pt x="10" y="0"/>
                    <a:pt x="24" y="0"/>
                  </a:cubicBezTo>
                  <a:cubicBezTo>
                    <a:pt x="42" y="0"/>
                    <a:pt x="42" y="0"/>
                    <a:pt x="42" y="0"/>
                  </a:cubicBezTo>
                  <a:cubicBezTo>
                    <a:pt x="45" y="0"/>
                    <a:pt x="48" y="3"/>
                    <a:pt x="48" y="6"/>
                  </a:cubicBezTo>
                  <a:cubicBezTo>
                    <a:pt x="48" y="10"/>
                    <a:pt x="45" y="12"/>
                    <a:pt x="42" y="12"/>
                  </a:cubicBezTo>
                  <a:cubicBezTo>
                    <a:pt x="24" y="12"/>
                    <a:pt x="24" y="12"/>
                    <a:pt x="24" y="12"/>
                  </a:cubicBezTo>
                  <a:cubicBezTo>
                    <a:pt x="17" y="12"/>
                    <a:pt x="12" y="18"/>
                    <a:pt x="12" y="24"/>
                  </a:cubicBezTo>
                  <a:cubicBezTo>
                    <a:pt x="12" y="108"/>
                    <a:pt x="12" y="108"/>
                    <a:pt x="12" y="108"/>
                  </a:cubicBezTo>
                  <a:cubicBezTo>
                    <a:pt x="12" y="115"/>
                    <a:pt x="17" y="120"/>
                    <a:pt x="24" y="120"/>
                  </a:cubicBezTo>
                  <a:cubicBezTo>
                    <a:pt x="168" y="120"/>
                    <a:pt x="168" y="120"/>
                    <a:pt x="168" y="120"/>
                  </a:cubicBezTo>
                  <a:cubicBezTo>
                    <a:pt x="174" y="120"/>
                    <a:pt x="180" y="115"/>
                    <a:pt x="180" y="108"/>
                  </a:cubicBezTo>
                  <a:cubicBezTo>
                    <a:pt x="180" y="24"/>
                    <a:pt x="180" y="24"/>
                    <a:pt x="180" y="24"/>
                  </a:cubicBezTo>
                  <a:cubicBezTo>
                    <a:pt x="180" y="18"/>
                    <a:pt x="174" y="12"/>
                    <a:pt x="168" y="12"/>
                  </a:cubicBezTo>
                  <a:cubicBezTo>
                    <a:pt x="150" y="12"/>
                    <a:pt x="150" y="12"/>
                    <a:pt x="150" y="12"/>
                  </a:cubicBezTo>
                  <a:cubicBezTo>
                    <a:pt x="146" y="12"/>
                    <a:pt x="144" y="10"/>
                    <a:pt x="144" y="6"/>
                  </a:cubicBezTo>
                  <a:cubicBezTo>
                    <a:pt x="144" y="3"/>
                    <a:pt x="146" y="0"/>
                    <a:pt x="150" y="0"/>
                  </a:cubicBezTo>
                  <a:cubicBezTo>
                    <a:pt x="168" y="0"/>
                    <a:pt x="168" y="0"/>
                    <a:pt x="168" y="0"/>
                  </a:cubicBezTo>
                  <a:cubicBezTo>
                    <a:pt x="181" y="0"/>
                    <a:pt x="192" y="11"/>
                    <a:pt x="192" y="24"/>
                  </a:cubicBezTo>
                  <a:cubicBezTo>
                    <a:pt x="192" y="108"/>
                    <a:pt x="192" y="108"/>
                    <a:pt x="192" y="108"/>
                  </a:cubicBezTo>
                  <a:cubicBezTo>
                    <a:pt x="192" y="121"/>
                    <a:pt x="181" y="132"/>
                    <a:pt x="16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1" name="Freeform 110">
              <a:extLst>
                <a:ext uri="{FF2B5EF4-FFF2-40B4-BE49-F238E27FC236}">
                  <a16:creationId xmlns:a16="http://schemas.microsoft.com/office/drawing/2014/main" id="{9BB2CC14-57C9-4296-880F-5400405FF9C9}"/>
                </a:ext>
              </a:extLst>
            </p:cNvPr>
            <p:cNvSpPr>
              <a:spLocks/>
            </p:cNvSpPr>
            <p:nvPr/>
          </p:nvSpPr>
          <p:spPr bwMode="auto">
            <a:xfrm>
              <a:off x="560" y="3041"/>
              <a:ext cx="46" cy="71"/>
            </a:xfrm>
            <a:custGeom>
              <a:avLst/>
              <a:gdLst>
                <a:gd name="T0" fmla="*/ 7 w 31"/>
                <a:gd name="T1" fmla="*/ 48 h 48"/>
                <a:gd name="T2" fmla="*/ 2 w 31"/>
                <a:gd name="T3" fmla="*/ 46 h 48"/>
                <a:gd name="T4" fmla="*/ 2 w 31"/>
                <a:gd name="T5" fmla="*/ 38 h 48"/>
                <a:gd name="T6" fmla="*/ 16 w 31"/>
                <a:gd name="T7" fmla="*/ 24 h 48"/>
                <a:gd name="T8" fmla="*/ 2 w 31"/>
                <a:gd name="T9" fmla="*/ 10 h 48"/>
                <a:gd name="T10" fmla="*/ 2 w 31"/>
                <a:gd name="T11" fmla="*/ 2 h 48"/>
                <a:gd name="T12" fmla="*/ 11 w 31"/>
                <a:gd name="T13" fmla="*/ 2 h 48"/>
                <a:gd name="T14" fmla="*/ 29 w 31"/>
                <a:gd name="T15" fmla="*/ 20 h 48"/>
                <a:gd name="T16" fmla="*/ 29 w 31"/>
                <a:gd name="T17" fmla="*/ 28 h 48"/>
                <a:gd name="T18" fmla="*/ 11 w 31"/>
                <a:gd name="T19" fmla="*/ 46 h 48"/>
                <a:gd name="T20" fmla="*/ 7 w 31"/>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8">
                  <a:moveTo>
                    <a:pt x="7" y="48"/>
                  </a:moveTo>
                  <a:cubicBezTo>
                    <a:pt x="5" y="48"/>
                    <a:pt x="4" y="48"/>
                    <a:pt x="2" y="46"/>
                  </a:cubicBezTo>
                  <a:cubicBezTo>
                    <a:pt x="0" y="44"/>
                    <a:pt x="0" y="40"/>
                    <a:pt x="2" y="38"/>
                  </a:cubicBezTo>
                  <a:cubicBezTo>
                    <a:pt x="16" y="24"/>
                    <a:pt x="16" y="24"/>
                    <a:pt x="16" y="24"/>
                  </a:cubicBezTo>
                  <a:cubicBezTo>
                    <a:pt x="2" y="10"/>
                    <a:pt x="2" y="10"/>
                    <a:pt x="2" y="10"/>
                  </a:cubicBezTo>
                  <a:cubicBezTo>
                    <a:pt x="0" y="8"/>
                    <a:pt x="0" y="4"/>
                    <a:pt x="2" y="2"/>
                  </a:cubicBezTo>
                  <a:cubicBezTo>
                    <a:pt x="5" y="0"/>
                    <a:pt x="9" y="0"/>
                    <a:pt x="11" y="2"/>
                  </a:cubicBezTo>
                  <a:cubicBezTo>
                    <a:pt x="29" y="20"/>
                    <a:pt x="29" y="20"/>
                    <a:pt x="29" y="20"/>
                  </a:cubicBezTo>
                  <a:cubicBezTo>
                    <a:pt x="31" y="22"/>
                    <a:pt x="31" y="26"/>
                    <a:pt x="29" y="28"/>
                  </a:cubicBezTo>
                  <a:cubicBezTo>
                    <a:pt x="11" y="46"/>
                    <a:pt x="11" y="46"/>
                    <a:pt x="11" y="46"/>
                  </a:cubicBezTo>
                  <a:cubicBezTo>
                    <a:pt x="10" y="48"/>
                    <a:pt x="8" y="48"/>
                    <a:pt x="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2" name="Freeform 111">
              <a:extLst>
                <a:ext uri="{FF2B5EF4-FFF2-40B4-BE49-F238E27FC236}">
                  <a16:creationId xmlns:a16="http://schemas.microsoft.com/office/drawing/2014/main" id="{D158A477-B4B4-458C-8681-CC6E1D934171}"/>
                </a:ext>
              </a:extLst>
            </p:cNvPr>
            <p:cNvSpPr>
              <a:spLocks/>
            </p:cNvSpPr>
            <p:nvPr/>
          </p:nvSpPr>
          <p:spPr bwMode="auto">
            <a:xfrm>
              <a:off x="562" y="2997"/>
              <a:ext cx="212" cy="160"/>
            </a:xfrm>
            <a:custGeom>
              <a:avLst/>
              <a:gdLst>
                <a:gd name="T0" fmla="*/ 105 w 144"/>
                <a:gd name="T1" fmla="*/ 108 h 108"/>
                <a:gd name="T2" fmla="*/ 0 w 144"/>
                <a:gd name="T3" fmla="*/ 108 h 108"/>
                <a:gd name="T4" fmla="*/ 0 w 144"/>
                <a:gd name="T5" fmla="*/ 96 h 108"/>
                <a:gd name="T6" fmla="*/ 104 w 144"/>
                <a:gd name="T7" fmla="*/ 96 h 108"/>
                <a:gd name="T8" fmla="*/ 132 w 144"/>
                <a:gd name="T9" fmla="*/ 68 h 108"/>
                <a:gd name="T10" fmla="*/ 123 w 144"/>
                <a:gd name="T11" fmla="*/ 48 h 108"/>
                <a:gd name="T12" fmla="*/ 100 w 144"/>
                <a:gd name="T13" fmla="*/ 40 h 108"/>
                <a:gd name="T14" fmla="*/ 94 w 144"/>
                <a:gd name="T15" fmla="*/ 36 h 108"/>
                <a:gd name="T16" fmla="*/ 54 w 144"/>
                <a:gd name="T17" fmla="*/ 12 h 108"/>
                <a:gd name="T18" fmla="*/ 28 w 144"/>
                <a:gd name="T19" fmla="*/ 19 h 108"/>
                <a:gd name="T20" fmla="*/ 22 w 144"/>
                <a:gd name="T21" fmla="*/ 9 h 108"/>
                <a:gd name="T22" fmla="*/ 54 w 144"/>
                <a:gd name="T23" fmla="*/ 0 h 108"/>
                <a:gd name="T24" fmla="*/ 103 w 144"/>
                <a:gd name="T25" fmla="*/ 28 h 108"/>
                <a:gd name="T26" fmla="*/ 131 w 144"/>
                <a:gd name="T27" fmla="*/ 40 h 108"/>
                <a:gd name="T28" fmla="*/ 144 w 144"/>
                <a:gd name="T29" fmla="*/ 68 h 108"/>
                <a:gd name="T30" fmla="*/ 106 w 144"/>
                <a:gd name="T31" fmla="*/ 108 h 108"/>
                <a:gd name="T32" fmla="*/ 105 w 14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108">
                  <a:moveTo>
                    <a:pt x="105" y="108"/>
                  </a:moveTo>
                  <a:cubicBezTo>
                    <a:pt x="0" y="108"/>
                    <a:pt x="0" y="108"/>
                    <a:pt x="0" y="108"/>
                  </a:cubicBezTo>
                  <a:cubicBezTo>
                    <a:pt x="0" y="96"/>
                    <a:pt x="0" y="96"/>
                    <a:pt x="0" y="96"/>
                  </a:cubicBezTo>
                  <a:cubicBezTo>
                    <a:pt x="104" y="96"/>
                    <a:pt x="104" y="96"/>
                    <a:pt x="104" y="96"/>
                  </a:cubicBezTo>
                  <a:cubicBezTo>
                    <a:pt x="108" y="96"/>
                    <a:pt x="132" y="91"/>
                    <a:pt x="132" y="68"/>
                  </a:cubicBezTo>
                  <a:cubicBezTo>
                    <a:pt x="132" y="61"/>
                    <a:pt x="129" y="54"/>
                    <a:pt x="123" y="48"/>
                  </a:cubicBezTo>
                  <a:cubicBezTo>
                    <a:pt x="117" y="43"/>
                    <a:pt x="109" y="39"/>
                    <a:pt x="100" y="40"/>
                  </a:cubicBezTo>
                  <a:cubicBezTo>
                    <a:pt x="98" y="40"/>
                    <a:pt x="95" y="39"/>
                    <a:pt x="94" y="36"/>
                  </a:cubicBezTo>
                  <a:cubicBezTo>
                    <a:pt x="87" y="22"/>
                    <a:pt x="71" y="12"/>
                    <a:pt x="54" y="12"/>
                  </a:cubicBezTo>
                  <a:cubicBezTo>
                    <a:pt x="45" y="12"/>
                    <a:pt x="36" y="15"/>
                    <a:pt x="28" y="19"/>
                  </a:cubicBezTo>
                  <a:cubicBezTo>
                    <a:pt x="22" y="9"/>
                    <a:pt x="22" y="9"/>
                    <a:pt x="22" y="9"/>
                  </a:cubicBezTo>
                  <a:cubicBezTo>
                    <a:pt x="31" y="3"/>
                    <a:pt x="42" y="0"/>
                    <a:pt x="54" y="0"/>
                  </a:cubicBezTo>
                  <a:cubicBezTo>
                    <a:pt x="74" y="0"/>
                    <a:pt x="93" y="11"/>
                    <a:pt x="103" y="28"/>
                  </a:cubicBezTo>
                  <a:cubicBezTo>
                    <a:pt x="114" y="28"/>
                    <a:pt x="124" y="33"/>
                    <a:pt x="131" y="40"/>
                  </a:cubicBezTo>
                  <a:cubicBezTo>
                    <a:pt x="139" y="47"/>
                    <a:pt x="144" y="57"/>
                    <a:pt x="144" y="68"/>
                  </a:cubicBezTo>
                  <a:cubicBezTo>
                    <a:pt x="144" y="96"/>
                    <a:pt x="119" y="107"/>
                    <a:pt x="106" y="108"/>
                  </a:cubicBezTo>
                  <a:cubicBezTo>
                    <a:pt x="105" y="108"/>
                    <a:pt x="105" y="108"/>
                    <a:pt x="105"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173" name="Group 172">
            <a:extLst>
              <a:ext uri="{FF2B5EF4-FFF2-40B4-BE49-F238E27FC236}">
                <a16:creationId xmlns:a16="http://schemas.microsoft.com/office/drawing/2014/main" id="{A554F216-E5BA-46F8-AC4A-CE7BAA7A320E}"/>
              </a:ext>
            </a:extLst>
          </p:cNvPr>
          <p:cNvGrpSpPr/>
          <p:nvPr/>
        </p:nvGrpSpPr>
        <p:grpSpPr>
          <a:xfrm>
            <a:off x="1747575" y="5124660"/>
            <a:ext cx="712828" cy="525480"/>
            <a:chOff x="9313391" y="830409"/>
            <a:chExt cx="1248797" cy="920584"/>
          </a:xfrm>
        </p:grpSpPr>
        <p:grpSp>
          <p:nvGrpSpPr>
            <p:cNvPr id="174" name="Group 173">
              <a:extLst>
                <a:ext uri="{FF2B5EF4-FFF2-40B4-BE49-F238E27FC236}">
                  <a16:creationId xmlns:a16="http://schemas.microsoft.com/office/drawing/2014/main" id="{2774BC3F-084A-4A09-9594-0156D60B6ED7}"/>
                </a:ext>
              </a:extLst>
            </p:cNvPr>
            <p:cNvGrpSpPr/>
            <p:nvPr/>
          </p:nvGrpSpPr>
          <p:grpSpPr>
            <a:xfrm>
              <a:off x="10193468" y="1137268"/>
              <a:ext cx="368720" cy="307634"/>
              <a:chOff x="7929993" y="1754544"/>
              <a:chExt cx="520586" cy="434343"/>
            </a:xfrm>
          </p:grpSpPr>
          <p:sp>
            <p:nvSpPr>
              <p:cNvPr id="199" name="Trapezoid 198">
                <a:extLst>
                  <a:ext uri="{FF2B5EF4-FFF2-40B4-BE49-F238E27FC236}">
                    <a16:creationId xmlns:a16="http://schemas.microsoft.com/office/drawing/2014/main" id="{E8468459-DC07-4180-97E6-F2D7C31EA330}"/>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Trapezoid 199">
                <a:extLst>
                  <a:ext uri="{FF2B5EF4-FFF2-40B4-BE49-F238E27FC236}">
                    <a16:creationId xmlns:a16="http://schemas.microsoft.com/office/drawing/2014/main" id="{3F2AB5C4-0005-4EAA-B2E1-444D132B209C}"/>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01" name="Straight Connector 200">
                <a:extLst>
                  <a:ext uri="{FF2B5EF4-FFF2-40B4-BE49-F238E27FC236}">
                    <a16:creationId xmlns:a16="http://schemas.microsoft.com/office/drawing/2014/main" id="{15A89D81-3D7D-4614-AFFF-0988A175F34F}"/>
                  </a:ext>
                </a:extLst>
              </p:cNvPr>
              <p:cNvCxnSpPr>
                <a:cxnSpLocks/>
                <a:stCxn id="199" idx="3"/>
                <a:endCxn id="199"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5" name="Group 174">
              <a:extLst>
                <a:ext uri="{FF2B5EF4-FFF2-40B4-BE49-F238E27FC236}">
                  <a16:creationId xmlns:a16="http://schemas.microsoft.com/office/drawing/2014/main" id="{5F2B58E4-E8D1-49D7-A2BF-5EA4F99115B9}"/>
                </a:ext>
              </a:extLst>
            </p:cNvPr>
            <p:cNvGrpSpPr/>
            <p:nvPr/>
          </p:nvGrpSpPr>
          <p:grpSpPr>
            <a:xfrm>
              <a:off x="9971557" y="1441679"/>
              <a:ext cx="368720" cy="307634"/>
              <a:chOff x="7929993" y="1754544"/>
              <a:chExt cx="520586" cy="434343"/>
            </a:xfrm>
          </p:grpSpPr>
          <p:sp>
            <p:nvSpPr>
              <p:cNvPr id="196" name="Trapezoid 195">
                <a:extLst>
                  <a:ext uri="{FF2B5EF4-FFF2-40B4-BE49-F238E27FC236}">
                    <a16:creationId xmlns:a16="http://schemas.microsoft.com/office/drawing/2014/main" id="{064FEAC2-4EA2-4136-B45E-E7D6DC5714A1}"/>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Trapezoid 196">
                <a:extLst>
                  <a:ext uri="{FF2B5EF4-FFF2-40B4-BE49-F238E27FC236}">
                    <a16:creationId xmlns:a16="http://schemas.microsoft.com/office/drawing/2014/main" id="{0D4EAC48-5307-40D8-B4BC-DDAB15B53F5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8" name="Straight Connector 197">
                <a:extLst>
                  <a:ext uri="{FF2B5EF4-FFF2-40B4-BE49-F238E27FC236}">
                    <a16:creationId xmlns:a16="http://schemas.microsoft.com/office/drawing/2014/main" id="{0F5B6F5D-6FC9-4392-968D-C399E3276479}"/>
                  </a:ext>
                </a:extLst>
              </p:cNvPr>
              <p:cNvCxnSpPr>
                <a:cxnSpLocks/>
                <a:stCxn id="196" idx="3"/>
                <a:endCxn id="196"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6" name="Group 175">
              <a:extLst>
                <a:ext uri="{FF2B5EF4-FFF2-40B4-BE49-F238E27FC236}">
                  <a16:creationId xmlns:a16="http://schemas.microsoft.com/office/drawing/2014/main" id="{197C8ACF-4BCE-4532-9280-5B7256EC42BA}"/>
                </a:ext>
              </a:extLst>
            </p:cNvPr>
            <p:cNvGrpSpPr/>
            <p:nvPr/>
          </p:nvGrpSpPr>
          <p:grpSpPr>
            <a:xfrm>
              <a:off x="9753430" y="1137268"/>
              <a:ext cx="368720" cy="307634"/>
              <a:chOff x="7929993" y="1754544"/>
              <a:chExt cx="520586" cy="434343"/>
            </a:xfrm>
          </p:grpSpPr>
          <p:sp>
            <p:nvSpPr>
              <p:cNvPr id="193" name="Trapezoid 192">
                <a:extLst>
                  <a:ext uri="{FF2B5EF4-FFF2-40B4-BE49-F238E27FC236}">
                    <a16:creationId xmlns:a16="http://schemas.microsoft.com/office/drawing/2014/main" id="{EFA50A6D-EB23-4C48-9512-A04618A62288}"/>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Trapezoid 193">
                <a:extLst>
                  <a:ext uri="{FF2B5EF4-FFF2-40B4-BE49-F238E27FC236}">
                    <a16:creationId xmlns:a16="http://schemas.microsoft.com/office/drawing/2014/main" id="{A6EC3756-4C76-436F-9F32-22771B607F6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5" name="Straight Connector 194">
                <a:extLst>
                  <a:ext uri="{FF2B5EF4-FFF2-40B4-BE49-F238E27FC236}">
                    <a16:creationId xmlns:a16="http://schemas.microsoft.com/office/drawing/2014/main" id="{09378EB8-B181-4A07-97E9-D89D51BB66F1}"/>
                  </a:ext>
                </a:extLst>
              </p:cNvPr>
              <p:cNvCxnSpPr>
                <a:cxnSpLocks/>
                <a:stCxn id="193" idx="3"/>
                <a:endCxn id="193"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7" name="Group 176">
              <a:extLst>
                <a:ext uri="{FF2B5EF4-FFF2-40B4-BE49-F238E27FC236}">
                  <a16:creationId xmlns:a16="http://schemas.microsoft.com/office/drawing/2014/main" id="{4AFA72E7-F7B2-4CB8-B539-B9ED7F7B691F}"/>
                </a:ext>
              </a:extLst>
            </p:cNvPr>
            <p:cNvGrpSpPr/>
            <p:nvPr/>
          </p:nvGrpSpPr>
          <p:grpSpPr>
            <a:xfrm>
              <a:off x="9531111" y="1443359"/>
              <a:ext cx="368720" cy="307634"/>
              <a:chOff x="7929993" y="1754544"/>
              <a:chExt cx="520586" cy="434343"/>
            </a:xfrm>
          </p:grpSpPr>
          <p:sp>
            <p:nvSpPr>
              <p:cNvPr id="190" name="Trapezoid 189">
                <a:extLst>
                  <a:ext uri="{FF2B5EF4-FFF2-40B4-BE49-F238E27FC236}">
                    <a16:creationId xmlns:a16="http://schemas.microsoft.com/office/drawing/2014/main" id="{1DE37BF8-2565-473D-B890-819FAB1A0E8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Trapezoid 190">
                <a:extLst>
                  <a:ext uri="{FF2B5EF4-FFF2-40B4-BE49-F238E27FC236}">
                    <a16:creationId xmlns:a16="http://schemas.microsoft.com/office/drawing/2014/main" id="{04F1C614-079F-4A58-9B91-8CBD2D26530A}"/>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2" name="Straight Connector 191">
                <a:extLst>
                  <a:ext uri="{FF2B5EF4-FFF2-40B4-BE49-F238E27FC236}">
                    <a16:creationId xmlns:a16="http://schemas.microsoft.com/office/drawing/2014/main" id="{C856D395-8BDB-42CF-BB00-34CD58699CE9}"/>
                  </a:ext>
                </a:extLst>
              </p:cNvPr>
              <p:cNvCxnSpPr>
                <a:cxnSpLocks/>
                <a:stCxn id="190" idx="3"/>
                <a:endCxn id="190"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8" name="Group 177">
              <a:extLst>
                <a:ext uri="{FF2B5EF4-FFF2-40B4-BE49-F238E27FC236}">
                  <a16:creationId xmlns:a16="http://schemas.microsoft.com/office/drawing/2014/main" id="{FAEAF1FC-2B78-48B1-822D-BCACB3052FEC}"/>
                </a:ext>
              </a:extLst>
            </p:cNvPr>
            <p:cNvGrpSpPr/>
            <p:nvPr/>
          </p:nvGrpSpPr>
          <p:grpSpPr>
            <a:xfrm>
              <a:off x="9943085" y="830409"/>
              <a:ext cx="368720" cy="307634"/>
              <a:chOff x="7929993" y="1754544"/>
              <a:chExt cx="520586" cy="434343"/>
            </a:xfrm>
          </p:grpSpPr>
          <p:sp>
            <p:nvSpPr>
              <p:cNvPr id="187" name="Trapezoid 186">
                <a:extLst>
                  <a:ext uri="{FF2B5EF4-FFF2-40B4-BE49-F238E27FC236}">
                    <a16:creationId xmlns:a16="http://schemas.microsoft.com/office/drawing/2014/main" id="{406F564F-3CAC-405C-8C04-943758B148F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Trapezoid 187">
                <a:extLst>
                  <a:ext uri="{FF2B5EF4-FFF2-40B4-BE49-F238E27FC236}">
                    <a16:creationId xmlns:a16="http://schemas.microsoft.com/office/drawing/2014/main" id="{6DB4F49F-67D0-4D45-B161-D74BFB44C654}"/>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F80E420F-8924-4892-94A9-9226470E2709}"/>
                  </a:ext>
                </a:extLst>
              </p:cNvPr>
              <p:cNvCxnSpPr>
                <a:cxnSpLocks/>
                <a:stCxn id="187" idx="3"/>
                <a:endCxn id="187"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9" name="Group 178">
              <a:extLst>
                <a:ext uri="{FF2B5EF4-FFF2-40B4-BE49-F238E27FC236}">
                  <a16:creationId xmlns:a16="http://schemas.microsoft.com/office/drawing/2014/main" id="{4A8B0C3F-984F-45C2-B613-0EE9E1F015D1}"/>
                </a:ext>
              </a:extLst>
            </p:cNvPr>
            <p:cNvGrpSpPr/>
            <p:nvPr/>
          </p:nvGrpSpPr>
          <p:grpSpPr>
            <a:xfrm>
              <a:off x="9512682" y="842134"/>
              <a:ext cx="368720" cy="307634"/>
              <a:chOff x="7929993" y="1754544"/>
              <a:chExt cx="520586" cy="434343"/>
            </a:xfrm>
          </p:grpSpPr>
          <p:sp>
            <p:nvSpPr>
              <p:cNvPr id="184" name="Trapezoid 183">
                <a:extLst>
                  <a:ext uri="{FF2B5EF4-FFF2-40B4-BE49-F238E27FC236}">
                    <a16:creationId xmlns:a16="http://schemas.microsoft.com/office/drawing/2014/main" id="{B2BCC743-B5EF-4EE4-A6CB-3AC1F98A7235}"/>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apezoid 184">
                <a:extLst>
                  <a:ext uri="{FF2B5EF4-FFF2-40B4-BE49-F238E27FC236}">
                    <a16:creationId xmlns:a16="http://schemas.microsoft.com/office/drawing/2014/main" id="{CE2EC272-EDE4-42A5-9048-2760EAE3266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A535D6AC-76B6-4650-9E05-DEC64FD3686C}"/>
                  </a:ext>
                </a:extLst>
              </p:cNvPr>
              <p:cNvCxnSpPr>
                <a:cxnSpLocks/>
                <a:stCxn id="184" idx="3"/>
                <a:endCxn id="18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0" name="Group 179">
              <a:extLst>
                <a:ext uri="{FF2B5EF4-FFF2-40B4-BE49-F238E27FC236}">
                  <a16:creationId xmlns:a16="http://schemas.microsoft.com/office/drawing/2014/main" id="{860E879C-9235-4012-8C59-BAA946974FFD}"/>
                </a:ext>
              </a:extLst>
            </p:cNvPr>
            <p:cNvGrpSpPr/>
            <p:nvPr/>
          </p:nvGrpSpPr>
          <p:grpSpPr>
            <a:xfrm>
              <a:off x="9313391" y="1137268"/>
              <a:ext cx="368720" cy="307634"/>
              <a:chOff x="7929993" y="1754544"/>
              <a:chExt cx="520586" cy="434343"/>
            </a:xfrm>
          </p:grpSpPr>
          <p:sp>
            <p:nvSpPr>
              <p:cNvPr id="181" name="Trapezoid 180">
                <a:extLst>
                  <a:ext uri="{FF2B5EF4-FFF2-40B4-BE49-F238E27FC236}">
                    <a16:creationId xmlns:a16="http://schemas.microsoft.com/office/drawing/2014/main" id="{307DDFCC-A107-49E9-A846-6AB87A46EC51}"/>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Trapezoid 181">
                <a:extLst>
                  <a:ext uri="{FF2B5EF4-FFF2-40B4-BE49-F238E27FC236}">
                    <a16:creationId xmlns:a16="http://schemas.microsoft.com/office/drawing/2014/main" id="{98608EBF-5E9B-4049-92EE-C721F28C8E56}"/>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3" name="Straight Connector 182">
                <a:extLst>
                  <a:ext uri="{FF2B5EF4-FFF2-40B4-BE49-F238E27FC236}">
                    <a16:creationId xmlns:a16="http://schemas.microsoft.com/office/drawing/2014/main" id="{234BF8C5-0C1D-433B-8090-752C630B42E9}"/>
                  </a:ext>
                </a:extLst>
              </p:cNvPr>
              <p:cNvCxnSpPr>
                <a:cxnSpLocks/>
                <a:stCxn id="181" idx="3"/>
                <a:endCxn id="181"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202" name="Freeform 147">
            <a:extLst>
              <a:ext uri="{FF2B5EF4-FFF2-40B4-BE49-F238E27FC236}">
                <a16:creationId xmlns:a16="http://schemas.microsoft.com/office/drawing/2014/main" id="{FAEB802A-1B61-4A87-A77A-D08505DD9E39}"/>
              </a:ext>
            </a:extLst>
          </p:cNvPr>
          <p:cNvSpPr>
            <a:spLocks noEditPoints="1"/>
          </p:cNvSpPr>
          <p:nvPr/>
        </p:nvSpPr>
        <p:spPr bwMode="auto">
          <a:xfrm>
            <a:off x="1396720" y="5425871"/>
            <a:ext cx="413059" cy="259497"/>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w="635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4738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pPr>
              <a:spcBef>
                <a:spcPts val="2400"/>
              </a:spcBef>
            </a:pPr>
            <a:r>
              <a:rPr lang="en-US" spc="-150" dirty="0"/>
              <a:t>Get started quickly with Developer AI</a:t>
            </a:r>
          </a:p>
        </p:txBody>
      </p:sp>
    </p:spTree>
    <p:extLst>
      <p:ext uri="{BB962C8B-B14F-4D97-AF65-F5344CB8AC3E}">
        <p14:creationId xmlns:p14="http://schemas.microsoft.com/office/powerpoint/2010/main" val="135670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5832C4CB-CF3C-4366-ACA3-D5ABF83853FD}"/>
              </a:ext>
            </a:extLst>
          </p:cNvPr>
          <p:cNvSpPr/>
          <p:nvPr/>
        </p:nvSpPr>
        <p:spPr bwMode="auto">
          <a:xfrm>
            <a:off x="10115240" y="4451747"/>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0" name="Freeform 147">
            <a:extLst>
              <a:ext uri="{FF2B5EF4-FFF2-40B4-BE49-F238E27FC236}">
                <a16:creationId xmlns:a16="http://schemas.microsoft.com/office/drawing/2014/main" id="{C06F2622-EA87-43A6-ABFB-7B5C962F4982}"/>
              </a:ext>
            </a:extLst>
          </p:cNvPr>
          <p:cNvSpPr>
            <a:spLocks noEditPoints="1"/>
          </p:cNvSpPr>
          <p:nvPr/>
        </p:nvSpPr>
        <p:spPr bwMode="auto">
          <a:xfrm>
            <a:off x="10228146" y="4722395"/>
            <a:ext cx="291298" cy="183003"/>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w="254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sp>
        <p:nvSpPr>
          <p:cNvPr id="24" name="Title 23">
            <a:extLst>
              <a:ext uri="{FF2B5EF4-FFF2-40B4-BE49-F238E27FC236}">
                <a16:creationId xmlns:a16="http://schemas.microsoft.com/office/drawing/2014/main" id="{5838762D-FD55-4D68-8422-3BF1A2EB6794}"/>
              </a:ext>
            </a:extLst>
          </p:cNvPr>
          <p:cNvSpPr>
            <a:spLocks noGrp="1"/>
          </p:cNvSpPr>
          <p:nvPr>
            <p:ph type="title"/>
          </p:nvPr>
        </p:nvSpPr>
        <p:spPr>
          <a:xfrm>
            <a:off x="426424" y="222583"/>
            <a:ext cx="11336039" cy="758022"/>
          </a:xfrm>
        </p:spPr>
        <p:txBody>
          <a:bodyPr>
            <a:normAutofit fontScale="90000"/>
          </a:bodyPr>
          <a:lstStyle/>
          <a:p>
            <a:r>
              <a:rPr lang="en-US" spc="-150" dirty="0"/>
              <a:t>Conversational AI</a:t>
            </a:r>
            <a:br>
              <a:rPr lang="en-US" spc="-150" dirty="0"/>
            </a:br>
            <a:endParaRPr lang="en-US" sz="2700" spc="-150" dirty="0">
              <a:solidFill>
                <a:schemeClr val="tx1"/>
              </a:solidFill>
              <a:latin typeface="Segoe UI" panose="020B0502040204020203"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8826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Rectangle 1">
            <a:extLst>
              <a:ext uri="{FF2B5EF4-FFF2-40B4-BE49-F238E27FC236}">
                <a16:creationId xmlns:a16="http://schemas.microsoft.com/office/drawing/2014/main" id="{5A5CDB0F-CCB5-44DC-8025-463B2891B210}"/>
              </a:ext>
            </a:extLst>
          </p:cNvPr>
          <p:cNvSpPr/>
          <p:nvPr/>
        </p:nvSpPr>
        <p:spPr bwMode="auto">
          <a:xfrm>
            <a:off x="0" y="5825232"/>
            <a:ext cx="12192000" cy="7344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7" name="Group 86">
            <a:extLst>
              <a:ext uri="{FF2B5EF4-FFF2-40B4-BE49-F238E27FC236}">
                <a16:creationId xmlns:a16="http://schemas.microsoft.com/office/drawing/2014/main" id="{9F998D63-BBFC-47D3-A349-41FF0BE52472}"/>
              </a:ext>
            </a:extLst>
          </p:cNvPr>
          <p:cNvGrpSpPr/>
          <p:nvPr/>
        </p:nvGrpSpPr>
        <p:grpSpPr>
          <a:xfrm>
            <a:off x="3389508" y="6025663"/>
            <a:ext cx="5198277" cy="333554"/>
            <a:chOff x="3446262" y="6025663"/>
            <a:chExt cx="5198277" cy="333554"/>
          </a:xfrm>
        </p:grpSpPr>
        <p:sp>
          <p:nvSpPr>
            <p:cNvPr id="4" name="TextBox 3">
              <a:extLst>
                <a:ext uri="{FF2B5EF4-FFF2-40B4-BE49-F238E27FC236}">
                  <a16:creationId xmlns:a16="http://schemas.microsoft.com/office/drawing/2014/main" id="{3B1A8166-54EE-4AB9-A292-9011578D1FF0}"/>
                </a:ext>
              </a:extLst>
            </p:cNvPr>
            <p:cNvSpPr txBox="1"/>
            <p:nvPr/>
          </p:nvSpPr>
          <p:spPr>
            <a:xfrm>
              <a:off x="3446262" y="6095490"/>
              <a:ext cx="650819"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Security</a:t>
              </a:r>
            </a:p>
          </p:txBody>
        </p:sp>
        <p:sp>
          <p:nvSpPr>
            <p:cNvPr id="6" name="TextBox 5">
              <a:extLst>
                <a:ext uri="{FF2B5EF4-FFF2-40B4-BE49-F238E27FC236}">
                  <a16:creationId xmlns:a16="http://schemas.microsoft.com/office/drawing/2014/main" id="{3DCD90A0-6E41-4611-AE39-3A3D5DBF5D48}"/>
                </a:ext>
              </a:extLst>
            </p:cNvPr>
            <p:cNvSpPr txBox="1"/>
            <p:nvPr/>
          </p:nvSpPr>
          <p:spPr>
            <a:xfrm>
              <a:off x="4855021" y="6095490"/>
              <a:ext cx="668453"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Logging</a:t>
              </a:r>
            </a:p>
          </p:txBody>
        </p:sp>
        <p:sp>
          <p:nvSpPr>
            <p:cNvPr id="7" name="TextBox 6">
              <a:extLst>
                <a:ext uri="{FF2B5EF4-FFF2-40B4-BE49-F238E27FC236}">
                  <a16:creationId xmlns:a16="http://schemas.microsoft.com/office/drawing/2014/main" id="{BB605235-EB03-4476-BC9D-8F55C61D34CA}"/>
                </a:ext>
              </a:extLst>
            </p:cNvPr>
            <p:cNvSpPr txBox="1"/>
            <p:nvPr/>
          </p:nvSpPr>
          <p:spPr>
            <a:xfrm>
              <a:off x="6281414" y="6095490"/>
              <a:ext cx="700513"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Auditing</a:t>
              </a:r>
            </a:p>
          </p:txBody>
        </p:sp>
        <p:sp>
          <p:nvSpPr>
            <p:cNvPr id="8" name="TextBox 7">
              <a:extLst>
                <a:ext uri="{FF2B5EF4-FFF2-40B4-BE49-F238E27FC236}">
                  <a16:creationId xmlns:a16="http://schemas.microsoft.com/office/drawing/2014/main" id="{3FA42E1A-C3F0-4B67-A0DF-7676E7C5A88A}"/>
                </a:ext>
              </a:extLst>
            </p:cNvPr>
            <p:cNvSpPr txBox="1"/>
            <p:nvPr/>
          </p:nvSpPr>
          <p:spPr>
            <a:xfrm>
              <a:off x="7739868" y="6095490"/>
              <a:ext cx="904671"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Integration</a:t>
              </a:r>
            </a:p>
          </p:txBody>
        </p:sp>
        <p:cxnSp>
          <p:nvCxnSpPr>
            <p:cNvPr id="11" name="Straight Connector 10">
              <a:extLst>
                <a:ext uri="{FF2B5EF4-FFF2-40B4-BE49-F238E27FC236}">
                  <a16:creationId xmlns:a16="http://schemas.microsoft.com/office/drawing/2014/main" id="{5B3E32C9-6683-410B-974F-50CA87F54DBD}"/>
                </a:ext>
              </a:extLst>
            </p:cNvPr>
            <p:cNvCxnSpPr/>
            <p:nvPr/>
          </p:nvCxnSpPr>
          <p:spPr>
            <a:xfrm>
              <a:off x="4476051"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70139C-615B-4A64-96DC-ACCD5805BA37}"/>
                </a:ext>
              </a:extLst>
            </p:cNvPr>
            <p:cNvCxnSpPr/>
            <p:nvPr/>
          </p:nvCxnSpPr>
          <p:spPr>
            <a:xfrm>
              <a:off x="5902444"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0DEB3-88C5-48BF-A9A9-4DCBE56E7CCF}"/>
                </a:ext>
              </a:extLst>
            </p:cNvPr>
            <p:cNvCxnSpPr/>
            <p:nvPr/>
          </p:nvCxnSpPr>
          <p:spPr>
            <a:xfrm>
              <a:off x="7360897"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C4150F2-4F28-4908-9F81-2876980AB06F}"/>
              </a:ext>
            </a:extLst>
          </p:cNvPr>
          <p:cNvGrpSpPr/>
          <p:nvPr/>
        </p:nvGrpSpPr>
        <p:grpSpPr>
          <a:xfrm>
            <a:off x="1099282" y="2463374"/>
            <a:ext cx="258123" cy="443611"/>
            <a:chOff x="1099282" y="2493329"/>
            <a:chExt cx="258123" cy="443611"/>
          </a:xfrm>
        </p:grpSpPr>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099282" y="2493329"/>
              <a:ext cx="258123" cy="21653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100103" y="2702068"/>
              <a:ext cx="256480"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Text</a:t>
              </a:r>
            </a:p>
          </p:txBody>
        </p:sp>
      </p:grpSp>
      <p:grpSp>
        <p:nvGrpSpPr>
          <p:cNvPr id="30" name="Group 29">
            <a:extLst>
              <a:ext uri="{FF2B5EF4-FFF2-40B4-BE49-F238E27FC236}">
                <a16:creationId xmlns:a16="http://schemas.microsoft.com/office/drawing/2014/main" id="{7F0A3F50-E06A-4DAA-8BC3-D9857AB0C04F}"/>
              </a:ext>
            </a:extLst>
          </p:cNvPr>
          <p:cNvGrpSpPr/>
          <p:nvPr/>
        </p:nvGrpSpPr>
        <p:grpSpPr>
          <a:xfrm>
            <a:off x="1011938" y="3319194"/>
            <a:ext cx="432811" cy="530036"/>
            <a:chOff x="1011938" y="3451935"/>
            <a:chExt cx="432811" cy="530036"/>
          </a:xfrm>
        </p:grpSpPr>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079599" y="3451935"/>
              <a:ext cx="297489" cy="28568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TextBox 19">
              <a:extLst>
                <a:ext uri="{FF2B5EF4-FFF2-40B4-BE49-F238E27FC236}">
                  <a16:creationId xmlns:a16="http://schemas.microsoft.com/office/drawing/2014/main" id="{5AFF019C-AA61-496A-94C8-F10C7375AC04}"/>
                </a:ext>
              </a:extLst>
            </p:cNvPr>
            <p:cNvSpPr txBox="1"/>
            <p:nvPr/>
          </p:nvSpPr>
          <p:spPr>
            <a:xfrm>
              <a:off x="1011938" y="3747099"/>
              <a:ext cx="432811"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Speech</a:t>
              </a:r>
            </a:p>
          </p:txBody>
        </p:sp>
      </p:grpSp>
      <p:grpSp>
        <p:nvGrpSpPr>
          <p:cNvPr id="32" name="Group 31">
            <a:extLst>
              <a:ext uri="{FF2B5EF4-FFF2-40B4-BE49-F238E27FC236}">
                <a16:creationId xmlns:a16="http://schemas.microsoft.com/office/drawing/2014/main" id="{0DACFA3B-A50B-4936-83E1-C5F78F70AF4D}"/>
              </a:ext>
            </a:extLst>
          </p:cNvPr>
          <p:cNvGrpSpPr/>
          <p:nvPr/>
        </p:nvGrpSpPr>
        <p:grpSpPr>
          <a:xfrm>
            <a:off x="1040792" y="4261439"/>
            <a:ext cx="375103" cy="481939"/>
            <a:chOff x="1040792" y="4512374"/>
            <a:chExt cx="375103" cy="481939"/>
          </a:xfrm>
        </p:grpSpPr>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079306" y="4512374"/>
              <a:ext cx="298075" cy="238969"/>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TextBox 20">
              <a:extLst>
                <a:ext uri="{FF2B5EF4-FFF2-40B4-BE49-F238E27FC236}">
                  <a16:creationId xmlns:a16="http://schemas.microsoft.com/office/drawing/2014/main" id="{3D8B85D7-8182-42BE-97A6-F6E2A6114C44}"/>
                </a:ext>
              </a:extLst>
            </p:cNvPr>
            <p:cNvSpPr txBox="1"/>
            <p:nvPr/>
          </p:nvSpPr>
          <p:spPr>
            <a:xfrm>
              <a:off x="1040792" y="4759441"/>
              <a:ext cx="375103"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Image</a:t>
              </a:r>
            </a:p>
          </p:txBody>
        </p:sp>
      </p:grpSp>
      <p:sp>
        <p:nvSpPr>
          <p:cNvPr id="23" name="TextBox 22">
            <a:extLst>
              <a:ext uri="{FF2B5EF4-FFF2-40B4-BE49-F238E27FC236}">
                <a16:creationId xmlns:a16="http://schemas.microsoft.com/office/drawing/2014/main" id="{EAC5BD6F-C433-48AF-9065-D1ECD7227895}"/>
              </a:ext>
            </a:extLst>
          </p:cNvPr>
          <p:cNvSpPr txBox="1"/>
          <p:nvPr/>
        </p:nvSpPr>
        <p:spPr>
          <a:xfrm>
            <a:off x="741310" y="1877114"/>
            <a:ext cx="97406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31038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Oval 28">
            <a:extLst>
              <a:ext uri="{FF2B5EF4-FFF2-40B4-BE49-F238E27FC236}">
                <a16:creationId xmlns:a16="http://schemas.microsoft.com/office/drawing/2014/main" id="{3B77E114-642B-41F8-BD98-DA9BB5BD69BD}"/>
              </a:ext>
            </a:extLst>
          </p:cNvPr>
          <p:cNvSpPr/>
          <p:nvPr/>
        </p:nvSpPr>
        <p:spPr bwMode="auto">
          <a:xfrm>
            <a:off x="269721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9750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122967" y="5244566"/>
            <a:ext cx="210752" cy="23561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59593" y="1877114"/>
            <a:ext cx="981741"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9960863" y="2168216"/>
            <a:ext cx="164592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5762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960864" y="1877114"/>
            <a:ext cx="164592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Business process</a:t>
            </a: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824910" y="4451747"/>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5" name="Rectangle 174">
            <a:extLst>
              <a:ext uri="{FF2B5EF4-FFF2-40B4-BE49-F238E27FC236}">
                <a16:creationId xmlns:a16="http://schemas.microsoft.com/office/drawing/2014/main" id="{51049005-9633-4D22-826B-41036AF891A5}"/>
              </a:ext>
            </a:extLst>
          </p:cNvPr>
          <p:cNvSpPr/>
          <p:nvPr/>
        </p:nvSpPr>
        <p:spPr bwMode="auto">
          <a:xfrm>
            <a:off x="10115240" y="2946683"/>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472C4">
                    <a:lumMod val="50000"/>
                    <a:lumOff val="50000"/>
                  </a:srgbClr>
                </a:solidFill>
                <a:effectLst/>
                <a:uLnTx/>
                <a:uFillTx/>
                <a:latin typeface="Segoe UI"/>
                <a:ea typeface="+mn-ea"/>
                <a:cs typeface="Segoe UI" pitchFamily="34" charset="0"/>
              </a:rPr>
              <a:t>Dynamics365</a:t>
            </a:r>
          </a:p>
        </p:txBody>
      </p:sp>
      <p:grpSp>
        <p:nvGrpSpPr>
          <p:cNvPr id="75" name="Group 74">
            <a:extLst>
              <a:ext uri="{FF2B5EF4-FFF2-40B4-BE49-F238E27FC236}">
                <a16:creationId xmlns:a16="http://schemas.microsoft.com/office/drawing/2014/main" id="{AF64FF8B-59F6-4BD7-B008-D1687DFC872C}"/>
              </a:ext>
            </a:extLst>
          </p:cNvPr>
          <p:cNvGrpSpPr/>
          <p:nvPr/>
        </p:nvGrpSpPr>
        <p:grpSpPr>
          <a:xfrm>
            <a:off x="10115240" y="3363832"/>
            <a:ext cx="1337167" cy="335776"/>
            <a:chOff x="10115240" y="3484138"/>
            <a:chExt cx="1337167" cy="335776"/>
          </a:xfrm>
        </p:grpSpPr>
        <p:sp>
          <p:nvSpPr>
            <p:cNvPr id="176" name="Rectangle 175">
              <a:extLst>
                <a:ext uri="{FF2B5EF4-FFF2-40B4-BE49-F238E27FC236}">
                  <a16:creationId xmlns:a16="http://schemas.microsoft.com/office/drawing/2014/main" id="{813CBB39-1601-45D7-8753-B0FDE9723077}"/>
                </a:ext>
              </a:extLst>
            </p:cNvPr>
            <p:cNvSpPr/>
            <p:nvPr/>
          </p:nvSpPr>
          <p:spPr bwMode="auto">
            <a:xfrm>
              <a:off x="10115240" y="3484138"/>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6" name="Group 65">
              <a:extLst>
                <a:ext uri="{FF2B5EF4-FFF2-40B4-BE49-F238E27FC236}">
                  <a16:creationId xmlns:a16="http://schemas.microsoft.com/office/drawing/2014/main" id="{12DAFB57-031C-4A30-8918-AEC560D2214A}"/>
                </a:ext>
              </a:extLst>
            </p:cNvPr>
            <p:cNvGrpSpPr/>
            <p:nvPr/>
          </p:nvGrpSpPr>
          <p:grpSpPr>
            <a:xfrm>
              <a:off x="10380304" y="3550335"/>
              <a:ext cx="833170" cy="203382"/>
              <a:chOff x="10380304" y="3544944"/>
              <a:chExt cx="833170" cy="203382"/>
            </a:xfrm>
          </p:grpSpPr>
          <p:sp>
            <p:nvSpPr>
              <p:cNvPr id="67" name="building_4">
                <a:extLst>
                  <a:ext uri="{FF2B5EF4-FFF2-40B4-BE49-F238E27FC236}">
                    <a16:creationId xmlns:a16="http://schemas.microsoft.com/office/drawing/2014/main" id="{DC54346D-6FE1-497F-BAB2-878AA2668BF7}"/>
                  </a:ext>
                </a:extLst>
              </p:cNvPr>
              <p:cNvSpPr>
                <a:spLocks noChangeAspect="1" noEditPoints="1"/>
              </p:cNvSpPr>
              <p:nvPr/>
            </p:nvSpPr>
            <p:spPr bwMode="auto">
              <a:xfrm>
                <a:off x="10380304" y="3544944"/>
                <a:ext cx="200229" cy="203382"/>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TextBox 67">
                <a:extLst>
                  <a:ext uri="{FF2B5EF4-FFF2-40B4-BE49-F238E27FC236}">
                    <a16:creationId xmlns:a16="http://schemas.microsoft.com/office/drawing/2014/main" id="{DADF3261-F356-483D-A997-C65B2B413B85}"/>
                  </a:ext>
                </a:extLst>
              </p:cNvPr>
              <p:cNvSpPr txBox="1"/>
              <p:nvPr/>
            </p:nvSpPr>
            <p:spPr>
              <a:xfrm>
                <a:off x="10633187" y="3607240"/>
                <a:ext cx="580287" cy="10861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n-premises</a:t>
                </a:r>
              </a:p>
            </p:txBody>
          </p:sp>
        </p:grpSp>
      </p:grpSp>
      <p:sp>
        <p:nvSpPr>
          <p:cNvPr id="72" name="TextBox 71">
            <a:extLst>
              <a:ext uri="{FF2B5EF4-FFF2-40B4-BE49-F238E27FC236}">
                <a16:creationId xmlns:a16="http://schemas.microsoft.com/office/drawing/2014/main" id="{49D08BC9-2964-452E-A8A6-5E28D046419C}"/>
              </a:ext>
            </a:extLst>
          </p:cNvPr>
          <p:cNvSpPr txBox="1"/>
          <p:nvPr/>
        </p:nvSpPr>
        <p:spPr>
          <a:xfrm>
            <a:off x="10510512" y="2317517"/>
            <a:ext cx="54662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cs typeface="Segoe UI Semibold" panose="020B0702040204020203" pitchFamily="34" charset="0"/>
              </a:rPr>
              <a:t>LOB apps</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285660" y="4239353"/>
            <a:ext cx="996327" cy="142565"/>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cs typeface="Segoe UI Semibold" panose="020B0702040204020203" pitchFamily="34" charset="0"/>
              </a:rPr>
              <a:t>Enterprise store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032503" y="2168216"/>
            <a:ext cx="548640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5104481" y="1877114"/>
            <a:ext cx="3342445"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Bot intelligence</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652245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6" name="Group 75">
            <a:extLst>
              <a:ext uri="{FF2B5EF4-FFF2-40B4-BE49-F238E27FC236}">
                <a16:creationId xmlns:a16="http://schemas.microsoft.com/office/drawing/2014/main" id="{2A968A0E-90EF-461F-8A31-825EB93698A1}"/>
              </a:ext>
            </a:extLst>
          </p:cNvPr>
          <p:cNvGrpSpPr/>
          <p:nvPr/>
        </p:nvGrpSpPr>
        <p:grpSpPr>
          <a:xfrm>
            <a:off x="10115240" y="3780982"/>
            <a:ext cx="1337167" cy="335776"/>
            <a:chOff x="10115240" y="3909922"/>
            <a:chExt cx="1337167" cy="335776"/>
          </a:xfrm>
        </p:grpSpPr>
        <p:sp>
          <p:nvSpPr>
            <p:cNvPr id="128" name="Rectangle 127">
              <a:extLst>
                <a:ext uri="{FF2B5EF4-FFF2-40B4-BE49-F238E27FC236}">
                  <a16:creationId xmlns:a16="http://schemas.microsoft.com/office/drawing/2014/main" id="{813CBB39-1601-45D7-8753-B0FDE9723077}"/>
                </a:ext>
              </a:extLst>
            </p:cNvPr>
            <p:cNvSpPr/>
            <p:nvPr/>
          </p:nvSpPr>
          <p:spPr bwMode="auto">
            <a:xfrm>
              <a:off x="10115240" y="3909922"/>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5" name="Group 64">
              <a:extLst>
                <a:ext uri="{FF2B5EF4-FFF2-40B4-BE49-F238E27FC236}">
                  <a16:creationId xmlns:a16="http://schemas.microsoft.com/office/drawing/2014/main" id="{B537F1E9-10DE-4EAB-BD66-44C4FF0D2BDE}"/>
                </a:ext>
              </a:extLst>
            </p:cNvPr>
            <p:cNvGrpSpPr/>
            <p:nvPr/>
          </p:nvGrpSpPr>
          <p:grpSpPr>
            <a:xfrm>
              <a:off x="10520091" y="3956449"/>
              <a:ext cx="527465" cy="242723"/>
              <a:chOff x="10370797" y="3944978"/>
              <a:chExt cx="527465" cy="242723"/>
            </a:xfrm>
          </p:grpSpPr>
          <p:pic>
            <p:nvPicPr>
              <p:cNvPr id="138" name="Picture 137">
                <a:extLst>
                  <a:ext uri="{FF2B5EF4-FFF2-40B4-BE49-F238E27FC236}">
                    <a16:creationId xmlns:a16="http://schemas.microsoft.com/office/drawing/2014/main" id="{107AA9EA-9011-4C65-B357-F0ACE69C5DD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0797" y="3944978"/>
                <a:ext cx="241458" cy="242723"/>
              </a:xfrm>
              <a:prstGeom prst="rect">
                <a:avLst/>
              </a:prstGeom>
            </p:spPr>
          </p:pic>
          <p:sp>
            <p:nvSpPr>
              <p:cNvPr id="109" name="TextBox 108">
                <a:extLst>
                  <a:ext uri="{FF2B5EF4-FFF2-40B4-BE49-F238E27FC236}">
                    <a16:creationId xmlns:a16="http://schemas.microsoft.com/office/drawing/2014/main" id="{E6C70E18-D839-4C30-8A9A-8E84A10ABAA0}"/>
                  </a:ext>
                </a:extLst>
              </p:cNvPr>
              <p:cNvSpPr txBox="1"/>
              <p:nvPr/>
            </p:nvSpPr>
            <p:spPr>
              <a:xfrm>
                <a:off x="10649796" y="4021591"/>
                <a:ext cx="248466" cy="10861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IFTTT</a:t>
                </a:r>
              </a:p>
            </p:txBody>
          </p:sp>
        </p:grpSp>
      </p:grpSp>
      <p:sp>
        <p:nvSpPr>
          <p:cNvPr id="146" name="TextBox 145">
            <a:extLst>
              <a:ext uri="{FF2B5EF4-FFF2-40B4-BE49-F238E27FC236}">
                <a16:creationId xmlns:a16="http://schemas.microsoft.com/office/drawing/2014/main" id="{3B1A8166-54EE-4AB9-A292-9011578D1FF0}"/>
              </a:ext>
            </a:extLst>
          </p:cNvPr>
          <p:cNvSpPr txBox="1"/>
          <p:nvPr/>
        </p:nvSpPr>
        <p:spPr>
          <a:xfrm>
            <a:off x="976071" y="6095490"/>
            <a:ext cx="937949"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Azure Tools</a:t>
            </a:r>
          </a:p>
        </p:txBody>
      </p:sp>
      <p:grpSp>
        <p:nvGrpSpPr>
          <p:cNvPr id="69" name="Group 68">
            <a:extLst>
              <a:ext uri="{FF2B5EF4-FFF2-40B4-BE49-F238E27FC236}">
                <a16:creationId xmlns:a16="http://schemas.microsoft.com/office/drawing/2014/main" id="{A56DD670-4127-444B-94B0-2AC7AC12B1A1}"/>
              </a:ext>
            </a:extLst>
          </p:cNvPr>
          <p:cNvGrpSpPr/>
          <p:nvPr/>
        </p:nvGrpSpPr>
        <p:grpSpPr>
          <a:xfrm>
            <a:off x="10115240" y="2529534"/>
            <a:ext cx="1337167" cy="335776"/>
            <a:chOff x="10115240" y="2634270"/>
            <a:chExt cx="1337167" cy="335776"/>
          </a:xfrm>
        </p:grpSpPr>
        <p:sp>
          <p:nvSpPr>
            <p:cNvPr id="147" name="Rectangle 146">
              <a:extLst>
                <a:ext uri="{FF2B5EF4-FFF2-40B4-BE49-F238E27FC236}">
                  <a16:creationId xmlns:a16="http://schemas.microsoft.com/office/drawing/2014/main" id="{51049005-9633-4D22-826B-41036AF891A5}"/>
                </a:ext>
              </a:extLst>
            </p:cNvPr>
            <p:cNvSpPr/>
            <p:nvPr/>
          </p:nvSpPr>
          <p:spPr bwMode="auto">
            <a:xfrm>
              <a:off x="10115240" y="2634270"/>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44" name="Picture 20" descr="Image result for azure logo png">
              <a:extLst>
                <a:ext uri="{FF2B5EF4-FFF2-40B4-BE49-F238E27FC236}">
                  <a16:creationId xmlns:a16="http://schemas.microsoft.com/office/drawing/2014/main" id="{D4C846F8-BFC7-41B1-8BED-E4D4B9D1989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67760" y="2751810"/>
              <a:ext cx="832126" cy="100696"/>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824131" y="4140602"/>
            <a:ext cx="252665" cy="2549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95417" y="2793257"/>
            <a:ext cx="310092" cy="3103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91377" y="2313650"/>
            <a:ext cx="318173" cy="3181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83953" y="4556959"/>
            <a:ext cx="333021" cy="315943"/>
          </a:xfrm>
          <a:prstGeom prst="rect">
            <a:avLst/>
          </a:prstGeom>
        </p:spPr>
      </p:pic>
      <p:pic>
        <p:nvPicPr>
          <p:cNvPr id="31" name="Picture 3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808990" y="3695581"/>
            <a:ext cx="282946" cy="283586"/>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809839" y="3265066"/>
            <a:ext cx="281249" cy="269080"/>
          </a:xfrm>
          <a:prstGeom prst="rect">
            <a:avLst/>
          </a:prstGeom>
          <a:noFill/>
          <a:extLst>
            <a:ext uri="{909E8E84-426E-40DD-AFC4-6F175D3DCCD1}">
              <a14:hiddenFill xmlns:a14="http://schemas.microsoft.com/office/drawing/2010/main">
                <a:solidFill>
                  <a:srgbClr val="FFFFFF"/>
                </a:solidFill>
              </a14:hiddenFill>
            </a:ext>
          </a:extLst>
        </p:spPr>
      </p:pic>
      <p:sp>
        <p:nvSpPr>
          <p:cNvPr id="125" name="PageRight_E761" title="Icon of a chevron bracket in a circle pointed right">
            <a:extLst>
              <a:ext uri="{FF2B5EF4-FFF2-40B4-BE49-F238E27FC236}">
                <a16:creationId xmlns:a16="http://schemas.microsoft.com/office/drawing/2014/main" id="{7536D5F7-3E42-4EDB-9049-F7B3E5846C74}"/>
              </a:ext>
            </a:extLst>
          </p:cNvPr>
          <p:cNvSpPr>
            <a:spLocks noChangeAspect="1" noEditPoints="1"/>
          </p:cNvSpPr>
          <p:nvPr/>
        </p:nvSpPr>
        <p:spPr bwMode="auto">
          <a:xfrm>
            <a:off x="196458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 name="PageRight_E761" title="Icon of a chevron bracket in a circle pointed right">
            <a:extLst>
              <a:ext uri="{FF2B5EF4-FFF2-40B4-BE49-F238E27FC236}">
                <a16:creationId xmlns:a16="http://schemas.microsoft.com/office/drawing/2014/main" id="{4C001071-ABA1-4242-9FAC-9DA2847921F7}"/>
              </a:ext>
            </a:extLst>
          </p:cNvPr>
          <p:cNvSpPr>
            <a:spLocks noChangeAspect="1" noEditPoints="1"/>
          </p:cNvSpPr>
          <p:nvPr/>
        </p:nvSpPr>
        <p:spPr bwMode="auto">
          <a:xfrm>
            <a:off x="368670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 name="PageRight_E761" title="Icon of a chevron bracket in a circle pointed right">
            <a:extLst>
              <a:ext uri="{FF2B5EF4-FFF2-40B4-BE49-F238E27FC236}">
                <a16:creationId xmlns:a16="http://schemas.microsoft.com/office/drawing/2014/main" id="{6A836D10-EB5E-4C10-8BCB-0E2B01976422}"/>
              </a:ext>
            </a:extLst>
          </p:cNvPr>
          <p:cNvSpPr>
            <a:spLocks noChangeAspect="1" noEditPoints="1"/>
          </p:cNvSpPr>
          <p:nvPr/>
        </p:nvSpPr>
        <p:spPr bwMode="auto">
          <a:xfrm>
            <a:off x="961506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 name="IoT" title="Icon of five circles that all connect to a center circle">
            <a:extLst>
              <a:ext uri="{FF2B5EF4-FFF2-40B4-BE49-F238E27FC236}">
                <a16:creationId xmlns:a16="http://schemas.microsoft.com/office/drawing/2014/main" id="{518284AF-A331-4955-814A-F6E257426391}"/>
              </a:ext>
            </a:extLst>
          </p:cNvPr>
          <p:cNvSpPr>
            <a:spLocks noChangeAspect="1" noEditPoints="1"/>
          </p:cNvSpPr>
          <p:nvPr/>
        </p:nvSpPr>
        <p:spPr bwMode="auto">
          <a:xfrm>
            <a:off x="2813063" y="5224754"/>
            <a:ext cx="274801" cy="275241"/>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1" name="Robot_E99A" title="Icon of a robot">
            <a:extLst>
              <a:ext uri="{FF2B5EF4-FFF2-40B4-BE49-F238E27FC236}">
                <a16:creationId xmlns:a16="http://schemas.microsoft.com/office/drawing/2014/main" id="{E86CE644-F38B-4E60-B901-DB79069B2E75}"/>
              </a:ext>
            </a:extLst>
          </p:cNvPr>
          <p:cNvSpPr>
            <a:spLocks noChangeAspect="1" noEditPoints="1"/>
          </p:cNvSpPr>
          <p:nvPr/>
        </p:nvSpPr>
        <p:spPr bwMode="auto">
          <a:xfrm>
            <a:off x="6658739" y="5192182"/>
            <a:ext cx="233928" cy="302281"/>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2" name="Trackers_EADF_bidi" title="Icon of a clipboard with a checklist on it">
            <a:extLst>
              <a:ext uri="{FF2B5EF4-FFF2-40B4-BE49-F238E27FC236}">
                <a16:creationId xmlns:a16="http://schemas.microsoft.com/office/drawing/2014/main" id="{79B55D10-D49F-42A0-B092-057406D284E4}"/>
              </a:ext>
            </a:extLst>
          </p:cNvPr>
          <p:cNvSpPr>
            <a:spLocks noChangeAspect="1" noEditPoints="1"/>
          </p:cNvSpPr>
          <p:nvPr/>
        </p:nvSpPr>
        <p:spPr bwMode="auto">
          <a:xfrm>
            <a:off x="10728776" y="5212274"/>
            <a:ext cx="201534" cy="27480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Oval 96">
            <a:extLst>
              <a:ext uri="{FF2B5EF4-FFF2-40B4-BE49-F238E27FC236}">
                <a16:creationId xmlns:a16="http://schemas.microsoft.com/office/drawing/2014/main" id="{35AADA16-754D-4AEF-AE84-9BFB4AE495C5}"/>
              </a:ext>
            </a:extLst>
          </p:cNvPr>
          <p:cNvSpPr/>
          <p:nvPr/>
        </p:nvSpPr>
        <p:spPr bwMode="auto">
          <a:xfrm rot="2765178">
            <a:off x="7159075" y="4596606"/>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Brain_3">
            <a:extLst>
              <a:ext uri="{FF2B5EF4-FFF2-40B4-BE49-F238E27FC236}">
                <a16:creationId xmlns:a16="http://schemas.microsoft.com/office/drawing/2014/main" id="{C110B3BE-D492-4805-B37A-EE44B831C604}"/>
              </a:ext>
            </a:extLst>
          </p:cNvPr>
          <p:cNvSpPr>
            <a:spLocks noChangeAspect="1" noEditPoints="1"/>
          </p:cNvSpPr>
          <p:nvPr/>
        </p:nvSpPr>
        <p:spPr bwMode="auto">
          <a:xfrm>
            <a:off x="6458116" y="3429792"/>
            <a:ext cx="635175" cy="68298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 name="Oval 57">
            <a:extLst>
              <a:ext uri="{FF2B5EF4-FFF2-40B4-BE49-F238E27FC236}">
                <a16:creationId xmlns:a16="http://schemas.microsoft.com/office/drawing/2014/main" id="{C456E015-71A8-4D33-8736-BC26D5B40CB8}"/>
              </a:ext>
            </a:extLst>
          </p:cNvPr>
          <p:cNvSpPr/>
          <p:nvPr/>
        </p:nvSpPr>
        <p:spPr bwMode="auto">
          <a:xfrm rot="20445667">
            <a:off x="6145551" y="3141131"/>
            <a:ext cx="1260305" cy="1260306"/>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0" name="TextBox 99">
            <a:extLst>
              <a:ext uri="{FF2B5EF4-FFF2-40B4-BE49-F238E27FC236}">
                <a16:creationId xmlns:a16="http://schemas.microsoft.com/office/drawing/2014/main" id="{40BC3B52-C8B3-444E-8FAB-22412E40D9D7}"/>
              </a:ext>
            </a:extLst>
          </p:cNvPr>
          <p:cNvSpPr txBox="1"/>
          <p:nvPr/>
        </p:nvSpPr>
        <p:spPr>
          <a:xfrm>
            <a:off x="4861103" y="3172867"/>
            <a:ext cx="421590"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Speech</a:t>
            </a:r>
          </a:p>
        </p:txBody>
      </p:sp>
      <p:sp>
        <p:nvSpPr>
          <p:cNvPr id="84" name="Oval 83">
            <a:extLst>
              <a:ext uri="{FF2B5EF4-FFF2-40B4-BE49-F238E27FC236}">
                <a16:creationId xmlns:a16="http://schemas.microsoft.com/office/drawing/2014/main" id="{1E8D9388-CCB1-49B8-9509-569084D59FD2}"/>
              </a:ext>
            </a:extLst>
          </p:cNvPr>
          <p:cNvSpPr/>
          <p:nvPr/>
        </p:nvSpPr>
        <p:spPr bwMode="auto">
          <a:xfrm rot="788405">
            <a:off x="5366155" y="3023470"/>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100">
            <a:extLst>
              <a:ext uri="{FF2B5EF4-FFF2-40B4-BE49-F238E27FC236}">
                <a16:creationId xmlns:a16="http://schemas.microsoft.com/office/drawing/2014/main" id="{ABDBE43F-5DD6-4D82-9D11-0069E5755239}"/>
              </a:ext>
            </a:extLst>
          </p:cNvPr>
          <p:cNvGrpSpPr>
            <a:grpSpLocks noChangeAspect="1"/>
          </p:cNvGrpSpPr>
          <p:nvPr/>
        </p:nvGrpSpPr>
        <p:grpSpPr bwMode="auto">
          <a:xfrm>
            <a:off x="5497829" y="3172267"/>
            <a:ext cx="237445" cy="203198"/>
            <a:chOff x="1" y="3"/>
            <a:chExt cx="2697" cy="2308"/>
          </a:xfrm>
          <a:solidFill>
            <a:schemeClr val="tx1"/>
          </a:solidFill>
        </p:grpSpPr>
        <p:sp>
          <p:nvSpPr>
            <p:cNvPr id="102" name="Freeform 5">
              <a:extLst>
                <a:ext uri="{FF2B5EF4-FFF2-40B4-BE49-F238E27FC236}">
                  <a16:creationId xmlns:a16="http://schemas.microsoft.com/office/drawing/2014/main" id="{DC6B24CC-1BCA-472B-AE77-BE7A6294185E}"/>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03" name="Freeform 6">
              <a:extLst>
                <a:ext uri="{FF2B5EF4-FFF2-40B4-BE49-F238E27FC236}">
                  <a16:creationId xmlns:a16="http://schemas.microsoft.com/office/drawing/2014/main" id="{006624C4-46A0-4CF5-86B7-B5ED1AD59E81}"/>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08" name="TextBox 107">
            <a:extLst>
              <a:ext uri="{FF2B5EF4-FFF2-40B4-BE49-F238E27FC236}">
                <a16:creationId xmlns:a16="http://schemas.microsoft.com/office/drawing/2014/main" id="{120B23DD-4D6B-4DFD-8120-CB954D11D50F}"/>
              </a:ext>
            </a:extLst>
          </p:cNvPr>
          <p:cNvSpPr txBox="1"/>
          <p:nvPr/>
        </p:nvSpPr>
        <p:spPr>
          <a:xfrm>
            <a:off x="7737573" y="4708503"/>
            <a:ext cx="851195" cy="2769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Language </a:t>
            </a:r>
            <a:b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b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understanding</a:t>
            </a:r>
          </a:p>
        </p:txBody>
      </p:sp>
      <p:sp>
        <p:nvSpPr>
          <p:cNvPr id="92" name="Oval 91">
            <a:extLst>
              <a:ext uri="{FF2B5EF4-FFF2-40B4-BE49-F238E27FC236}">
                <a16:creationId xmlns:a16="http://schemas.microsoft.com/office/drawing/2014/main" id="{E5D8A545-2FD2-4CF2-9EB8-F0A7292FFB22}"/>
              </a:ext>
            </a:extLst>
          </p:cNvPr>
          <p:cNvSpPr/>
          <p:nvPr/>
        </p:nvSpPr>
        <p:spPr bwMode="auto">
          <a:xfrm>
            <a:off x="5758714" y="4592874"/>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23">
            <a:extLst>
              <a:ext uri="{FF2B5EF4-FFF2-40B4-BE49-F238E27FC236}">
                <a16:creationId xmlns:a16="http://schemas.microsoft.com/office/drawing/2014/main" id="{2769FBF2-C1B5-42DF-999D-336AB7F9D821}"/>
              </a:ext>
            </a:extLst>
          </p:cNvPr>
          <p:cNvGrpSpPr>
            <a:grpSpLocks noChangeAspect="1"/>
          </p:cNvGrpSpPr>
          <p:nvPr/>
        </p:nvGrpSpPr>
        <p:grpSpPr bwMode="auto">
          <a:xfrm>
            <a:off x="5907226" y="4741127"/>
            <a:ext cx="203768" cy="204286"/>
            <a:chOff x="0" y="2"/>
            <a:chExt cx="2361" cy="2367"/>
          </a:xfrm>
          <a:solidFill>
            <a:schemeClr val="tx1"/>
          </a:solidFill>
        </p:grpSpPr>
        <p:sp>
          <p:nvSpPr>
            <p:cNvPr id="113" name="Freeform 24">
              <a:extLst>
                <a:ext uri="{FF2B5EF4-FFF2-40B4-BE49-F238E27FC236}">
                  <a16:creationId xmlns:a16="http://schemas.microsoft.com/office/drawing/2014/main" id="{352A936C-E375-4ECC-ADC6-47CCDF32053A}"/>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F1A63A2C-BE21-4892-8C34-9DBECB92F95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4876BD8A-4FE5-49AD-9D92-6F6607DD3440}"/>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2D333C6E-3344-4778-862C-E5707ACA4A25}"/>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17" name="TextBox 116">
            <a:extLst>
              <a:ext uri="{FF2B5EF4-FFF2-40B4-BE49-F238E27FC236}">
                <a16:creationId xmlns:a16="http://schemas.microsoft.com/office/drawing/2014/main" id="{010D1232-C9AA-4DAB-8C36-A11F0180F548}"/>
              </a:ext>
            </a:extLst>
          </p:cNvPr>
          <p:cNvSpPr txBox="1"/>
          <p:nvPr/>
        </p:nvSpPr>
        <p:spPr>
          <a:xfrm>
            <a:off x="5081821" y="4774021"/>
            <a:ext cx="588303"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ranslator</a:t>
            </a:r>
          </a:p>
        </p:txBody>
      </p:sp>
      <p:sp>
        <p:nvSpPr>
          <p:cNvPr id="118" name="TextBox 117">
            <a:extLst>
              <a:ext uri="{FF2B5EF4-FFF2-40B4-BE49-F238E27FC236}">
                <a16:creationId xmlns:a16="http://schemas.microsoft.com/office/drawing/2014/main" id="{5BEC6ECD-B804-4A7A-BE97-5ED96CA640ED}"/>
              </a:ext>
            </a:extLst>
          </p:cNvPr>
          <p:cNvSpPr txBox="1"/>
          <p:nvPr/>
        </p:nvSpPr>
        <p:spPr>
          <a:xfrm>
            <a:off x="4639444" y="4320502"/>
            <a:ext cx="774893"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QnA Maker</a:t>
            </a:r>
          </a:p>
        </p:txBody>
      </p:sp>
      <p:sp>
        <p:nvSpPr>
          <p:cNvPr id="88" name="Oval 87">
            <a:extLst>
              <a:ext uri="{FF2B5EF4-FFF2-40B4-BE49-F238E27FC236}">
                <a16:creationId xmlns:a16="http://schemas.microsoft.com/office/drawing/2014/main" id="{695E8758-894A-4135-BB36-373CE7C95278}"/>
              </a:ext>
            </a:extLst>
          </p:cNvPr>
          <p:cNvSpPr/>
          <p:nvPr/>
        </p:nvSpPr>
        <p:spPr bwMode="auto">
          <a:xfrm>
            <a:off x="4778104"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23">
            <a:extLst>
              <a:ext uri="{FF2B5EF4-FFF2-40B4-BE49-F238E27FC236}">
                <a16:creationId xmlns:a16="http://schemas.microsoft.com/office/drawing/2014/main" id="{F0AC2E40-9AA1-4BF9-A1E6-8B7E8C586C8C}"/>
              </a:ext>
            </a:extLst>
          </p:cNvPr>
          <p:cNvSpPr>
            <a:spLocks noEditPoints="1"/>
          </p:cNvSpPr>
          <p:nvPr/>
        </p:nvSpPr>
        <p:spPr bwMode="auto">
          <a:xfrm>
            <a:off x="4903100" y="3866291"/>
            <a:ext cx="250801" cy="230516"/>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chemeClr val="tx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4" name="Oval 93">
            <a:extLst>
              <a:ext uri="{FF2B5EF4-FFF2-40B4-BE49-F238E27FC236}">
                <a16:creationId xmlns:a16="http://schemas.microsoft.com/office/drawing/2014/main" id="{8FE482BF-982E-410A-A58E-70DE89C433AD}"/>
              </a:ext>
            </a:extLst>
          </p:cNvPr>
          <p:cNvSpPr/>
          <p:nvPr/>
        </p:nvSpPr>
        <p:spPr bwMode="auto">
          <a:xfrm rot="1291740">
            <a:off x="6045470" y="2369417"/>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34">
            <a:extLst>
              <a:ext uri="{FF2B5EF4-FFF2-40B4-BE49-F238E27FC236}">
                <a16:creationId xmlns:a16="http://schemas.microsoft.com/office/drawing/2014/main" id="{4A3D34A6-DFE5-48BE-8B8F-622DD08A11A2}"/>
              </a:ext>
            </a:extLst>
          </p:cNvPr>
          <p:cNvSpPr>
            <a:spLocks noEditPoints="1"/>
          </p:cNvSpPr>
          <p:nvPr/>
        </p:nvSpPr>
        <p:spPr bwMode="auto">
          <a:xfrm>
            <a:off x="6192217" y="2513250"/>
            <a:ext cx="207298" cy="213126"/>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23" name="TextBox 122">
            <a:extLst>
              <a:ext uri="{FF2B5EF4-FFF2-40B4-BE49-F238E27FC236}">
                <a16:creationId xmlns:a16="http://schemas.microsoft.com/office/drawing/2014/main" id="{10A373AD-040E-41C1-BF3D-5FE8069BDEB0}"/>
              </a:ext>
            </a:extLst>
          </p:cNvPr>
          <p:cNvSpPr txBox="1"/>
          <p:nvPr/>
        </p:nvSpPr>
        <p:spPr>
          <a:xfrm>
            <a:off x="5289630" y="2512464"/>
            <a:ext cx="673262" cy="1384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Bing search</a:t>
            </a:r>
          </a:p>
        </p:txBody>
      </p:sp>
      <p:grpSp>
        <p:nvGrpSpPr>
          <p:cNvPr id="62" name="Group 61">
            <a:extLst>
              <a:ext uri="{FF2B5EF4-FFF2-40B4-BE49-F238E27FC236}">
                <a16:creationId xmlns:a16="http://schemas.microsoft.com/office/drawing/2014/main" id="{A30260C6-D84D-4224-B608-824C0E487747}"/>
              </a:ext>
            </a:extLst>
          </p:cNvPr>
          <p:cNvGrpSpPr/>
          <p:nvPr/>
        </p:nvGrpSpPr>
        <p:grpSpPr>
          <a:xfrm>
            <a:off x="7252086" y="2357761"/>
            <a:ext cx="2038388" cy="1232000"/>
            <a:chOff x="7318761" y="2352674"/>
            <a:chExt cx="2038388" cy="1232000"/>
          </a:xfrm>
        </p:grpSpPr>
        <p:grpSp>
          <p:nvGrpSpPr>
            <p:cNvPr id="161" name="Group 160">
              <a:extLst>
                <a:ext uri="{FF2B5EF4-FFF2-40B4-BE49-F238E27FC236}">
                  <a16:creationId xmlns:a16="http://schemas.microsoft.com/office/drawing/2014/main" id="{3936532F-4A62-41B0-8134-F405E5BC5CF6}"/>
                </a:ext>
              </a:extLst>
            </p:cNvPr>
            <p:cNvGrpSpPr/>
            <p:nvPr/>
          </p:nvGrpSpPr>
          <p:grpSpPr>
            <a:xfrm>
              <a:off x="7318761" y="2352674"/>
              <a:ext cx="1402040" cy="1232000"/>
              <a:chOff x="6843202" y="1590965"/>
              <a:chExt cx="1591103" cy="1398133"/>
            </a:xfrm>
          </p:grpSpPr>
          <p:cxnSp>
            <p:nvCxnSpPr>
              <p:cNvPr id="122" name="Connector: Elbow 121">
                <a:extLst>
                  <a:ext uri="{FF2B5EF4-FFF2-40B4-BE49-F238E27FC236}">
                    <a16:creationId xmlns:a16="http://schemas.microsoft.com/office/drawing/2014/main" id="{53505283-699E-4694-A5C9-9013BC7E06AC}"/>
                  </a:ext>
                </a:extLst>
              </p:cNvPr>
              <p:cNvCxnSpPr>
                <a:cxnSpLocks/>
                <a:stCxn id="131" idx="0"/>
                <a:endCxn id="86" idx="0"/>
              </p:cNvCxnSpPr>
              <p:nvPr/>
            </p:nvCxnSpPr>
            <p:spPr>
              <a:xfrm rot="16200000" flipH="1">
                <a:off x="7864882" y="1672109"/>
                <a:ext cx="8471" cy="764616"/>
              </a:xfrm>
              <a:prstGeom prst="bentConnector3">
                <a:avLst>
                  <a:gd name="adj1" fmla="val -3062701"/>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C7E245-514E-4E3F-ACFB-261AC21E49C6}"/>
                  </a:ext>
                </a:extLst>
              </p:cNvPr>
              <p:cNvCxnSpPr>
                <a:cxnSpLocks/>
                <a:stCxn id="131" idx="4"/>
                <a:endCxn id="86" idx="4"/>
              </p:cNvCxnSpPr>
              <p:nvPr/>
            </p:nvCxnSpPr>
            <p:spPr>
              <a:xfrm rot="16200000" flipH="1">
                <a:off x="7864882" y="2037869"/>
                <a:ext cx="8471" cy="764616"/>
              </a:xfrm>
              <a:prstGeom prst="bentConnector3">
                <a:avLst>
                  <a:gd name="adj1" fmla="val 3162701"/>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9F6F5C3A-06E8-4778-8470-1EAF63FAD2B9}"/>
                  </a:ext>
                </a:extLst>
              </p:cNvPr>
              <p:cNvSpPr/>
              <p:nvPr/>
            </p:nvSpPr>
            <p:spPr bwMode="auto">
              <a:xfrm>
                <a:off x="7155849" y="1590965"/>
                <a:ext cx="365761"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22F134E6-351F-44DD-A2F2-228A450F6EFA}"/>
                  </a:ext>
                </a:extLst>
              </p:cNvPr>
              <p:cNvSpPr txBox="1"/>
              <p:nvPr/>
            </p:nvSpPr>
            <p:spPr>
              <a:xfrm>
                <a:off x="7245042" y="1726692"/>
                <a:ext cx="187375"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rt</a:t>
                </a:r>
              </a:p>
            </p:txBody>
          </p:sp>
          <p:grpSp>
            <p:nvGrpSpPr>
              <p:cNvPr id="83" name="Group 82">
                <a:extLst>
                  <a:ext uri="{FF2B5EF4-FFF2-40B4-BE49-F238E27FC236}">
                    <a16:creationId xmlns:a16="http://schemas.microsoft.com/office/drawing/2014/main" id="{4719ED3B-D0AC-447F-9BD8-2C080807577C}"/>
                  </a:ext>
                </a:extLst>
              </p:cNvPr>
              <p:cNvGrpSpPr/>
              <p:nvPr/>
            </p:nvGrpSpPr>
            <p:grpSpPr>
              <a:xfrm>
                <a:off x="8068545" y="2058652"/>
                <a:ext cx="365760" cy="365760"/>
                <a:chOff x="8663471" y="2054156"/>
                <a:chExt cx="365760" cy="365760"/>
              </a:xfrm>
            </p:grpSpPr>
            <p:sp>
              <p:nvSpPr>
                <p:cNvPr id="86" name="Oval 85">
                  <a:extLst>
                    <a:ext uri="{FF2B5EF4-FFF2-40B4-BE49-F238E27FC236}">
                      <a16:creationId xmlns:a16="http://schemas.microsoft.com/office/drawing/2014/main" id="{36CD0404-F2FA-4C2E-A3AE-E7A0A7EDEAE7}"/>
                    </a:ext>
                  </a:extLst>
                </p:cNvPr>
                <p:cNvSpPr/>
                <p:nvPr/>
              </p:nvSpPr>
              <p:spPr bwMode="auto">
                <a:xfrm>
                  <a:off x="8663471" y="2054156"/>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6" name="TextBox 135">
                  <a:extLst>
                    <a:ext uri="{FF2B5EF4-FFF2-40B4-BE49-F238E27FC236}">
                      <a16:creationId xmlns:a16="http://schemas.microsoft.com/office/drawing/2014/main" id="{A16C50DF-6DE7-468C-97F4-AF12F78386EF}"/>
                    </a:ext>
                  </a:extLst>
                </p:cNvPr>
                <p:cNvSpPr txBox="1"/>
                <p:nvPr/>
              </p:nvSpPr>
              <p:spPr>
                <a:xfrm>
                  <a:off x="8709003" y="2189883"/>
                  <a:ext cx="274694"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2</a:t>
                  </a:r>
                </a:p>
              </p:txBody>
            </p:sp>
          </p:grpSp>
          <p:grpSp>
            <p:nvGrpSpPr>
              <p:cNvPr id="107" name="Group 106">
                <a:extLst>
                  <a:ext uri="{FF2B5EF4-FFF2-40B4-BE49-F238E27FC236}">
                    <a16:creationId xmlns:a16="http://schemas.microsoft.com/office/drawing/2014/main" id="{2F40FA33-3719-4797-9423-88CDB011A738}"/>
                  </a:ext>
                </a:extLst>
              </p:cNvPr>
              <p:cNvGrpSpPr/>
              <p:nvPr/>
            </p:nvGrpSpPr>
            <p:grpSpPr>
              <a:xfrm>
                <a:off x="7729805" y="2623338"/>
                <a:ext cx="365760" cy="365760"/>
                <a:chOff x="8324731" y="2502094"/>
                <a:chExt cx="365760" cy="365760"/>
              </a:xfrm>
            </p:grpSpPr>
            <p:sp>
              <p:nvSpPr>
                <p:cNvPr id="132" name="Oval 131">
                  <a:extLst>
                    <a:ext uri="{FF2B5EF4-FFF2-40B4-BE49-F238E27FC236}">
                      <a16:creationId xmlns:a16="http://schemas.microsoft.com/office/drawing/2014/main" id="{68BDD235-470B-4484-82DE-2B378FCBEBFD}"/>
                    </a:ext>
                  </a:extLst>
                </p:cNvPr>
                <p:cNvSpPr/>
                <p:nvPr/>
              </p:nvSpPr>
              <p:spPr bwMode="auto">
                <a:xfrm>
                  <a:off x="8324731" y="2502094"/>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27F89D27-7FA7-485C-8777-D7007A2A2C88}"/>
                    </a:ext>
                  </a:extLst>
                </p:cNvPr>
                <p:cNvSpPr txBox="1"/>
                <p:nvPr/>
              </p:nvSpPr>
              <p:spPr>
                <a:xfrm>
                  <a:off x="8370263" y="2637821"/>
                  <a:ext cx="274694"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3</a:t>
                  </a:r>
                </a:p>
              </p:txBody>
            </p:sp>
          </p:grpSp>
          <p:cxnSp>
            <p:nvCxnSpPr>
              <p:cNvPr id="111" name="Connector: Elbow 110">
                <a:extLst>
                  <a:ext uri="{FF2B5EF4-FFF2-40B4-BE49-F238E27FC236}">
                    <a16:creationId xmlns:a16="http://schemas.microsoft.com/office/drawing/2014/main" id="{D7842054-482B-4EFB-80B3-DFCA4D948738}"/>
                  </a:ext>
                </a:extLst>
              </p:cNvPr>
              <p:cNvCxnSpPr>
                <a:stCxn id="130" idx="3"/>
                <a:endCxn id="135" idx="1"/>
              </p:cNvCxnSpPr>
              <p:nvPr/>
            </p:nvCxnSpPr>
            <p:spPr>
              <a:xfrm rot="16200000" flipH="1">
                <a:off x="7118126" y="1994449"/>
                <a:ext cx="329900" cy="147324"/>
              </a:xfrm>
              <a:prstGeom prst="bentConnector2">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34681BD-6950-405C-BA5B-307BA381C681}"/>
                  </a:ext>
                </a:extLst>
              </p:cNvPr>
              <p:cNvGrpSpPr/>
              <p:nvPr/>
            </p:nvGrpSpPr>
            <p:grpSpPr>
              <a:xfrm>
                <a:off x="7303929" y="2050181"/>
                <a:ext cx="365760" cy="365760"/>
                <a:chOff x="7898855" y="2045685"/>
                <a:chExt cx="365760" cy="365760"/>
              </a:xfrm>
            </p:grpSpPr>
            <p:sp>
              <p:nvSpPr>
                <p:cNvPr id="131" name="Oval 130">
                  <a:extLst>
                    <a:ext uri="{FF2B5EF4-FFF2-40B4-BE49-F238E27FC236}">
                      <a16:creationId xmlns:a16="http://schemas.microsoft.com/office/drawing/2014/main" id="{BC063C73-2E99-493E-A78E-FD2209C144BB}"/>
                    </a:ext>
                  </a:extLst>
                </p:cNvPr>
                <p:cNvSpPr/>
                <p:nvPr/>
              </p:nvSpPr>
              <p:spPr bwMode="auto">
                <a:xfrm>
                  <a:off x="7898855" y="2045685"/>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583F2BA2-29A3-4976-B41B-00D15EF59717}"/>
                    </a:ext>
                  </a:extLst>
                </p:cNvPr>
                <p:cNvSpPr txBox="1"/>
                <p:nvPr/>
              </p:nvSpPr>
              <p:spPr>
                <a:xfrm>
                  <a:off x="7951664" y="2181412"/>
                  <a:ext cx="260141"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1</a:t>
                  </a:r>
                </a:p>
              </p:txBody>
            </p:sp>
          </p:grpSp>
          <p:sp>
            <p:nvSpPr>
              <p:cNvPr id="140" name="TextBox 139">
                <a:extLst>
                  <a:ext uri="{FF2B5EF4-FFF2-40B4-BE49-F238E27FC236}">
                    <a16:creationId xmlns:a16="http://schemas.microsoft.com/office/drawing/2014/main" id="{731B43D7-48FE-4956-BCF6-02651D300FC7}"/>
                  </a:ext>
                </a:extLst>
              </p:cNvPr>
              <p:cNvSpPr txBox="1"/>
              <p:nvPr/>
            </p:nvSpPr>
            <p:spPr>
              <a:xfrm>
                <a:off x="7641804" y="2453596"/>
                <a:ext cx="469345"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3</a:t>
                </a:r>
              </a:p>
            </p:txBody>
          </p:sp>
          <p:sp>
            <p:nvSpPr>
              <p:cNvPr id="134" name="TextBox 133">
                <a:extLst>
                  <a:ext uri="{FF2B5EF4-FFF2-40B4-BE49-F238E27FC236}">
                    <a16:creationId xmlns:a16="http://schemas.microsoft.com/office/drawing/2014/main" id="{00001FEB-75E4-4B7F-9B9A-F580DC35D166}"/>
                  </a:ext>
                </a:extLst>
              </p:cNvPr>
              <p:cNvSpPr txBox="1"/>
              <p:nvPr/>
            </p:nvSpPr>
            <p:spPr>
              <a:xfrm>
                <a:off x="7641803" y="1929033"/>
                <a:ext cx="469345"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2</a:t>
                </a:r>
              </a:p>
            </p:txBody>
          </p:sp>
          <p:cxnSp>
            <p:nvCxnSpPr>
              <p:cNvPr id="1025" name="Connector: Elbow 1024">
                <a:extLst>
                  <a:ext uri="{FF2B5EF4-FFF2-40B4-BE49-F238E27FC236}">
                    <a16:creationId xmlns:a16="http://schemas.microsoft.com/office/drawing/2014/main" id="{165CB547-C90B-412A-A2AA-2D3B85B75710}"/>
                  </a:ext>
                </a:extLst>
              </p:cNvPr>
              <p:cNvCxnSpPr>
                <a:stCxn id="131" idx="3"/>
                <a:endCxn id="132" idx="2"/>
              </p:cNvCxnSpPr>
              <p:nvPr/>
            </p:nvCxnSpPr>
            <p:spPr>
              <a:xfrm rot="16200000" flipH="1">
                <a:off x="7321728" y="2398142"/>
                <a:ext cx="443841" cy="372311"/>
              </a:xfrm>
              <a:prstGeom prst="bentConnector2">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625AE64E-1B53-4CBB-82CB-994B792B9A19}"/>
                  </a:ext>
                </a:extLst>
              </p:cNvPr>
              <p:cNvSpPr txBox="1"/>
              <p:nvPr/>
            </p:nvSpPr>
            <p:spPr>
              <a:xfrm>
                <a:off x="7157510" y="2762381"/>
                <a:ext cx="471164"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4</a:t>
                </a:r>
              </a:p>
            </p:txBody>
          </p:sp>
          <p:sp>
            <p:nvSpPr>
              <p:cNvPr id="133" name="TextBox 132">
                <a:extLst>
                  <a:ext uri="{FF2B5EF4-FFF2-40B4-BE49-F238E27FC236}">
                    <a16:creationId xmlns:a16="http://schemas.microsoft.com/office/drawing/2014/main" id="{11778800-6F6F-4BE1-965B-DFC31C373181}"/>
                  </a:ext>
                </a:extLst>
              </p:cNvPr>
              <p:cNvSpPr txBox="1"/>
              <p:nvPr/>
            </p:nvSpPr>
            <p:spPr>
              <a:xfrm>
                <a:off x="6843202" y="2008378"/>
                <a:ext cx="454793"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1</a:t>
                </a:r>
              </a:p>
            </p:txBody>
          </p:sp>
        </p:grpSp>
        <p:sp>
          <p:nvSpPr>
            <p:cNvPr id="153" name="TextBox 152">
              <a:extLst>
                <a:ext uri="{FF2B5EF4-FFF2-40B4-BE49-F238E27FC236}">
                  <a16:creationId xmlns:a16="http://schemas.microsoft.com/office/drawing/2014/main" id="{3ECC1C26-4C7D-418A-B445-A63BEA2A989B}"/>
                </a:ext>
              </a:extLst>
            </p:cNvPr>
            <p:cNvSpPr txBox="1"/>
            <p:nvPr/>
          </p:nvSpPr>
          <p:spPr>
            <a:xfrm>
              <a:off x="8618061" y="3279688"/>
              <a:ext cx="739088" cy="292902"/>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Bot framework SDK dialog </a:t>
              </a:r>
              <a:b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br>
              <a: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manager</a:t>
              </a:r>
            </a:p>
          </p:txBody>
        </p:sp>
      </p:grpSp>
      <p:cxnSp>
        <p:nvCxnSpPr>
          <p:cNvPr id="1029" name="Straight Connector 1028">
            <a:extLst>
              <a:ext uri="{FF2B5EF4-FFF2-40B4-BE49-F238E27FC236}">
                <a16:creationId xmlns:a16="http://schemas.microsoft.com/office/drawing/2014/main" id="{41FFB9C0-1870-4BE1-B2B9-98728305162F}"/>
              </a:ext>
            </a:extLst>
          </p:cNvPr>
          <p:cNvCxnSpPr>
            <a:cxnSpLocks/>
            <a:stCxn id="94" idx="5"/>
            <a:endCxn id="58" idx="0"/>
          </p:cNvCxnSpPr>
          <p:nvPr/>
        </p:nvCxnSpPr>
        <p:spPr>
          <a:xfrm>
            <a:off x="6395596" y="2849493"/>
            <a:ext cx="172468" cy="32683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3" name="Straight Connector 1032">
            <a:extLst>
              <a:ext uri="{FF2B5EF4-FFF2-40B4-BE49-F238E27FC236}">
                <a16:creationId xmlns:a16="http://schemas.microsoft.com/office/drawing/2014/main" id="{81FBD869-5738-4CA2-B2AD-AD0A823D796A}"/>
              </a:ext>
            </a:extLst>
          </p:cNvPr>
          <p:cNvCxnSpPr>
            <a:cxnSpLocks/>
            <a:stCxn id="84" idx="6"/>
            <a:endCxn id="58" idx="1"/>
          </p:cNvCxnSpPr>
          <p:nvPr/>
        </p:nvCxnSpPr>
        <p:spPr>
          <a:xfrm>
            <a:off x="5860392" y="3330790"/>
            <a:ext cx="347787" cy="166617"/>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7" name="Straight Connector 1036">
            <a:extLst>
              <a:ext uri="{FF2B5EF4-FFF2-40B4-BE49-F238E27FC236}">
                <a16:creationId xmlns:a16="http://schemas.microsoft.com/office/drawing/2014/main" id="{237F6B00-2AE5-459E-AAA3-1E5EC4D5187A}"/>
              </a:ext>
            </a:extLst>
          </p:cNvPr>
          <p:cNvCxnSpPr>
            <a:cxnSpLocks/>
            <a:stCxn id="88" idx="6"/>
            <a:endCxn id="58" idx="2"/>
          </p:cNvCxnSpPr>
          <p:nvPr/>
        </p:nvCxnSpPr>
        <p:spPr>
          <a:xfrm flipV="1">
            <a:off x="5278897" y="3978924"/>
            <a:ext cx="901846" cy="262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1" name="Straight Connector 1040">
            <a:extLst>
              <a:ext uri="{FF2B5EF4-FFF2-40B4-BE49-F238E27FC236}">
                <a16:creationId xmlns:a16="http://schemas.microsoft.com/office/drawing/2014/main" id="{E0FB90FF-CAA7-49E1-9923-2EF72CC10F59}"/>
              </a:ext>
            </a:extLst>
          </p:cNvPr>
          <p:cNvCxnSpPr>
            <a:cxnSpLocks/>
            <a:stCxn id="92" idx="7"/>
            <a:endCxn id="58" idx="3"/>
          </p:cNvCxnSpPr>
          <p:nvPr/>
        </p:nvCxnSpPr>
        <p:spPr>
          <a:xfrm flipV="1">
            <a:off x="6186168" y="4338808"/>
            <a:ext cx="315658" cy="327405"/>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7" name="Straight Connector 1046">
            <a:extLst>
              <a:ext uri="{FF2B5EF4-FFF2-40B4-BE49-F238E27FC236}">
                <a16:creationId xmlns:a16="http://schemas.microsoft.com/office/drawing/2014/main" id="{3AA239FF-BA36-4631-BE02-86CEE0DEFDCD}"/>
              </a:ext>
            </a:extLst>
          </p:cNvPr>
          <p:cNvCxnSpPr>
            <a:cxnSpLocks/>
            <a:stCxn id="97" idx="2"/>
            <a:endCxn id="58" idx="4"/>
          </p:cNvCxnSpPr>
          <p:nvPr/>
        </p:nvCxnSpPr>
        <p:spPr>
          <a:xfrm flipH="1" flipV="1">
            <a:off x="6983344" y="4366245"/>
            <a:ext cx="252459" cy="30037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7" name="Oval 126">
            <a:extLst>
              <a:ext uri="{FF2B5EF4-FFF2-40B4-BE49-F238E27FC236}">
                <a16:creationId xmlns:a16="http://schemas.microsoft.com/office/drawing/2014/main" id="{B67C6B1E-73A3-4E6A-A5D0-D1588A8BE977}"/>
              </a:ext>
            </a:extLst>
          </p:cNvPr>
          <p:cNvSpPr/>
          <p:nvPr/>
        </p:nvSpPr>
        <p:spPr bwMode="auto">
          <a:xfrm>
            <a:off x="8320668"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321EEF7A-4987-43A2-9D9E-796F497FFD55}"/>
              </a:ext>
            </a:extLst>
          </p:cNvPr>
          <p:cNvSpPr txBox="1"/>
          <p:nvPr/>
        </p:nvSpPr>
        <p:spPr>
          <a:xfrm>
            <a:off x="8317790" y="4321220"/>
            <a:ext cx="506549" cy="1384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Dispatch</a:t>
            </a:r>
          </a:p>
        </p:txBody>
      </p:sp>
      <p:cxnSp>
        <p:nvCxnSpPr>
          <p:cNvPr id="141" name="Straight Connector 140">
            <a:extLst>
              <a:ext uri="{FF2B5EF4-FFF2-40B4-BE49-F238E27FC236}">
                <a16:creationId xmlns:a16="http://schemas.microsoft.com/office/drawing/2014/main" id="{3C4C84C9-6CA2-4A8C-B96B-AC9D30CFB20A}"/>
              </a:ext>
            </a:extLst>
          </p:cNvPr>
          <p:cNvCxnSpPr>
            <a:cxnSpLocks/>
          </p:cNvCxnSpPr>
          <p:nvPr/>
        </p:nvCxnSpPr>
        <p:spPr>
          <a:xfrm>
            <a:off x="7367588" y="3981549"/>
            <a:ext cx="950202" cy="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3" name="Freeform 16">
            <a:extLst>
              <a:ext uri="{FF2B5EF4-FFF2-40B4-BE49-F238E27FC236}">
                <a16:creationId xmlns:a16="http://schemas.microsoft.com/office/drawing/2014/main" id="{17ADFE3D-668A-46AC-9995-8F7DBAD1F104}"/>
              </a:ext>
            </a:extLst>
          </p:cNvPr>
          <p:cNvSpPr>
            <a:spLocks noChangeAspect="1" noEditPoints="1"/>
          </p:cNvSpPr>
          <p:nvPr/>
        </p:nvSpPr>
        <p:spPr bwMode="auto">
          <a:xfrm>
            <a:off x="7293215" y="4745207"/>
            <a:ext cx="232513" cy="203591"/>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3F3F3F"/>
              </a:solidFill>
              <a:effectLst/>
              <a:uLnTx/>
              <a:uFillTx/>
              <a:latin typeface="Segoe UI"/>
              <a:ea typeface="+mn-ea"/>
              <a:cs typeface="+mn-cs"/>
            </a:endParaRPr>
          </a:p>
        </p:txBody>
      </p:sp>
      <p:grpSp>
        <p:nvGrpSpPr>
          <p:cNvPr id="173" name="Group 172">
            <a:extLst>
              <a:ext uri="{FF2B5EF4-FFF2-40B4-BE49-F238E27FC236}">
                <a16:creationId xmlns:a16="http://schemas.microsoft.com/office/drawing/2014/main" id="{DF5CE3BC-B9E0-49AB-9CEE-3C64508B99D3}"/>
              </a:ext>
            </a:extLst>
          </p:cNvPr>
          <p:cNvGrpSpPr/>
          <p:nvPr/>
        </p:nvGrpSpPr>
        <p:grpSpPr>
          <a:xfrm>
            <a:off x="13971463" y="-1082716"/>
            <a:ext cx="330095" cy="247738"/>
            <a:chOff x="3658178" y="5898425"/>
            <a:chExt cx="530263" cy="397965"/>
          </a:xfrm>
          <a:solidFill>
            <a:srgbClr val="3F3F3F"/>
          </a:solidFill>
        </p:grpSpPr>
        <p:sp>
          <p:nvSpPr>
            <p:cNvPr id="174" name="Freeform 1">
              <a:extLst>
                <a:ext uri="{FF2B5EF4-FFF2-40B4-BE49-F238E27FC236}">
                  <a16:creationId xmlns:a16="http://schemas.microsoft.com/office/drawing/2014/main" id="{D93D3428-33C0-47C5-8FF2-11B8E535EBEA}"/>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7" name="Freeform 2">
              <a:extLst>
                <a:ext uri="{FF2B5EF4-FFF2-40B4-BE49-F238E27FC236}">
                  <a16:creationId xmlns:a16="http://schemas.microsoft.com/office/drawing/2014/main" id="{584C68E6-BC2D-4D20-BE1F-DBF0233E7CC6}"/>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8" name="Freeform 3">
              <a:extLst>
                <a:ext uri="{FF2B5EF4-FFF2-40B4-BE49-F238E27FC236}">
                  <a16:creationId xmlns:a16="http://schemas.microsoft.com/office/drawing/2014/main" id="{5167E845-D3F9-4332-A67F-8C436B938DC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9" name="Freeform 4">
              <a:extLst>
                <a:ext uri="{FF2B5EF4-FFF2-40B4-BE49-F238E27FC236}">
                  <a16:creationId xmlns:a16="http://schemas.microsoft.com/office/drawing/2014/main" id="{D537C8F2-BFBE-4A29-9959-AE607AC2D927}"/>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grpSp>
      <p:sp>
        <p:nvSpPr>
          <p:cNvPr id="180" name="Rectangle 179">
            <a:extLst>
              <a:ext uri="{FF2B5EF4-FFF2-40B4-BE49-F238E27FC236}">
                <a16:creationId xmlns:a16="http://schemas.microsoft.com/office/drawing/2014/main" id="{C902B4D9-E6AA-43E7-B7B2-602B36FCBB13}"/>
              </a:ext>
            </a:extLst>
          </p:cNvPr>
          <p:cNvSpPr/>
          <p:nvPr/>
        </p:nvSpPr>
        <p:spPr bwMode="auto">
          <a:xfrm>
            <a:off x="13639984" y="-800042"/>
            <a:ext cx="993053" cy="350929"/>
          </a:xfrm>
          <a:prstGeom prst="rect">
            <a:avLst/>
          </a:prstGeom>
          <a:noFill/>
          <a:ln w="9525" cap="flat" cmpd="sng" algn="ctr">
            <a:no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3F3F3F"/>
                    </a:gs>
                    <a:gs pos="100000">
                      <a:srgbClr val="3F3F3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re infrastructure</a:t>
            </a:r>
          </a:p>
        </p:txBody>
      </p:sp>
      <p:grpSp>
        <p:nvGrpSpPr>
          <p:cNvPr id="181" name="Group 180">
            <a:extLst>
              <a:ext uri="{FF2B5EF4-FFF2-40B4-BE49-F238E27FC236}">
                <a16:creationId xmlns:a16="http://schemas.microsoft.com/office/drawing/2014/main" id="{FBDBA173-DE73-42AB-BB26-902D0E2AD387}"/>
              </a:ext>
            </a:extLst>
          </p:cNvPr>
          <p:cNvGrpSpPr/>
          <p:nvPr/>
        </p:nvGrpSpPr>
        <p:grpSpPr>
          <a:xfrm>
            <a:off x="13015565" y="-1129267"/>
            <a:ext cx="993053" cy="694340"/>
            <a:chOff x="10532941" y="1224112"/>
            <a:chExt cx="993053" cy="694340"/>
          </a:xfrm>
        </p:grpSpPr>
        <p:sp>
          <p:nvSpPr>
            <p:cNvPr id="182" name="Beaker_F196" title="Icon of a scientific flask with liquid in it">
              <a:extLst>
                <a:ext uri="{FF2B5EF4-FFF2-40B4-BE49-F238E27FC236}">
                  <a16:creationId xmlns:a16="http://schemas.microsoft.com/office/drawing/2014/main" id="{BB955DC7-388E-43BB-B445-AE87C752C089}"/>
                </a:ext>
              </a:extLst>
            </p:cNvPr>
            <p:cNvSpPr>
              <a:spLocks noChangeAspect="1" noEditPoints="1"/>
            </p:cNvSpPr>
            <p:nvPr/>
          </p:nvSpPr>
          <p:spPr bwMode="auto">
            <a:xfrm>
              <a:off x="10862359" y="1224112"/>
              <a:ext cx="259612" cy="2999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solidFill>
              <a:sysClr val="window" lastClr="FFFFFF">
                <a:lumMod val="50000"/>
              </a:sysClr>
            </a:solidFill>
            <a:ln w="15875" cap="flat">
              <a:solidFill>
                <a:sysClr val="window" lastClr="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FE9B31AD-4222-47AE-A76A-2F9A932E4AA0}"/>
                </a:ext>
              </a:extLst>
            </p:cNvPr>
            <p:cNvSpPr/>
            <p:nvPr/>
          </p:nvSpPr>
          <p:spPr bwMode="auto">
            <a:xfrm>
              <a:off x="10532941" y="1566321"/>
              <a:ext cx="993053" cy="3521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3F3F3F"/>
                      </a:gs>
                      <a:gs pos="100000">
                        <a:srgbClr val="3F3F3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achine Learning</a:t>
              </a:r>
            </a:p>
          </p:txBody>
        </p:sp>
      </p:grpSp>
      <p:sp>
        <p:nvSpPr>
          <p:cNvPr id="184" name="Rectangle 183">
            <a:extLst>
              <a:ext uri="{FF2B5EF4-FFF2-40B4-BE49-F238E27FC236}">
                <a16:creationId xmlns:a16="http://schemas.microsoft.com/office/drawing/2014/main" id="{CD38280F-47DB-49E3-9F0A-580CF37869C1}"/>
              </a:ext>
            </a:extLst>
          </p:cNvPr>
          <p:cNvSpPr/>
          <p:nvPr/>
        </p:nvSpPr>
        <p:spPr bwMode="auto">
          <a:xfrm>
            <a:off x="11876683" y="-767837"/>
            <a:ext cx="993053" cy="352131"/>
          </a:xfrm>
          <a:prstGeom prst="rect">
            <a:avLst/>
          </a:prstGeom>
          <a:noFill/>
          <a:ln w="9525" cap="flat" cmpd="sng" algn="ctr">
            <a:no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2050">
                    <a:lumMod val="50000"/>
                    <a:lumOff val="50000"/>
                  </a:srgbClr>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lligent Agents</a:t>
            </a:r>
          </a:p>
        </p:txBody>
      </p:sp>
      <p:sp>
        <p:nvSpPr>
          <p:cNvPr id="185" name="ChatBot_F08B" title="Icon of a robotic chat bubble with a smiley face">
            <a:extLst>
              <a:ext uri="{FF2B5EF4-FFF2-40B4-BE49-F238E27FC236}">
                <a16:creationId xmlns:a16="http://schemas.microsoft.com/office/drawing/2014/main" id="{2573867B-4238-42B9-AC0A-7822E39C786B}"/>
              </a:ext>
            </a:extLst>
          </p:cNvPr>
          <p:cNvSpPr>
            <a:spLocks noChangeAspect="1" noEditPoints="1"/>
          </p:cNvSpPr>
          <p:nvPr/>
        </p:nvSpPr>
        <p:spPr bwMode="auto">
          <a:xfrm>
            <a:off x="12221590" y="-1175921"/>
            <a:ext cx="276964" cy="357738"/>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9050" cap="sq">
            <a:solidFill>
              <a:srgbClr val="002050">
                <a:lumMod val="50000"/>
                <a:lumOff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Calibri" panose="020F0502020204030204"/>
              <a:ea typeface="+mn-ea"/>
              <a:cs typeface="+mn-cs"/>
            </a:endParaRPr>
          </a:p>
        </p:txBody>
      </p:sp>
      <p:pic>
        <p:nvPicPr>
          <p:cNvPr id="186" name="Picture 6" descr="Related image">
            <a:extLst>
              <a:ext uri="{FF2B5EF4-FFF2-40B4-BE49-F238E27FC236}">
                <a16:creationId xmlns:a16="http://schemas.microsoft.com/office/drawing/2014/main" id="{7B00377A-AB0A-48B2-94C9-70DB9D4DF553}"/>
              </a:ext>
            </a:extLst>
          </p:cNvPr>
          <p:cNvPicPr>
            <a:picLocks noChangeAspect="1" noChangeArrowheads="1"/>
          </p:cNvPicPr>
          <p:nvPr/>
        </p:nvPicPr>
        <p:blipFill rotWithShape="1">
          <a:blip r:embed="rId11"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bwMode="auto">
          <a:xfrm>
            <a:off x="12729118" y="-1094743"/>
            <a:ext cx="404231" cy="261563"/>
          </a:xfrm>
          <a:prstGeom prst="rect">
            <a:avLst/>
          </a:prstGeom>
          <a:noFill/>
          <a:ln w="19050" cap="sq">
            <a:noFill/>
            <a:prstDash val="solid"/>
            <a:miter lim="800000"/>
            <a:headEnd/>
            <a:tailEnd/>
          </a:ln>
          <a:extLst>
            <a:ext uri="{909E8E84-426E-40DD-AFC4-6F175D3DCCD1}">
              <a14:hiddenFill xmlns:a14="http://schemas.microsoft.com/office/drawing/2010/main">
                <a:solidFill>
                  <a:srgbClr val="FFFFFF"/>
                </a:solidFill>
              </a14:hiddenFill>
            </a:ext>
          </a:extLst>
        </p:spPr>
      </p:pic>
      <p:sp>
        <p:nvSpPr>
          <p:cNvPr id="187" name="Rectangle 186">
            <a:extLst>
              <a:ext uri="{FF2B5EF4-FFF2-40B4-BE49-F238E27FC236}">
                <a16:creationId xmlns:a16="http://schemas.microsoft.com/office/drawing/2014/main" id="{3254ACBD-C214-4AF9-8546-2E62D26B791E}"/>
              </a:ext>
            </a:extLst>
          </p:cNvPr>
          <p:cNvSpPr/>
          <p:nvPr/>
        </p:nvSpPr>
        <p:spPr bwMode="auto">
          <a:xfrm>
            <a:off x="12446124" y="-778955"/>
            <a:ext cx="993053" cy="3509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ED7D31">
                    <a:lumMod val="50000"/>
                    <a:lumOff val="50000"/>
                  </a:srgbClr>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gnitive Services</a:t>
            </a:r>
          </a:p>
        </p:txBody>
      </p:sp>
      <p:sp>
        <p:nvSpPr>
          <p:cNvPr id="188" name="Rectangle 187">
            <a:extLst>
              <a:ext uri="{FF2B5EF4-FFF2-40B4-BE49-F238E27FC236}">
                <a16:creationId xmlns:a16="http://schemas.microsoft.com/office/drawing/2014/main" id="{85E5A507-8A15-4FD1-A4CB-AEF2878FAA74}"/>
              </a:ext>
            </a:extLst>
          </p:cNvPr>
          <p:cNvSpPr/>
          <p:nvPr/>
        </p:nvSpPr>
        <p:spPr bwMode="auto">
          <a:xfrm>
            <a:off x="13179710" y="-1127955"/>
            <a:ext cx="1762056" cy="854294"/>
          </a:xfrm>
          <a:prstGeom prst="rect">
            <a:avLst/>
          </a:prstGeom>
          <a:solidFill>
            <a:schemeClr val="bg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Rectangle 142">
            <a:extLst>
              <a:ext uri="{FF2B5EF4-FFF2-40B4-BE49-F238E27FC236}">
                <a16:creationId xmlns:a16="http://schemas.microsoft.com/office/drawing/2014/main" id="{7B033CC6-A2A9-461A-86D9-79C5DCB394AF}"/>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IN" sz="2400" dirty="0">
                <a:solidFill>
                  <a:schemeClr val="tx1"/>
                </a:solidFill>
                <a:latin typeface="+mj-lt"/>
                <a:cs typeface="Segoe UI" panose="020B0502040204020203" pitchFamily="34" charset="0"/>
              </a:rPr>
              <a:t>Azure bot service + cognitive services</a:t>
            </a:r>
          </a:p>
        </p:txBody>
      </p:sp>
      <p:sp>
        <p:nvSpPr>
          <p:cNvPr id="10" name="Rectangle 9">
            <a:extLst>
              <a:ext uri="{FF2B5EF4-FFF2-40B4-BE49-F238E27FC236}">
                <a16:creationId xmlns:a16="http://schemas.microsoft.com/office/drawing/2014/main" id="{26FFD400-FB72-45B6-ADB5-DBEF961C8742}"/>
              </a:ext>
            </a:extLst>
          </p:cNvPr>
          <p:cNvSpPr/>
          <p:nvPr/>
        </p:nvSpPr>
        <p:spPr bwMode="auto">
          <a:xfrm>
            <a:off x="10380304" y="4745207"/>
            <a:ext cx="241359" cy="11690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E87ACCA5-7FA7-48BE-B02A-E315B7C0D090}"/>
              </a:ext>
            </a:extLst>
          </p:cNvPr>
          <p:cNvGrpSpPr/>
          <p:nvPr/>
        </p:nvGrpSpPr>
        <p:grpSpPr>
          <a:xfrm>
            <a:off x="10411409" y="4541661"/>
            <a:ext cx="231579" cy="301016"/>
            <a:chOff x="10299562" y="4580269"/>
            <a:chExt cx="261262" cy="339599"/>
          </a:xfrm>
        </p:grpSpPr>
        <p:grpSp>
          <p:nvGrpSpPr>
            <p:cNvPr id="148" name="Group 147">
              <a:extLst>
                <a:ext uri="{FF2B5EF4-FFF2-40B4-BE49-F238E27FC236}">
                  <a16:creationId xmlns:a16="http://schemas.microsoft.com/office/drawing/2014/main" id="{82903F78-00F6-4E52-B0BE-76EAE0A7D6F4}"/>
                </a:ext>
              </a:extLst>
            </p:cNvPr>
            <p:cNvGrpSpPr/>
            <p:nvPr/>
          </p:nvGrpSpPr>
          <p:grpSpPr>
            <a:xfrm>
              <a:off x="10358712" y="4757381"/>
              <a:ext cx="160834" cy="90122"/>
              <a:chOff x="5608638" y="3036888"/>
              <a:chExt cx="368300" cy="206374"/>
            </a:xfrm>
            <a:solidFill>
              <a:schemeClr val="tx1"/>
            </a:solidFill>
          </p:grpSpPr>
          <p:sp>
            <p:nvSpPr>
              <p:cNvPr id="154" name="Freeform 28">
                <a:extLst>
                  <a:ext uri="{FF2B5EF4-FFF2-40B4-BE49-F238E27FC236}">
                    <a16:creationId xmlns:a16="http://schemas.microsoft.com/office/drawing/2014/main" id="{6B65B51A-DCC0-430D-9EF4-2EFD3C033C32}"/>
                  </a:ext>
                </a:extLst>
              </p:cNvPr>
              <p:cNvSpPr>
                <a:spLocks/>
              </p:cNvSpPr>
              <p:nvPr/>
            </p:nvSpPr>
            <p:spPr bwMode="auto">
              <a:xfrm>
                <a:off x="5608638" y="3036888"/>
                <a:ext cx="92075" cy="187325"/>
              </a:xfrm>
              <a:custGeom>
                <a:avLst/>
                <a:gdLst>
                  <a:gd name="T0" fmla="*/ 7 w 14"/>
                  <a:gd name="T1" fmla="*/ 28 h 28"/>
                  <a:gd name="T2" fmla="*/ 0 w 14"/>
                  <a:gd name="T3" fmla="*/ 21 h 28"/>
                  <a:gd name="T4" fmla="*/ 2 w 14"/>
                  <a:gd name="T5" fmla="*/ 19 h 28"/>
                  <a:gd name="T6" fmla="*/ 4 w 14"/>
                  <a:gd name="T7" fmla="*/ 21 h 28"/>
                  <a:gd name="T8" fmla="*/ 7 w 14"/>
                  <a:gd name="T9" fmla="*/ 24 h 28"/>
                  <a:gd name="T10" fmla="*/ 10 w 14"/>
                  <a:gd name="T11" fmla="*/ 21 h 28"/>
                  <a:gd name="T12" fmla="*/ 6 w 14"/>
                  <a:gd name="T13" fmla="*/ 15 h 28"/>
                  <a:gd name="T14" fmla="*/ 0 w 14"/>
                  <a:gd name="T15" fmla="*/ 7 h 28"/>
                  <a:gd name="T16" fmla="*/ 7 w 14"/>
                  <a:gd name="T17" fmla="*/ 0 h 28"/>
                  <a:gd name="T18" fmla="*/ 14 w 14"/>
                  <a:gd name="T19" fmla="*/ 7 h 28"/>
                  <a:gd name="T20" fmla="*/ 12 w 14"/>
                  <a:gd name="T21" fmla="*/ 9 h 28"/>
                  <a:gd name="T22" fmla="*/ 10 w 14"/>
                  <a:gd name="T23" fmla="*/ 7 h 28"/>
                  <a:gd name="T24" fmla="*/ 7 w 14"/>
                  <a:gd name="T25" fmla="*/ 4 h 28"/>
                  <a:gd name="T26" fmla="*/ 4 w 14"/>
                  <a:gd name="T27" fmla="*/ 7 h 28"/>
                  <a:gd name="T28" fmla="*/ 8 w 14"/>
                  <a:gd name="T29" fmla="*/ 12 h 28"/>
                  <a:gd name="T30" fmla="*/ 14 w 14"/>
                  <a:gd name="T31" fmla="*/ 21 h 28"/>
                  <a:gd name="T32" fmla="*/ 7 w 14"/>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8">
                    <a:moveTo>
                      <a:pt x="7" y="28"/>
                    </a:moveTo>
                    <a:cubicBezTo>
                      <a:pt x="3" y="28"/>
                      <a:pt x="0" y="25"/>
                      <a:pt x="0" y="21"/>
                    </a:cubicBezTo>
                    <a:cubicBezTo>
                      <a:pt x="0" y="20"/>
                      <a:pt x="1" y="19"/>
                      <a:pt x="2" y="19"/>
                    </a:cubicBezTo>
                    <a:cubicBezTo>
                      <a:pt x="3" y="19"/>
                      <a:pt x="4" y="20"/>
                      <a:pt x="4" y="21"/>
                    </a:cubicBezTo>
                    <a:cubicBezTo>
                      <a:pt x="4" y="23"/>
                      <a:pt x="5" y="24"/>
                      <a:pt x="7" y="24"/>
                    </a:cubicBezTo>
                    <a:cubicBezTo>
                      <a:pt x="9" y="24"/>
                      <a:pt x="10" y="23"/>
                      <a:pt x="10" y="21"/>
                    </a:cubicBezTo>
                    <a:cubicBezTo>
                      <a:pt x="10" y="18"/>
                      <a:pt x="8" y="17"/>
                      <a:pt x="6" y="15"/>
                    </a:cubicBezTo>
                    <a:cubicBezTo>
                      <a:pt x="3" y="14"/>
                      <a:pt x="0" y="12"/>
                      <a:pt x="0" y="7"/>
                    </a:cubicBezTo>
                    <a:cubicBezTo>
                      <a:pt x="0" y="3"/>
                      <a:pt x="3" y="0"/>
                      <a:pt x="7" y="0"/>
                    </a:cubicBezTo>
                    <a:cubicBezTo>
                      <a:pt x="11" y="0"/>
                      <a:pt x="14" y="3"/>
                      <a:pt x="14" y="7"/>
                    </a:cubicBezTo>
                    <a:cubicBezTo>
                      <a:pt x="14" y="8"/>
                      <a:pt x="13" y="9"/>
                      <a:pt x="12" y="9"/>
                    </a:cubicBezTo>
                    <a:cubicBezTo>
                      <a:pt x="11" y="9"/>
                      <a:pt x="10" y="8"/>
                      <a:pt x="10" y="7"/>
                    </a:cubicBezTo>
                    <a:cubicBezTo>
                      <a:pt x="10" y="5"/>
                      <a:pt x="9" y="4"/>
                      <a:pt x="7" y="4"/>
                    </a:cubicBezTo>
                    <a:cubicBezTo>
                      <a:pt x="5" y="4"/>
                      <a:pt x="4" y="5"/>
                      <a:pt x="4" y="7"/>
                    </a:cubicBezTo>
                    <a:cubicBezTo>
                      <a:pt x="4" y="10"/>
                      <a:pt x="5" y="10"/>
                      <a:pt x="8" y="12"/>
                    </a:cubicBezTo>
                    <a:cubicBezTo>
                      <a:pt x="10" y="13"/>
                      <a:pt x="14" y="15"/>
                      <a:pt x="14" y="21"/>
                    </a:cubicBezTo>
                    <a:cubicBezTo>
                      <a:pt x="14" y="25"/>
                      <a:pt x="11" y="28"/>
                      <a:pt x="7" y="28"/>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6" name="Freeform 30">
                <a:extLst>
                  <a:ext uri="{FF2B5EF4-FFF2-40B4-BE49-F238E27FC236}">
                    <a16:creationId xmlns:a16="http://schemas.microsoft.com/office/drawing/2014/main" id="{90302B17-B8ED-4C00-A526-33EC447DF6B0}"/>
                  </a:ext>
                </a:extLst>
              </p:cNvPr>
              <p:cNvSpPr>
                <a:spLocks/>
              </p:cNvSpPr>
              <p:nvPr/>
            </p:nvSpPr>
            <p:spPr bwMode="auto">
              <a:xfrm>
                <a:off x="5884863" y="3036888"/>
                <a:ext cx="92075" cy="187325"/>
              </a:xfrm>
              <a:custGeom>
                <a:avLst/>
                <a:gdLst>
                  <a:gd name="T0" fmla="*/ 12 w 14"/>
                  <a:gd name="T1" fmla="*/ 28 h 28"/>
                  <a:gd name="T2" fmla="*/ 2 w 14"/>
                  <a:gd name="T3" fmla="*/ 28 h 28"/>
                  <a:gd name="T4" fmla="*/ 0 w 14"/>
                  <a:gd name="T5" fmla="*/ 26 h 28"/>
                  <a:gd name="T6" fmla="*/ 0 w 14"/>
                  <a:gd name="T7" fmla="*/ 2 h 28"/>
                  <a:gd name="T8" fmla="*/ 2 w 14"/>
                  <a:gd name="T9" fmla="*/ 0 h 28"/>
                  <a:gd name="T10" fmla="*/ 4 w 14"/>
                  <a:gd name="T11" fmla="*/ 2 h 28"/>
                  <a:gd name="T12" fmla="*/ 4 w 14"/>
                  <a:gd name="T13" fmla="*/ 24 h 28"/>
                  <a:gd name="T14" fmla="*/ 12 w 14"/>
                  <a:gd name="T15" fmla="*/ 24 h 28"/>
                  <a:gd name="T16" fmla="*/ 14 w 14"/>
                  <a:gd name="T17" fmla="*/ 26 h 28"/>
                  <a:gd name="T18" fmla="*/ 12 w 14"/>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2" y="28"/>
                    </a:moveTo>
                    <a:cubicBezTo>
                      <a:pt x="2" y="28"/>
                      <a:pt x="2" y="28"/>
                      <a:pt x="2" y="28"/>
                    </a:cubicBezTo>
                    <a:cubicBezTo>
                      <a:pt x="1" y="28"/>
                      <a:pt x="0" y="27"/>
                      <a:pt x="0" y="26"/>
                    </a:cubicBezTo>
                    <a:cubicBezTo>
                      <a:pt x="0" y="2"/>
                      <a:pt x="0" y="2"/>
                      <a:pt x="0" y="2"/>
                    </a:cubicBezTo>
                    <a:cubicBezTo>
                      <a:pt x="0" y="1"/>
                      <a:pt x="1" y="0"/>
                      <a:pt x="2" y="0"/>
                    </a:cubicBezTo>
                    <a:cubicBezTo>
                      <a:pt x="3" y="0"/>
                      <a:pt x="4" y="1"/>
                      <a:pt x="4" y="2"/>
                    </a:cubicBezTo>
                    <a:cubicBezTo>
                      <a:pt x="4" y="24"/>
                      <a:pt x="4" y="24"/>
                      <a:pt x="4" y="24"/>
                    </a:cubicBezTo>
                    <a:cubicBezTo>
                      <a:pt x="12" y="24"/>
                      <a:pt x="12" y="24"/>
                      <a:pt x="12" y="24"/>
                    </a:cubicBezTo>
                    <a:cubicBezTo>
                      <a:pt x="13" y="24"/>
                      <a:pt x="14" y="25"/>
                      <a:pt x="14" y="26"/>
                    </a:cubicBezTo>
                    <a:cubicBezTo>
                      <a:pt x="14" y="27"/>
                      <a:pt x="13" y="28"/>
                      <a:pt x="12" y="28"/>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7" name="Freeform 31">
                <a:extLst>
                  <a:ext uri="{FF2B5EF4-FFF2-40B4-BE49-F238E27FC236}">
                    <a16:creationId xmlns:a16="http://schemas.microsoft.com/office/drawing/2014/main" id="{720CEA98-3A00-4053-9240-58A49CF6F55B}"/>
                  </a:ext>
                </a:extLst>
              </p:cNvPr>
              <p:cNvSpPr>
                <a:spLocks noEditPoints="1"/>
              </p:cNvSpPr>
              <p:nvPr/>
            </p:nvSpPr>
            <p:spPr bwMode="auto">
              <a:xfrm>
                <a:off x="5726113" y="3036888"/>
                <a:ext cx="131762" cy="187325"/>
              </a:xfrm>
              <a:custGeom>
                <a:avLst/>
                <a:gdLst>
                  <a:gd name="T0" fmla="*/ 10 w 20"/>
                  <a:gd name="T1" fmla="*/ 28 h 28"/>
                  <a:gd name="T2" fmla="*/ 0 w 20"/>
                  <a:gd name="T3" fmla="*/ 14 h 28"/>
                  <a:gd name="T4" fmla="*/ 10 w 20"/>
                  <a:gd name="T5" fmla="*/ 0 h 28"/>
                  <a:gd name="T6" fmla="*/ 20 w 20"/>
                  <a:gd name="T7" fmla="*/ 14 h 28"/>
                  <a:gd name="T8" fmla="*/ 10 w 20"/>
                  <a:gd name="T9" fmla="*/ 28 h 28"/>
                  <a:gd name="T10" fmla="*/ 10 w 20"/>
                  <a:gd name="T11" fmla="*/ 4 h 28"/>
                  <a:gd name="T12" fmla="*/ 4 w 20"/>
                  <a:gd name="T13" fmla="*/ 14 h 28"/>
                  <a:gd name="T14" fmla="*/ 10 w 20"/>
                  <a:gd name="T15" fmla="*/ 24 h 28"/>
                  <a:gd name="T16" fmla="*/ 16 w 20"/>
                  <a:gd name="T17" fmla="*/ 14 h 28"/>
                  <a:gd name="T18" fmla="*/ 10 w 20"/>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8">
                    <a:moveTo>
                      <a:pt x="10" y="28"/>
                    </a:moveTo>
                    <a:cubicBezTo>
                      <a:pt x="4" y="28"/>
                      <a:pt x="0" y="21"/>
                      <a:pt x="0" y="14"/>
                    </a:cubicBezTo>
                    <a:cubicBezTo>
                      <a:pt x="0" y="7"/>
                      <a:pt x="4" y="0"/>
                      <a:pt x="10" y="0"/>
                    </a:cubicBezTo>
                    <a:cubicBezTo>
                      <a:pt x="17" y="0"/>
                      <a:pt x="20" y="7"/>
                      <a:pt x="20" y="14"/>
                    </a:cubicBezTo>
                    <a:cubicBezTo>
                      <a:pt x="20" y="21"/>
                      <a:pt x="17" y="28"/>
                      <a:pt x="10" y="28"/>
                    </a:cubicBezTo>
                    <a:close/>
                    <a:moveTo>
                      <a:pt x="10" y="4"/>
                    </a:moveTo>
                    <a:cubicBezTo>
                      <a:pt x="6" y="4"/>
                      <a:pt x="4" y="9"/>
                      <a:pt x="4" y="14"/>
                    </a:cubicBezTo>
                    <a:cubicBezTo>
                      <a:pt x="4" y="19"/>
                      <a:pt x="6" y="24"/>
                      <a:pt x="10" y="24"/>
                    </a:cubicBezTo>
                    <a:cubicBezTo>
                      <a:pt x="14" y="24"/>
                      <a:pt x="16" y="19"/>
                      <a:pt x="16" y="14"/>
                    </a:cubicBezTo>
                    <a:cubicBezTo>
                      <a:pt x="16" y="9"/>
                      <a:pt x="14" y="4"/>
                      <a:pt x="10" y="4"/>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8" name="Freeform 32">
                <a:extLst>
                  <a:ext uri="{FF2B5EF4-FFF2-40B4-BE49-F238E27FC236}">
                    <a16:creationId xmlns:a16="http://schemas.microsoft.com/office/drawing/2014/main" id="{A79D0BEE-5813-4865-B0D9-6E90FC987538}"/>
                  </a:ext>
                </a:extLst>
              </p:cNvPr>
              <p:cNvSpPr>
                <a:spLocks/>
              </p:cNvSpPr>
              <p:nvPr/>
            </p:nvSpPr>
            <p:spPr bwMode="auto">
              <a:xfrm>
                <a:off x="5780088" y="3203575"/>
                <a:ext cx="77787" cy="39687"/>
              </a:xfrm>
              <a:custGeom>
                <a:avLst/>
                <a:gdLst>
                  <a:gd name="T0" fmla="*/ 9 w 12"/>
                  <a:gd name="T1" fmla="*/ 6 h 6"/>
                  <a:gd name="T2" fmla="*/ 5 w 12"/>
                  <a:gd name="T3" fmla="*/ 5 h 6"/>
                  <a:gd name="T4" fmla="*/ 3 w 12"/>
                  <a:gd name="T5" fmla="*/ 4 h 6"/>
                  <a:gd name="T6" fmla="*/ 1 w 12"/>
                  <a:gd name="T7" fmla="*/ 4 h 6"/>
                  <a:gd name="T8" fmla="*/ 1 w 12"/>
                  <a:gd name="T9" fmla="*/ 2 h 6"/>
                  <a:gd name="T10" fmla="*/ 7 w 12"/>
                  <a:gd name="T11" fmla="*/ 1 h 6"/>
                  <a:gd name="T12" fmla="*/ 9 w 12"/>
                  <a:gd name="T13" fmla="*/ 2 h 6"/>
                  <a:gd name="T14" fmla="*/ 11 w 12"/>
                  <a:gd name="T15" fmla="*/ 2 h 6"/>
                  <a:gd name="T16" fmla="*/ 11 w 12"/>
                  <a:gd name="T17" fmla="*/ 4 h 6"/>
                  <a:gd name="T18" fmla="*/ 9 w 1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9" y="6"/>
                    </a:moveTo>
                    <a:cubicBezTo>
                      <a:pt x="7" y="6"/>
                      <a:pt x="6" y="5"/>
                      <a:pt x="5" y="5"/>
                    </a:cubicBezTo>
                    <a:cubicBezTo>
                      <a:pt x="5" y="5"/>
                      <a:pt x="4" y="4"/>
                      <a:pt x="3" y="4"/>
                    </a:cubicBezTo>
                    <a:cubicBezTo>
                      <a:pt x="3" y="5"/>
                      <a:pt x="2" y="5"/>
                      <a:pt x="1" y="4"/>
                    </a:cubicBezTo>
                    <a:cubicBezTo>
                      <a:pt x="0" y="4"/>
                      <a:pt x="0" y="2"/>
                      <a:pt x="1" y="2"/>
                    </a:cubicBezTo>
                    <a:cubicBezTo>
                      <a:pt x="2" y="0"/>
                      <a:pt x="5" y="1"/>
                      <a:pt x="7" y="1"/>
                    </a:cubicBezTo>
                    <a:cubicBezTo>
                      <a:pt x="7" y="1"/>
                      <a:pt x="8" y="2"/>
                      <a:pt x="9" y="2"/>
                    </a:cubicBezTo>
                    <a:cubicBezTo>
                      <a:pt x="9" y="1"/>
                      <a:pt x="11" y="1"/>
                      <a:pt x="11" y="2"/>
                    </a:cubicBezTo>
                    <a:cubicBezTo>
                      <a:pt x="12" y="2"/>
                      <a:pt x="12" y="4"/>
                      <a:pt x="11" y="4"/>
                    </a:cubicBezTo>
                    <a:cubicBezTo>
                      <a:pt x="11" y="5"/>
                      <a:pt x="10" y="6"/>
                      <a:pt x="9" y="6"/>
                    </a:cubicBezTo>
                    <a:close/>
                  </a:path>
                </a:pathLst>
              </a:custGeom>
              <a:grpFill/>
              <a:ln w="952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grpSp>
        <p:sp>
          <p:nvSpPr>
            <p:cNvPr id="159" name="Database_EFC7" title="Icon of a cylinder">
              <a:extLst>
                <a:ext uri="{FF2B5EF4-FFF2-40B4-BE49-F238E27FC236}">
                  <a16:creationId xmlns:a16="http://schemas.microsoft.com/office/drawing/2014/main" id="{288495B1-A327-490C-A8F6-BED8865B0B29}"/>
                </a:ext>
              </a:extLst>
            </p:cNvPr>
            <p:cNvSpPr>
              <a:spLocks noChangeAspect="1" noEditPoints="1"/>
            </p:cNvSpPr>
            <p:nvPr/>
          </p:nvSpPr>
          <p:spPr bwMode="auto">
            <a:xfrm>
              <a:off x="10299562" y="4580269"/>
              <a:ext cx="261262" cy="3395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2" name="Group 182">
            <a:extLst>
              <a:ext uri="{FF2B5EF4-FFF2-40B4-BE49-F238E27FC236}">
                <a16:creationId xmlns:a16="http://schemas.microsoft.com/office/drawing/2014/main" id="{FD7CA82E-9159-48F2-A29F-EDDE25CB719D}"/>
              </a:ext>
            </a:extLst>
          </p:cNvPr>
          <p:cNvGrpSpPr>
            <a:grpSpLocks noChangeAspect="1"/>
          </p:cNvGrpSpPr>
          <p:nvPr/>
        </p:nvGrpSpPr>
        <p:grpSpPr bwMode="auto">
          <a:xfrm>
            <a:off x="10975345" y="4555858"/>
            <a:ext cx="226021" cy="301833"/>
            <a:chOff x="4534" y="2997"/>
            <a:chExt cx="319" cy="426"/>
          </a:xfrm>
          <a:solidFill>
            <a:schemeClr val="tx1"/>
          </a:solidFill>
        </p:grpSpPr>
        <p:sp>
          <p:nvSpPr>
            <p:cNvPr id="164" name="Freeform 183">
              <a:extLst>
                <a:ext uri="{FF2B5EF4-FFF2-40B4-BE49-F238E27FC236}">
                  <a16:creationId xmlns:a16="http://schemas.microsoft.com/office/drawing/2014/main" id="{2C805AE8-2AF9-4E6D-9E95-1BB0E452FC9F}"/>
                </a:ext>
              </a:extLst>
            </p:cNvPr>
            <p:cNvSpPr>
              <a:spLocks noEditPoints="1"/>
            </p:cNvSpPr>
            <p:nvPr/>
          </p:nvSpPr>
          <p:spPr bwMode="auto">
            <a:xfrm>
              <a:off x="4534" y="2997"/>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2 h 288"/>
                <a:gd name="T14" fmla="*/ 215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2" y="1"/>
                    <a:pt x="143" y="2"/>
                  </a:cubicBezTo>
                  <a:cubicBezTo>
                    <a:pt x="215" y="74"/>
                    <a:pt x="215" y="74"/>
                    <a:pt x="215"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5" name="Freeform 184">
              <a:extLst>
                <a:ext uri="{FF2B5EF4-FFF2-40B4-BE49-F238E27FC236}">
                  <a16:creationId xmlns:a16="http://schemas.microsoft.com/office/drawing/2014/main" id="{84DA4C81-5665-4456-9C5E-659DAD7B9D2D}"/>
                </a:ext>
              </a:extLst>
            </p:cNvPr>
            <p:cNvSpPr>
              <a:spLocks/>
            </p:cNvSpPr>
            <p:nvPr/>
          </p:nvSpPr>
          <p:spPr bwMode="auto">
            <a:xfrm>
              <a:off x="4729" y="2997"/>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6" name="Freeform 185">
              <a:extLst>
                <a:ext uri="{FF2B5EF4-FFF2-40B4-BE49-F238E27FC236}">
                  <a16:creationId xmlns:a16="http://schemas.microsoft.com/office/drawing/2014/main" id="{18DDDFEA-5D7A-4DDC-9589-7B6AC5EEAD9B}"/>
                </a:ext>
              </a:extLst>
            </p:cNvPr>
            <p:cNvSpPr>
              <a:spLocks noEditPoints="1"/>
            </p:cNvSpPr>
            <p:nvPr/>
          </p:nvSpPr>
          <p:spPr bwMode="auto">
            <a:xfrm>
              <a:off x="4587" y="3139"/>
              <a:ext cx="213" cy="231"/>
            </a:xfrm>
            <a:custGeom>
              <a:avLst/>
              <a:gdLst>
                <a:gd name="T0" fmla="*/ 138 w 144"/>
                <a:gd name="T1" fmla="*/ 156 h 156"/>
                <a:gd name="T2" fmla="*/ 6 w 144"/>
                <a:gd name="T3" fmla="*/ 156 h 156"/>
                <a:gd name="T4" fmla="*/ 0 w 144"/>
                <a:gd name="T5" fmla="*/ 150 h 156"/>
                <a:gd name="T6" fmla="*/ 0 w 144"/>
                <a:gd name="T7" fmla="*/ 6 h 156"/>
                <a:gd name="T8" fmla="*/ 6 w 144"/>
                <a:gd name="T9" fmla="*/ 0 h 156"/>
                <a:gd name="T10" fmla="*/ 138 w 144"/>
                <a:gd name="T11" fmla="*/ 0 h 156"/>
                <a:gd name="T12" fmla="*/ 144 w 144"/>
                <a:gd name="T13" fmla="*/ 6 h 156"/>
                <a:gd name="T14" fmla="*/ 144 w 144"/>
                <a:gd name="T15" fmla="*/ 150 h 156"/>
                <a:gd name="T16" fmla="*/ 138 w 144"/>
                <a:gd name="T17" fmla="*/ 156 h 156"/>
                <a:gd name="T18" fmla="*/ 12 w 144"/>
                <a:gd name="T19" fmla="*/ 144 h 156"/>
                <a:gd name="T20" fmla="*/ 132 w 144"/>
                <a:gd name="T21" fmla="*/ 144 h 156"/>
                <a:gd name="T22" fmla="*/ 132 w 144"/>
                <a:gd name="T23" fmla="*/ 12 h 156"/>
                <a:gd name="T24" fmla="*/ 12 w 144"/>
                <a:gd name="T25" fmla="*/ 12 h 156"/>
                <a:gd name="T26" fmla="*/ 12 w 144"/>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56">
                  <a:moveTo>
                    <a:pt x="138" y="156"/>
                  </a:moveTo>
                  <a:cubicBezTo>
                    <a:pt x="6" y="156"/>
                    <a:pt x="6" y="156"/>
                    <a:pt x="6" y="156"/>
                  </a:cubicBezTo>
                  <a:cubicBezTo>
                    <a:pt x="3" y="156"/>
                    <a:pt x="0" y="154"/>
                    <a:pt x="0" y="150"/>
                  </a:cubicBezTo>
                  <a:cubicBezTo>
                    <a:pt x="0" y="6"/>
                    <a:pt x="0" y="6"/>
                    <a:pt x="0" y="6"/>
                  </a:cubicBezTo>
                  <a:cubicBezTo>
                    <a:pt x="0" y="3"/>
                    <a:pt x="3" y="0"/>
                    <a:pt x="6" y="0"/>
                  </a:cubicBezTo>
                  <a:cubicBezTo>
                    <a:pt x="138" y="0"/>
                    <a:pt x="138" y="0"/>
                    <a:pt x="138" y="0"/>
                  </a:cubicBezTo>
                  <a:cubicBezTo>
                    <a:pt x="142" y="0"/>
                    <a:pt x="144" y="3"/>
                    <a:pt x="144" y="6"/>
                  </a:cubicBezTo>
                  <a:cubicBezTo>
                    <a:pt x="144" y="150"/>
                    <a:pt x="144" y="150"/>
                    <a:pt x="144" y="150"/>
                  </a:cubicBezTo>
                  <a:cubicBezTo>
                    <a:pt x="144" y="154"/>
                    <a:pt x="142" y="156"/>
                    <a:pt x="138" y="156"/>
                  </a:cubicBezTo>
                  <a:close/>
                  <a:moveTo>
                    <a:pt x="12" y="144"/>
                  </a:moveTo>
                  <a:cubicBezTo>
                    <a:pt x="132" y="144"/>
                    <a:pt x="132" y="144"/>
                    <a:pt x="132" y="144"/>
                  </a:cubicBezTo>
                  <a:cubicBezTo>
                    <a:pt x="132" y="12"/>
                    <a:pt x="132" y="12"/>
                    <a:pt x="132" y="12"/>
                  </a:cubicBezTo>
                  <a:cubicBezTo>
                    <a:pt x="12" y="12"/>
                    <a:pt x="12" y="12"/>
                    <a:pt x="12" y="12"/>
                  </a:cubicBezTo>
                  <a:lnTo>
                    <a:pt x="12" y="144"/>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7" name="Freeform 186">
              <a:extLst>
                <a:ext uri="{FF2B5EF4-FFF2-40B4-BE49-F238E27FC236}">
                  <a16:creationId xmlns:a16="http://schemas.microsoft.com/office/drawing/2014/main" id="{33899D35-1FBB-460B-A5F6-E53863CA0218}"/>
                </a:ext>
              </a:extLst>
            </p:cNvPr>
            <p:cNvSpPr>
              <a:spLocks/>
            </p:cNvSpPr>
            <p:nvPr/>
          </p:nvSpPr>
          <p:spPr bwMode="auto">
            <a:xfrm>
              <a:off x="4587" y="3192"/>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8" name="Freeform 187">
              <a:extLst>
                <a:ext uri="{FF2B5EF4-FFF2-40B4-BE49-F238E27FC236}">
                  <a16:creationId xmlns:a16="http://schemas.microsoft.com/office/drawing/2014/main" id="{602C82EE-9B57-49F5-9F40-7A142B86455B}"/>
                </a:ext>
              </a:extLst>
            </p:cNvPr>
            <p:cNvSpPr>
              <a:spLocks/>
            </p:cNvSpPr>
            <p:nvPr/>
          </p:nvSpPr>
          <p:spPr bwMode="auto">
            <a:xfrm>
              <a:off x="4587" y="3246"/>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9" name="Freeform 188">
              <a:extLst>
                <a:ext uri="{FF2B5EF4-FFF2-40B4-BE49-F238E27FC236}">
                  <a16:creationId xmlns:a16="http://schemas.microsoft.com/office/drawing/2014/main" id="{3A61A8B5-6AD4-4C2A-B455-CDCA50D4BFDC}"/>
                </a:ext>
              </a:extLst>
            </p:cNvPr>
            <p:cNvSpPr>
              <a:spLocks/>
            </p:cNvSpPr>
            <p:nvPr/>
          </p:nvSpPr>
          <p:spPr bwMode="auto">
            <a:xfrm>
              <a:off x="4587" y="3299"/>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70" name="Freeform 189">
              <a:extLst>
                <a:ext uri="{FF2B5EF4-FFF2-40B4-BE49-F238E27FC236}">
                  <a16:creationId xmlns:a16="http://schemas.microsoft.com/office/drawing/2014/main" id="{0D71D379-D443-4D43-8AF2-0F717F81B47D}"/>
                </a:ext>
              </a:extLst>
            </p:cNvPr>
            <p:cNvSpPr>
              <a:spLocks/>
            </p:cNvSpPr>
            <p:nvPr/>
          </p:nvSpPr>
          <p:spPr bwMode="auto">
            <a:xfrm>
              <a:off x="4658" y="3139"/>
              <a:ext cx="17"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14" name="Flowchart: Preparation 13">
            <a:extLst>
              <a:ext uri="{FF2B5EF4-FFF2-40B4-BE49-F238E27FC236}">
                <a16:creationId xmlns:a16="http://schemas.microsoft.com/office/drawing/2014/main" id="{18624B9E-F2D4-4106-A180-5EFF32D2C248}"/>
              </a:ext>
            </a:extLst>
          </p:cNvPr>
          <p:cNvSpPr/>
          <p:nvPr/>
        </p:nvSpPr>
        <p:spPr bwMode="auto">
          <a:xfrm>
            <a:off x="11136139" y="4724127"/>
            <a:ext cx="209909" cy="172993"/>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04F8EBE2-3D84-4719-BE42-FAECEE11EB7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47867" y="6055984"/>
            <a:ext cx="1246760" cy="316973"/>
          </a:xfrm>
          <a:prstGeom prst="rect">
            <a:avLst/>
          </a:prstGeom>
        </p:spPr>
      </p:pic>
      <p:sp>
        <p:nvSpPr>
          <p:cNvPr id="189" name="Freeform 118">
            <a:extLst>
              <a:ext uri="{FF2B5EF4-FFF2-40B4-BE49-F238E27FC236}">
                <a16:creationId xmlns:a16="http://schemas.microsoft.com/office/drawing/2014/main" id="{F0457082-DACF-41AF-80A6-2D0BD05931D0}"/>
              </a:ext>
            </a:extLst>
          </p:cNvPr>
          <p:cNvSpPr>
            <a:spLocks noEditPoints="1"/>
          </p:cNvSpPr>
          <p:nvPr/>
        </p:nvSpPr>
        <p:spPr bwMode="auto">
          <a:xfrm>
            <a:off x="8448942" y="3871352"/>
            <a:ext cx="244243" cy="226268"/>
          </a:xfrm>
          <a:custGeom>
            <a:avLst/>
            <a:gdLst>
              <a:gd name="T0" fmla="*/ 126 w 156"/>
              <a:gd name="T1" fmla="*/ 84 h 144"/>
              <a:gd name="T2" fmla="*/ 100 w 156"/>
              <a:gd name="T3" fmla="*/ 98 h 144"/>
              <a:gd name="T4" fmla="*/ 59 w 156"/>
              <a:gd name="T5" fmla="*/ 83 h 144"/>
              <a:gd name="T6" fmla="*/ 60 w 156"/>
              <a:gd name="T7" fmla="*/ 78 h 144"/>
              <a:gd name="T8" fmla="*/ 58 w 156"/>
              <a:gd name="T9" fmla="*/ 70 h 144"/>
              <a:gd name="T10" fmla="*/ 102 w 156"/>
              <a:gd name="T11" fmla="*/ 48 h 144"/>
              <a:gd name="T12" fmla="*/ 126 w 156"/>
              <a:gd name="T13" fmla="*/ 60 h 144"/>
              <a:gd name="T14" fmla="*/ 156 w 156"/>
              <a:gd name="T15" fmla="*/ 30 h 144"/>
              <a:gd name="T16" fmla="*/ 126 w 156"/>
              <a:gd name="T17" fmla="*/ 0 h 144"/>
              <a:gd name="T18" fmla="*/ 96 w 156"/>
              <a:gd name="T19" fmla="*/ 30 h 144"/>
              <a:gd name="T20" fmla="*/ 97 w 156"/>
              <a:gd name="T21" fmla="*/ 38 h 144"/>
              <a:gd name="T22" fmla="*/ 53 w 156"/>
              <a:gd name="T23" fmla="*/ 59 h 144"/>
              <a:gd name="T24" fmla="*/ 30 w 156"/>
              <a:gd name="T25" fmla="*/ 48 h 144"/>
              <a:gd name="T26" fmla="*/ 0 w 156"/>
              <a:gd name="T27" fmla="*/ 78 h 144"/>
              <a:gd name="T28" fmla="*/ 30 w 156"/>
              <a:gd name="T29" fmla="*/ 108 h 144"/>
              <a:gd name="T30" fmla="*/ 55 w 156"/>
              <a:gd name="T31" fmla="*/ 94 h 144"/>
              <a:gd name="T32" fmla="*/ 96 w 156"/>
              <a:gd name="T33" fmla="*/ 109 h 144"/>
              <a:gd name="T34" fmla="*/ 96 w 156"/>
              <a:gd name="T35" fmla="*/ 114 h 144"/>
              <a:gd name="T36" fmla="*/ 126 w 156"/>
              <a:gd name="T37" fmla="*/ 144 h 144"/>
              <a:gd name="T38" fmla="*/ 156 w 156"/>
              <a:gd name="T39" fmla="*/ 114 h 144"/>
              <a:gd name="T40" fmla="*/ 126 w 156"/>
              <a:gd name="T41" fmla="*/ 84 h 144"/>
              <a:gd name="T42" fmla="*/ 126 w 156"/>
              <a:gd name="T43" fmla="*/ 12 h 144"/>
              <a:gd name="T44" fmla="*/ 144 w 156"/>
              <a:gd name="T45" fmla="*/ 30 h 144"/>
              <a:gd name="T46" fmla="*/ 126 w 156"/>
              <a:gd name="T47" fmla="*/ 48 h 144"/>
              <a:gd name="T48" fmla="*/ 108 w 156"/>
              <a:gd name="T49" fmla="*/ 30 h 144"/>
              <a:gd name="T50" fmla="*/ 126 w 156"/>
              <a:gd name="T51" fmla="*/ 12 h 144"/>
              <a:gd name="T52" fmla="*/ 30 w 156"/>
              <a:gd name="T53" fmla="*/ 96 h 144"/>
              <a:gd name="T54" fmla="*/ 12 w 156"/>
              <a:gd name="T55" fmla="*/ 78 h 144"/>
              <a:gd name="T56" fmla="*/ 30 w 156"/>
              <a:gd name="T57" fmla="*/ 60 h 144"/>
              <a:gd name="T58" fmla="*/ 48 w 156"/>
              <a:gd name="T59" fmla="*/ 78 h 144"/>
              <a:gd name="T60" fmla="*/ 30 w 156"/>
              <a:gd name="T61" fmla="*/ 96 h 144"/>
              <a:gd name="T62" fmla="*/ 126 w 156"/>
              <a:gd name="T63" fmla="*/ 132 h 144"/>
              <a:gd name="T64" fmla="*/ 108 w 156"/>
              <a:gd name="T65" fmla="*/ 114 h 144"/>
              <a:gd name="T66" fmla="*/ 126 w 156"/>
              <a:gd name="T67" fmla="*/ 96 h 144"/>
              <a:gd name="T68" fmla="*/ 144 w 156"/>
              <a:gd name="T69" fmla="*/ 114 h 144"/>
              <a:gd name="T70" fmla="*/ 126 w 156"/>
              <a:gd name="T7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6" h="144">
                <a:moveTo>
                  <a:pt x="126" y="84"/>
                </a:moveTo>
                <a:cubicBezTo>
                  <a:pt x="115" y="84"/>
                  <a:pt x="105" y="89"/>
                  <a:pt x="100" y="98"/>
                </a:cubicBezTo>
                <a:cubicBezTo>
                  <a:pt x="59" y="83"/>
                  <a:pt x="59" y="83"/>
                  <a:pt x="59" y="83"/>
                </a:cubicBezTo>
                <a:cubicBezTo>
                  <a:pt x="59" y="81"/>
                  <a:pt x="60" y="79"/>
                  <a:pt x="60" y="78"/>
                </a:cubicBezTo>
                <a:cubicBezTo>
                  <a:pt x="60" y="75"/>
                  <a:pt x="59" y="73"/>
                  <a:pt x="58" y="70"/>
                </a:cubicBezTo>
                <a:cubicBezTo>
                  <a:pt x="102" y="48"/>
                  <a:pt x="102" y="48"/>
                  <a:pt x="102" y="48"/>
                </a:cubicBezTo>
                <a:cubicBezTo>
                  <a:pt x="107" y="55"/>
                  <a:pt x="116" y="60"/>
                  <a:pt x="126" y="60"/>
                </a:cubicBezTo>
                <a:cubicBezTo>
                  <a:pt x="142" y="60"/>
                  <a:pt x="156" y="46"/>
                  <a:pt x="156" y="30"/>
                </a:cubicBezTo>
                <a:cubicBezTo>
                  <a:pt x="156" y="13"/>
                  <a:pt x="142" y="0"/>
                  <a:pt x="126" y="0"/>
                </a:cubicBezTo>
                <a:cubicBezTo>
                  <a:pt x="109" y="0"/>
                  <a:pt x="96" y="13"/>
                  <a:pt x="96" y="30"/>
                </a:cubicBezTo>
                <a:cubicBezTo>
                  <a:pt x="96" y="33"/>
                  <a:pt x="96" y="35"/>
                  <a:pt x="97" y="38"/>
                </a:cubicBezTo>
                <a:cubicBezTo>
                  <a:pt x="53" y="59"/>
                  <a:pt x="53" y="59"/>
                  <a:pt x="53" y="59"/>
                </a:cubicBezTo>
                <a:cubicBezTo>
                  <a:pt x="48" y="52"/>
                  <a:pt x="39" y="48"/>
                  <a:pt x="30" y="48"/>
                </a:cubicBezTo>
                <a:cubicBezTo>
                  <a:pt x="13" y="48"/>
                  <a:pt x="0" y="61"/>
                  <a:pt x="0" y="78"/>
                </a:cubicBezTo>
                <a:cubicBezTo>
                  <a:pt x="0" y="94"/>
                  <a:pt x="13" y="108"/>
                  <a:pt x="30" y="108"/>
                </a:cubicBezTo>
                <a:cubicBezTo>
                  <a:pt x="40" y="108"/>
                  <a:pt x="50" y="102"/>
                  <a:pt x="55" y="94"/>
                </a:cubicBezTo>
                <a:cubicBezTo>
                  <a:pt x="96" y="109"/>
                  <a:pt x="96" y="109"/>
                  <a:pt x="96" y="109"/>
                </a:cubicBezTo>
                <a:cubicBezTo>
                  <a:pt x="96" y="111"/>
                  <a:pt x="96" y="112"/>
                  <a:pt x="96" y="114"/>
                </a:cubicBezTo>
                <a:cubicBezTo>
                  <a:pt x="96" y="130"/>
                  <a:pt x="109" y="144"/>
                  <a:pt x="126" y="144"/>
                </a:cubicBezTo>
                <a:cubicBezTo>
                  <a:pt x="142" y="144"/>
                  <a:pt x="156" y="130"/>
                  <a:pt x="156" y="114"/>
                </a:cubicBezTo>
                <a:cubicBezTo>
                  <a:pt x="156" y="97"/>
                  <a:pt x="142" y="84"/>
                  <a:pt x="126" y="84"/>
                </a:cubicBezTo>
                <a:close/>
                <a:moveTo>
                  <a:pt x="126" y="12"/>
                </a:moveTo>
                <a:cubicBezTo>
                  <a:pt x="135" y="12"/>
                  <a:pt x="144" y="20"/>
                  <a:pt x="144" y="30"/>
                </a:cubicBezTo>
                <a:cubicBezTo>
                  <a:pt x="144" y="40"/>
                  <a:pt x="135" y="48"/>
                  <a:pt x="126" y="48"/>
                </a:cubicBezTo>
                <a:cubicBezTo>
                  <a:pt x="116" y="48"/>
                  <a:pt x="108" y="40"/>
                  <a:pt x="108" y="30"/>
                </a:cubicBezTo>
                <a:cubicBezTo>
                  <a:pt x="108" y="20"/>
                  <a:pt x="116" y="12"/>
                  <a:pt x="126" y="12"/>
                </a:cubicBezTo>
                <a:close/>
                <a:moveTo>
                  <a:pt x="30" y="96"/>
                </a:moveTo>
                <a:cubicBezTo>
                  <a:pt x="20" y="96"/>
                  <a:pt x="12" y="88"/>
                  <a:pt x="12" y="78"/>
                </a:cubicBezTo>
                <a:cubicBezTo>
                  <a:pt x="12" y="68"/>
                  <a:pt x="20" y="60"/>
                  <a:pt x="30" y="60"/>
                </a:cubicBezTo>
                <a:cubicBezTo>
                  <a:pt x="39" y="60"/>
                  <a:pt x="48" y="68"/>
                  <a:pt x="48" y="78"/>
                </a:cubicBezTo>
                <a:cubicBezTo>
                  <a:pt x="48" y="88"/>
                  <a:pt x="39" y="96"/>
                  <a:pt x="30" y="96"/>
                </a:cubicBezTo>
                <a:close/>
                <a:moveTo>
                  <a:pt x="126" y="132"/>
                </a:moveTo>
                <a:cubicBezTo>
                  <a:pt x="116" y="132"/>
                  <a:pt x="108" y="124"/>
                  <a:pt x="108" y="114"/>
                </a:cubicBezTo>
                <a:cubicBezTo>
                  <a:pt x="108" y="104"/>
                  <a:pt x="116" y="96"/>
                  <a:pt x="126" y="96"/>
                </a:cubicBezTo>
                <a:cubicBezTo>
                  <a:pt x="135" y="96"/>
                  <a:pt x="144" y="104"/>
                  <a:pt x="144" y="114"/>
                </a:cubicBezTo>
                <a:cubicBezTo>
                  <a:pt x="144" y="124"/>
                  <a:pt x="135" y="132"/>
                  <a:pt x="126" y="132"/>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AU"/>
          </a:p>
        </p:txBody>
      </p:sp>
    </p:spTree>
    <p:extLst>
      <p:ext uri="{BB962C8B-B14F-4D97-AF65-F5344CB8AC3E}">
        <p14:creationId xmlns:p14="http://schemas.microsoft.com/office/powerpoint/2010/main" val="62314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186E2-5EBC-438F-938A-63410BAC3366}"/>
              </a:ext>
            </a:extLst>
          </p:cNvPr>
          <p:cNvSpPr>
            <a:spLocks noGrp="1"/>
          </p:cNvSpPr>
          <p:nvPr>
            <p:ph type="title"/>
          </p:nvPr>
        </p:nvSpPr>
        <p:spPr/>
        <p:txBody>
          <a:bodyPr/>
          <a:lstStyle/>
          <a:p>
            <a:r>
              <a:rPr lang="en-US" spc="-150" dirty="0">
                <a:solidFill>
                  <a:schemeClr val="tx2"/>
                </a:solidFill>
              </a:rPr>
              <a:t>Leverage out-of-the-box AI tools and services</a:t>
            </a:r>
          </a:p>
        </p:txBody>
      </p:sp>
      <p:cxnSp>
        <p:nvCxnSpPr>
          <p:cNvPr id="12" name="Straight Connector 11">
            <a:extLst>
              <a:ext uri="{FF2B5EF4-FFF2-40B4-BE49-F238E27FC236}">
                <a16:creationId xmlns:a16="http://schemas.microsoft.com/office/drawing/2014/main" id="{040B82BB-FD02-4B9E-8245-11AE5493C554}"/>
              </a:ext>
            </a:extLst>
          </p:cNvPr>
          <p:cNvCxnSpPr/>
          <p:nvPr/>
        </p:nvCxnSpPr>
        <p:spPr>
          <a:xfrm>
            <a:off x="12798837" y="1997690"/>
            <a:ext cx="0" cy="2657475"/>
          </a:xfrm>
          <a:prstGeom prst="line">
            <a:avLst/>
          </a:prstGeom>
          <a:ln w="9525">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2F68883-6FE1-4C49-A532-48EB5F9361AF}"/>
              </a:ext>
            </a:extLst>
          </p:cNvPr>
          <p:cNvGrpSpPr/>
          <p:nvPr/>
        </p:nvGrpSpPr>
        <p:grpSpPr>
          <a:xfrm>
            <a:off x="1286760" y="6098583"/>
            <a:ext cx="9811939" cy="566417"/>
            <a:chOff x="1381603" y="6098583"/>
            <a:chExt cx="9811939" cy="566417"/>
          </a:xfrm>
        </p:grpSpPr>
        <p:sp>
          <p:nvSpPr>
            <p:cNvPr id="45" name="Graphic 42">
              <a:extLst>
                <a:ext uri="{FF2B5EF4-FFF2-40B4-BE49-F238E27FC236}">
                  <a16:creationId xmlns:a16="http://schemas.microsoft.com/office/drawing/2014/main" id="{F30062EA-6E85-4DCD-BE63-68A3FBF6F759}"/>
                </a:ext>
              </a:extLst>
            </p:cNvPr>
            <p:cNvSpPr/>
            <p:nvPr/>
          </p:nvSpPr>
          <p:spPr>
            <a:xfrm>
              <a:off x="1602093" y="6098583"/>
              <a:ext cx="443535" cy="362507"/>
            </a:xfrm>
            <a:custGeom>
              <a:avLst/>
              <a:gdLst>
                <a:gd name="connsiteX0" fmla="*/ 1144656 w 3190460"/>
                <a:gd name="connsiteY0" fmla="*/ 1892642 h 3190460"/>
                <a:gd name="connsiteX1" fmla="*/ 2374756 w 3190460"/>
                <a:gd name="connsiteY1" fmla="*/ 3108563 h 3190460"/>
                <a:gd name="connsiteX2" fmla="*/ 3108562 w 3190460"/>
                <a:gd name="connsiteY2" fmla="*/ 2796606 h 3190460"/>
                <a:gd name="connsiteX3" fmla="*/ 3108562 w 3190460"/>
                <a:gd name="connsiteY3" fmla="*/ 410851 h 3190460"/>
                <a:gd name="connsiteX4" fmla="*/ 2371211 w 3190460"/>
                <a:gd name="connsiteY4" fmla="*/ 98894 h 3190460"/>
                <a:gd name="connsiteX5" fmla="*/ 1144656 w 3190460"/>
                <a:gd name="connsiteY5" fmla="*/ 1314814 h 3190460"/>
                <a:gd name="connsiteX6" fmla="*/ 403761 w 3190460"/>
                <a:gd name="connsiteY6" fmla="*/ 758256 h 3190460"/>
                <a:gd name="connsiteX7" fmla="*/ 98894 w 3190460"/>
                <a:gd name="connsiteY7" fmla="*/ 861060 h 3190460"/>
                <a:gd name="connsiteX8" fmla="*/ 98894 w 3190460"/>
                <a:gd name="connsiteY8" fmla="*/ 2349942 h 3190460"/>
                <a:gd name="connsiteX9" fmla="*/ 403761 w 3190460"/>
                <a:gd name="connsiteY9" fmla="*/ 2452746 h 3190460"/>
                <a:gd name="connsiteX10" fmla="*/ 1144656 w 3190460"/>
                <a:gd name="connsiteY10" fmla="*/ 1892642 h 3190460"/>
                <a:gd name="connsiteX11" fmla="*/ 2371211 w 3190460"/>
                <a:gd name="connsiteY11" fmla="*/ 967409 h 3190460"/>
                <a:gd name="connsiteX12" fmla="*/ 2371211 w 3190460"/>
                <a:gd name="connsiteY12" fmla="*/ 2243593 h 3190460"/>
                <a:gd name="connsiteX13" fmla="*/ 1527512 w 3190460"/>
                <a:gd name="connsiteY13" fmla="*/ 1605501 h 3190460"/>
                <a:gd name="connsiteX14" fmla="*/ 2371211 w 3190460"/>
                <a:gd name="connsiteY14" fmla="*/ 967409 h 3190460"/>
                <a:gd name="connsiteX15" fmla="*/ 403761 w 3190460"/>
                <a:gd name="connsiteY15" fmla="*/ 1158836 h 3190460"/>
                <a:gd name="connsiteX16" fmla="*/ 850425 w 3190460"/>
                <a:gd name="connsiteY16" fmla="*/ 1601956 h 3190460"/>
                <a:gd name="connsiteX17" fmla="*/ 403761 w 3190460"/>
                <a:gd name="connsiteY17" fmla="*/ 2045076 h 3190460"/>
                <a:gd name="connsiteX18" fmla="*/ 403761 w 3190460"/>
                <a:gd name="connsiteY18" fmla="*/ 1158836 h 319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0460" h="3190460">
                  <a:moveTo>
                    <a:pt x="1144656" y="1892642"/>
                  </a:moveTo>
                  <a:lnTo>
                    <a:pt x="2374756" y="3108563"/>
                  </a:lnTo>
                  <a:lnTo>
                    <a:pt x="3108562" y="2796606"/>
                  </a:lnTo>
                  <a:lnTo>
                    <a:pt x="3108562" y="410851"/>
                  </a:lnTo>
                  <a:lnTo>
                    <a:pt x="2371211" y="98894"/>
                  </a:lnTo>
                  <a:lnTo>
                    <a:pt x="1144656" y="1314814"/>
                  </a:lnTo>
                  <a:lnTo>
                    <a:pt x="403761" y="758256"/>
                  </a:lnTo>
                  <a:lnTo>
                    <a:pt x="98894" y="861060"/>
                  </a:lnTo>
                  <a:lnTo>
                    <a:pt x="98894" y="2349942"/>
                  </a:lnTo>
                  <a:lnTo>
                    <a:pt x="403761" y="2452746"/>
                  </a:lnTo>
                  <a:lnTo>
                    <a:pt x="1144656" y="1892642"/>
                  </a:lnTo>
                  <a:close/>
                  <a:moveTo>
                    <a:pt x="2371211" y="967409"/>
                  </a:moveTo>
                  <a:lnTo>
                    <a:pt x="2371211" y="2243593"/>
                  </a:lnTo>
                  <a:lnTo>
                    <a:pt x="1527512" y="1605501"/>
                  </a:lnTo>
                  <a:lnTo>
                    <a:pt x="2371211" y="967409"/>
                  </a:lnTo>
                  <a:close/>
                  <a:moveTo>
                    <a:pt x="403761" y="1158836"/>
                  </a:moveTo>
                  <a:lnTo>
                    <a:pt x="850425" y="1601956"/>
                  </a:lnTo>
                  <a:lnTo>
                    <a:pt x="403761" y="2045076"/>
                  </a:lnTo>
                  <a:lnTo>
                    <a:pt x="403761" y="1158836"/>
                  </a:lnTo>
                  <a:close/>
                </a:path>
              </a:pathLst>
            </a:custGeom>
            <a:solidFill>
              <a:schemeClr val="tx2"/>
            </a:solidFill>
          </p:spPr>
          <p:txBody>
            <a:bodyPr wrap="square">
              <a:spAutoFit/>
            </a:bodyPr>
            <a:lstStyle/>
            <a:p>
              <a:pPr algn="ctr" defTabSz="914367"/>
              <a:endParaRPr lang="en-IN" sz="1400" dirty="0">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FD05FA81-84D3-4F80-8383-4C884CDF73F3}"/>
                </a:ext>
              </a:extLst>
            </p:cNvPr>
            <p:cNvSpPr/>
            <p:nvPr/>
          </p:nvSpPr>
          <p:spPr bwMode="auto">
            <a:xfrm>
              <a:off x="1381603" y="6127062"/>
              <a:ext cx="9811939" cy="537938"/>
            </a:xfrm>
            <a:prstGeom prst="rect">
              <a:avLst/>
            </a:prstGeom>
          </p:spPr>
          <p:txBody>
            <a:bodyPr wrap="square">
              <a:spAutoFit/>
            </a:bodyPr>
            <a:lstStyle/>
            <a:p>
              <a:pPr algn="ctr" defTabSz="914367"/>
              <a:r>
                <a:rPr lang="en-US" sz="1400" dirty="0">
                  <a:solidFill>
                    <a:schemeClr val="tx1"/>
                  </a:solidFill>
                  <a:latin typeface="Segoe UI" panose="020B0502040204020203" pitchFamily="34" charset="0"/>
                  <a:cs typeface="Segoe UI" panose="020B0502040204020203" pitchFamily="34" charset="0"/>
                </a:rPr>
                <a:t>Create a seamless developer experience across desktop, cloud, or at the edge using Visual Studio AI Tools</a:t>
              </a:r>
            </a:p>
          </p:txBody>
        </p:sp>
      </p:grpSp>
      <p:grpSp>
        <p:nvGrpSpPr>
          <p:cNvPr id="25" name="Group 24">
            <a:extLst>
              <a:ext uri="{FF2B5EF4-FFF2-40B4-BE49-F238E27FC236}">
                <a16:creationId xmlns:a16="http://schemas.microsoft.com/office/drawing/2014/main" id="{36D2A147-DA34-41C1-9AE1-365FC8E000E2}"/>
              </a:ext>
            </a:extLst>
          </p:cNvPr>
          <p:cNvGrpSpPr/>
          <p:nvPr/>
        </p:nvGrpSpPr>
        <p:grpSpPr>
          <a:xfrm>
            <a:off x="461760" y="1189178"/>
            <a:ext cx="3849563" cy="4660079"/>
            <a:chOff x="461760" y="1189178"/>
            <a:chExt cx="3849563" cy="4660079"/>
          </a:xfrm>
        </p:grpSpPr>
        <p:sp>
          <p:nvSpPr>
            <p:cNvPr id="91" name="Rectangle 90">
              <a:extLst>
                <a:ext uri="{FF2B5EF4-FFF2-40B4-BE49-F238E27FC236}">
                  <a16:creationId xmlns:a16="http://schemas.microsoft.com/office/drawing/2014/main" id="{BBD9612C-DDE3-48A3-A4C0-26E622827967}"/>
                </a:ext>
              </a:extLst>
            </p:cNvPr>
            <p:cNvSpPr/>
            <p:nvPr/>
          </p:nvSpPr>
          <p:spPr bwMode="auto">
            <a:xfrm>
              <a:off x="461760"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3" name="Rectangle 92">
              <a:extLst>
                <a:ext uri="{FF2B5EF4-FFF2-40B4-BE49-F238E27FC236}">
                  <a16:creationId xmlns:a16="http://schemas.microsoft.com/office/drawing/2014/main" id="{C4F88215-042F-491E-8FED-2DD77FE15CB1}"/>
                </a:ext>
              </a:extLst>
            </p:cNvPr>
            <p:cNvSpPr/>
            <p:nvPr/>
          </p:nvSpPr>
          <p:spPr>
            <a:xfrm>
              <a:off x="781739"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Cognitive services</a:t>
              </a:r>
            </a:p>
          </p:txBody>
        </p:sp>
        <p:cxnSp>
          <p:nvCxnSpPr>
            <p:cNvPr id="97" name="Straight Connector 96">
              <a:extLst>
                <a:ext uri="{FF2B5EF4-FFF2-40B4-BE49-F238E27FC236}">
                  <a16:creationId xmlns:a16="http://schemas.microsoft.com/office/drawing/2014/main" id="{D24B99CD-86CA-4A20-A7A3-E223DD8D4274}"/>
                </a:ext>
              </a:extLst>
            </p:cNvPr>
            <p:cNvCxnSpPr/>
            <p:nvPr/>
          </p:nvCxnSpPr>
          <p:spPr>
            <a:xfrm>
              <a:off x="781739"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2" name="binary" title="Icon of binary code, ones and zeros">
              <a:extLst>
                <a:ext uri="{FF2B5EF4-FFF2-40B4-BE49-F238E27FC236}">
                  <a16:creationId xmlns:a16="http://schemas.microsoft.com/office/drawing/2014/main" id="{8FA4632E-F348-4E34-9152-0420F71D511C}"/>
                </a:ext>
              </a:extLst>
            </p:cNvPr>
            <p:cNvSpPr>
              <a:spLocks noChangeAspect="1" noEditPoints="1"/>
            </p:cNvSpPr>
            <p:nvPr/>
          </p:nvSpPr>
          <p:spPr bwMode="auto">
            <a:xfrm>
              <a:off x="781739" y="3721868"/>
              <a:ext cx="327454" cy="28275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5A96573B-38ED-452F-9A71-9C18A2AC5BCF}"/>
                </a:ext>
              </a:extLst>
            </p:cNvPr>
            <p:cNvSpPr/>
            <p:nvPr/>
          </p:nvSpPr>
          <p:spPr>
            <a:xfrm>
              <a:off x="781739" y="4083108"/>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Map complex</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information and data</a:t>
              </a:r>
            </a:p>
          </p:txBody>
        </p:sp>
        <p:sp>
          <p:nvSpPr>
            <p:cNvPr id="94" name="Rectangle 93">
              <a:extLst>
                <a:ext uri="{FF2B5EF4-FFF2-40B4-BE49-F238E27FC236}">
                  <a16:creationId xmlns:a16="http://schemas.microsoft.com/office/drawing/2014/main" id="{8732A70B-1AA0-4504-A4DA-BE98B44E997F}"/>
                </a:ext>
              </a:extLst>
            </p:cNvPr>
            <p:cNvSpPr/>
            <p:nvPr/>
          </p:nvSpPr>
          <p:spPr>
            <a:xfrm>
              <a:off x="781739" y="2901290"/>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Use pre-built AI services </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to solve business problems</a:t>
              </a:r>
            </a:p>
          </p:txBody>
        </p:sp>
        <p:sp>
          <p:nvSpPr>
            <p:cNvPr id="107" name="Data &amp; AI" title="Icon of several circles connected to eachother by lines">
              <a:extLst>
                <a:ext uri="{FF2B5EF4-FFF2-40B4-BE49-F238E27FC236}">
                  <a16:creationId xmlns:a16="http://schemas.microsoft.com/office/drawing/2014/main" id="{2E1F91A2-3BD0-4DCD-BAAB-881AB06325FE}"/>
                </a:ext>
              </a:extLst>
            </p:cNvPr>
            <p:cNvSpPr>
              <a:spLocks noChangeAspect="1" noEditPoints="1"/>
            </p:cNvSpPr>
            <p:nvPr/>
          </p:nvSpPr>
          <p:spPr bwMode="auto">
            <a:xfrm>
              <a:off x="781739" y="2528625"/>
              <a:ext cx="406702" cy="325202"/>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4" name="cloud_2" title="Icon of a cloud made of two arrows pointing towards eachother">
              <a:extLst>
                <a:ext uri="{FF2B5EF4-FFF2-40B4-BE49-F238E27FC236}">
                  <a16:creationId xmlns:a16="http://schemas.microsoft.com/office/drawing/2014/main" id="{10450C36-4954-49EF-BD8A-BB78C599B92B}"/>
                </a:ext>
              </a:extLst>
            </p:cNvPr>
            <p:cNvSpPr>
              <a:spLocks noChangeAspect="1" noEditPoints="1"/>
            </p:cNvSpPr>
            <p:nvPr/>
          </p:nvSpPr>
          <p:spPr bwMode="auto">
            <a:xfrm>
              <a:off x="781739" y="4907966"/>
              <a:ext cx="496818" cy="28670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96" name="Rectangle 95">
              <a:extLst>
                <a:ext uri="{FF2B5EF4-FFF2-40B4-BE49-F238E27FC236}">
                  <a16:creationId xmlns:a16="http://schemas.microsoft.com/office/drawing/2014/main" id="{2DDF0003-399F-4125-BAB2-038B9E5703A2}"/>
                </a:ext>
              </a:extLst>
            </p:cNvPr>
            <p:cNvSpPr/>
            <p:nvPr/>
          </p:nvSpPr>
          <p:spPr>
            <a:xfrm>
              <a:off x="781739" y="5251873"/>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Allow your apps to</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process natural language</a:t>
              </a:r>
            </a:p>
          </p:txBody>
        </p:sp>
      </p:grpSp>
      <p:grpSp>
        <p:nvGrpSpPr>
          <p:cNvPr id="24" name="Group 23">
            <a:extLst>
              <a:ext uri="{FF2B5EF4-FFF2-40B4-BE49-F238E27FC236}">
                <a16:creationId xmlns:a16="http://schemas.microsoft.com/office/drawing/2014/main" id="{73AA36FD-35B4-4265-9ACC-BADA4801D01E}"/>
              </a:ext>
            </a:extLst>
          </p:cNvPr>
          <p:cNvGrpSpPr/>
          <p:nvPr/>
        </p:nvGrpSpPr>
        <p:grpSpPr>
          <a:xfrm>
            <a:off x="4280774" y="1189178"/>
            <a:ext cx="3837983" cy="4660079"/>
            <a:chOff x="8099788" y="1189178"/>
            <a:chExt cx="3837983" cy="4660079"/>
          </a:xfrm>
        </p:grpSpPr>
        <p:sp>
          <p:nvSpPr>
            <p:cNvPr id="92" name="Rectangle 91">
              <a:extLst>
                <a:ext uri="{FF2B5EF4-FFF2-40B4-BE49-F238E27FC236}">
                  <a16:creationId xmlns:a16="http://schemas.microsoft.com/office/drawing/2014/main" id="{B6FF8EB0-2155-4551-A37C-7E58A1D6B87F}"/>
                </a:ext>
              </a:extLst>
            </p:cNvPr>
            <p:cNvSpPr/>
            <p:nvPr/>
          </p:nvSpPr>
          <p:spPr bwMode="auto">
            <a:xfrm>
              <a:off x="8099788"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4" name="Rectangle 163">
              <a:extLst>
                <a:ext uri="{FF2B5EF4-FFF2-40B4-BE49-F238E27FC236}">
                  <a16:creationId xmlns:a16="http://schemas.microsoft.com/office/drawing/2014/main" id="{BC3353CC-C12E-4D35-A520-79F05C5304C7}"/>
                </a:ext>
              </a:extLst>
            </p:cNvPr>
            <p:cNvSpPr/>
            <p:nvPr/>
          </p:nvSpPr>
          <p:spPr>
            <a:xfrm>
              <a:off x="8408187"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chemeClr val="tx1"/>
                  </a:solidFill>
                  <a:latin typeface="Segoe UI Semibold" panose="020B0702040204020203" pitchFamily="34" charset="0"/>
                  <a:cs typeface="Segoe UI Semibold" panose="020B0702040204020203" pitchFamily="34" charset="0"/>
                </a:rPr>
                <a:t>Azure search</a:t>
              </a:r>
            </a:p>
          </p:txBody>
        </p:sp>
        <p:cxnSp>
          <p:nvCxnSpPr>
            <p:cNvPr id="165" name="Straight Connector 164">
              <a:extLst>
                <a:ext uri="{FF2B5EF4-FFF2-40B4-BE49-F238E27FC236}">
                  <a16:creationId xmlns:a16="http://schemas.microsoft.com/office/drawing/2014/main" id="{3224496A-C019-44CD-B1C1-8D1121A730E4}"/>
                </a:ext>
              </a:extLst>
            </p:cNvPr>
            <p:cNvCxnSpPr/>
            <p:nvPr/>
          </p:nvCxnSpPr>
          <p:spPr>
            <a:xfrm>
              <a:off x="8408187"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GenericApp_EB3B" title="Icon of an app window">
              <a:extLst>
                <a:ext uri="{FF2B5EF4-FFF2-40B4-BE49-F238E27FC236}">
                  <a16:creationId xmlns:a16="http://schemas.microsoft.com/office/drawing/2014/main" id="{55A19DE1-BB55-430D-8F83-8B1253208501}"/>
                </a:ext>
              </a:extLst>
            </p:cNvPr>
            <p:cNvSpPr>
              <a:spLocks noChangeAspect="1" noEditPoints="1"/>
            </p:cNvSpPr>
            <p:nvPr/>
          </p:nvSpPr>
          <p:spPr bwMode="auto">
            <a:xfrm>
              <a:off x="8422728" y="3721082"/>
              <a:ext cx="305884" cy="24480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00" name="Rectangle 99">
              <a:extLst>
                <a:ext uri="{FF2B5EF4-FFF2-40B4-BE49-F238E27FC236}">
                  <a16:creationId xmlns:a16="http://schemas.microsoft.com/office/drawing/2014/main" id="{A441C6AC-7E2F-408A-9D4C-2B75D21C4987}"/>
                </a:ext>
              </a:extLst>
            </p:cNvPr>
            <p:cNvSpPr/>
            <p:nvPr/>
          </p:nvSpPr>
          <p:spPr>
            <a:xfrm>
              <a:off x="8408187" y="4083108"/>
              <a:ext cx="3529584" cy="480131"/>
            </a:xfrm>
            <a:prstGeom prst="rect">
              <a:avLst/>
            </a:prstGeom>
          </p:spPr>
          <p:txBody>
            <a:bodyPr wrap="square" lIns="0">
              <a:spAutoFit/>
            </a:bodyPr>
            <a:lstStyle/>
            <a:p>
              <a:pPr defTabSz="914367">
                <a:lnSpc>
                  <a:spcPct val="90000"/>
                </a:lnSpc>
                <a:spcBef>
                  <a:spcPts val="600"/>
                </a:spcBef>
              </a:pPr>
              <a:r>
                <a:rPr lang="en-US" sz="1400">
                  <a:latin typeface="Segoe UI" panose="020B0502040204020203" pitchFamily="34" charset="0"/>
                  <a:cs typeface="Segoe UI" panose="020B0502040204020203" pitchFamily="34" charset="0"/>
                </a:rPr>
                <a:t>Reduce complexity with </a:t>
              </a:r>
              <a:br>
                <a:rPr lang="en-US" sz="1400">
                  <a:latin typeface="Segoe UI" panose="020B0502040204020203" pitchFamily="34" charset="0"/>
                  <a:cs typeface="Segoe UI" panose="020B0502040204020203" pitchFamily="34" charset="0"/>
                </a:rPr>
              </a:br>
              <a:r>
                <a:rPr lang="en-US" sz="1400">
                  <a:latin typeface="Segoe UI" panose="020B0502040204020203" pitchFamily="34" charset="0"/>
                  <a:cs typeface="Segoe UI" panose="020B0502040204020203" pitchFamily="34" charset="0"/>
                </a:rPr>
                <a:t>a fully-managed service</a:t>
              </a:r>
              <a:endParaRPr lang="en-US" sz="1400" dirty="0">
                <a:latin typeface="Segoe UI" panose="020B0502040204020203" pitchFamily="34" charset="0"/>
                <a:cs typeface="Segoe UI" panose="020B0502040204020203" pitchFamily="34" charset="0"/>
              </a:endParaRPr>
            </a:p>
          </p:txBody>
        </p:sp>
        <p:grpSp>
          <p:nvGrpSpPr>
            <p:cNvPr id="71" name="Group 70">
              <a:extLst>
                <a:ext uri="{FF2B5EF4-FFF2-40B4-BE49-F238E27FC236}">
                  <a16:creationId xmlns:a16="http://schemas.microsoft.com/office/drawing/2014/main" id="{BBE82AB9-C2C4-41F1-8F1C-428394A4601F}"/>
                </a:ext>
              </a:extLst>
            </p:cNvPr>
            <p:cNvGrpSpPr/>
            <p:nvPr/>
          </p:nvGrpSpPr>
          <p:grpSpPr>
            <a:xfrm>
              <a:off x="8497362" y="2551692"/>
              <a:ext cx="318667" cy="279069"/>
              <a:chOff x="770059" y="3395906"/>
              <a:chExt cx="318667" cy="279069"/>
            </a:xfrm>
          </p:grpSpPr>
          <p:sp>
            <p:nvSpPr>
              <p:cNvPr id="72" name="gear_3">
                <a:extLst>
                  <a:ext uri="{FF2B5EF4-FFF2-40B4-BE49-F238E27FC236}">
                    <a16:creationId xmlns:a16="http://schemas.microsoft.com/office/drawing/2014/main" id="{FFFF66DA-E06A-4B9A-8DF0-FC846B09B54D}"/>
                  </a:ext>
                </a:extLst>
              </p:cNvPr>
              <p:cNvSpPr>
                <a:spLocks noChangeAspect="1" noEditPoints="1"/>
              </p:cNvSpPr>
              <p:nvPr/>
            </p:nvSpPr>
            <p:spPr bwMode="auto">
              <a:xfrm rot="17699308">
                <a:off x="919595" y="3505843"/>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73" name="gear_3">
                <a:extLst>
                  <a:ext uri="{FF2B5EF4-FFF2-40B4-BE49-F238E27FC236}">
                    <a16:creationId xmlns:a16="http://schemas.microsoft.com/office/drawing/2014/main" id="{DC128DF9-2890-4BF9-A404-B82E20D77C29}"/>
                  </a:ext>
                </a:extLst>
              </p:cNvPr>
              <p:cNvSpPr>
                <a:spLocks noChangeAspect="1" noEditPoints="1"/>
              </p:cNvSpPr>
              <p:nvPr/>
            </p:nvSpPr>
            <p:spPr bwMode="auto">
              <a:xfrm rot="19499308">
                <a:off x="770059" y="3395906"/>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solidFill>
                    <a:srgbClr val="505050"/>
                  </a:solidFill>
                  <a:effectLst/>
                  <a:uLnTx/>
                  <a:uFillTx/>
                  <a:latin typeface="Segoe UI Semilight"/>
                  <a:ea typeface="+mn-ea"/>
                  <a:cs typeface="+mn-cs"/>
                </a:endParaRPr>
              </a:p>
            </p:txBody>
          </p:sp>
        </p:grpSp>
        <p:sp>
          <p:nvSpPr>
            <p:cNvPr id="101" name="Rectangle 100">
              <a:extLst>
                <a:ext uri="{FF2B5EF4-FFF2-40B4-BE49-F238E27FC236}">
                  <a16:creationId xmlns:a16="http://schemas.microsoft.com/office/drawing/2014/main" id="{E43C138C-2183-471E-A43F-1BC0B3C2E7BD}"/>
                </a:ext>
              </a:extLst>
            </p:cNvPr>
            <p:cNvSpPr/>
            <p:nvPr/>
          </p:nvSpPr>
          <p:spPr>
            <a:xfrm>
              <a:off x="8408187" y="2901290"/>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Get up and</a:t>
              </a: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running quickly</a:t>
              </a:r>
            </a:p>
          </p:txBody>
        </p:sp>
        <p:sp>
          <p:nvSpPr>
            <p:cNvPr id="89" name="graduate" title="Icon of a graduation cap">
              <a:extLst>
                <a:ext uri="{FF2B5EF4-FFF2-40B4-BE49-F238E27FC236}">
                  <a16:creationId xmlns:a16="http://schemas.microsoft.com/office/drawing/2014/main" id="{41448629-3E8C-412F-9F6B-128E1F3441E5}"/>
                </a:ext>
              </a:extLst>
            </p:cNvPr>
            <p:cNvSpPr>
              <a:spLocks noChangeAspect="1" noEditPoints="1"/>
            </p:cNvSpPr>
            <p:nvPr/>
          </p:nvSpPr>
          <p:spPr bwMode="auto">
            <a:xfrm>
              <a:off x="8412954" y="4875786"/>
              <a:ext cx="371738" cy="31888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02" name="Rectangle 101">
              <a:extLst>
                <a:ext uri="{FF2B5EF4-FFF2-40B4-BE49-F238E27FC236}">
                  <a16:creationId xmlns:a16="http://schemas.microsoft.com/office/drawing/2014/main" id="{579BF867-D311-45AF-B98A-5D00DFD32592}"/>
                </a:ext>
              </a:extLst>
            </p:cNvPr>
            <p:cNvSpPr/>
            <p:nvPr/>
          </p:nvSpPr>
          <p:spPr>
            <a:xfrm>
              <a:off x="8408187" y="5251873"/>
              <a:ext cx="3529584" cy="480131"/>
            </a:xfrm>
            <a:prstGeom prst="rect">
              <a:avLst/>
            </a:prstGeom>
          </p:spPr>
          <p:txBody>
            <a:bodyPr wrap="square" lIns="0">
              <a:spAutoFit/>
            </a:bodyPr>
            <a:lstStyle/>
            <a:p>
              <a:pPr defTabSz="914367">
                <a:lnSpc>
                  <a:spcPct val="90000"/>
                </a:lnSpc>
                <a:spcBef>
                  <a:spcPts val="600"/>
                </a:spcBef>
              </a:pPr>
              <a:r>
                <a:rPr lang="en-US" sz="1400">
                  <a:latin typeface="Segoe UI" panose="020B0502040204020203" pitchFamily="34" charset="0"/>
                  <a:cs typeface="Segoe UI" panose="020B0502040204020203" pitchFamily="34" charset="0"/>
                </a:rPr>
                <a:t>Use artificial intelligence </a:t>
              </a:r>
              <a:br>
                <a:rPr lang="en-US" sz="1400">
                  <a:latin typeface="Segoe UI" panose="020B0502040204020203" pitchFamily="34" charset="0"/>
                  <a:cs typeface="Segoe UI" panose="020B0502040204020203" pitchFamily="34" charset="0"/>
                </a:rPr>
              </a:br>
              <a:r>
                <a:rPr lang="en-US" sz="1400">
                  <a:latin typeface="Segoe UI" panose="020B0502040204020203" pitchFamily="34" charset="0"/>
                  <a:cs typeface="Segoe UI" panose="020B0502040204020203" pitchFamily="34" charset="0"/>
                </a:rPr>
                <a:t>to extract insights</a:t>
              </a:r>
              <a:endParaRPr lang="en-US" sz="1400" dirty="0">
                <a:latin typeface="Segoe UI" panose="020B0502040204020203" pitchFamily="34" charset="0"/>
                <a:cs typeface="Segoe UI" panose="020B0502040204020203" pitchFamily="34" charset="0"/>
              </a:endParaRPr>
            </a:p>
          </p:txBody>
        </p:sp>
      </p:grpSp>
      <p:grpSp>
        <p:nvGrpSpPr>
          <p:cNvPr id="23" name="Group 22">
            <a:extLst>
              <a:ext uri="{FF2B5EF4-FFF2-40B4-BE49-F238E27FC236}">
                <a16:creationId xmlns:a16="http://schemas.microsoft.com/office/drawing/2014/main" id="{A13C1838-29A5-44E6-8F58-143C563A8F42}"/>
              </a:ext>
            </a:extLst>
          </p:cNvPr>
          <p:cNvGrpSpPr/>
          <p:nvPr/>
        </p:nvGrpSpPr>
        <p:grpSpPr>
          <a:xfrm>
            <a:off x="8099788" y="1189178"/>
            <a:ext cx="3812016" cy="4660079"/>
            <a:chOff x="4280774" y="1189178"/>
            <a:chExt cx="3812016" cy="4660079"/>
          </a:xfrm>
        </p:grpSpPr>
        <p:grpSp>
          <p:nvGrpSpPr>
            <p:cNvPr id="14" name="Group 13">
              <a:extLst>
                <a:ext uri="{FF2B5EF4-FFF2-40B4-BE49-F238E27FC236}">
                  <a16:creationId xmlns:a16="http://schemas.microsoft.com/office/drawing/2014/main" id="{73D28ADC-773E-4BCB-9176-5B56CD440E93}"/>
                </a:ext>
              </a:extLst>
            </p:cNvPr>
            <p:cNvGrpSpPr/>
            <p:nvPr/>
          </p:nvGrpSpPr>
          <p:grpSpPr>
            <a:xfrm>
              <a:off x="4577551" y="1361602"/>
              <a:ext cx="480420" cy="480420"/>
              <a:chOff x="4199626" y="-4833163"/>
              <a:chExt cx="612649" cy="612648"/>
            </a:xfrm>
          </p:grpSpPr>
          <p:sp>
            <p:nvSpPr>
              <p:cNvPr id="67" name="Oval 66">
                <a:extLst>
                  <a:ext uri="{FF2B5EF4-FFF2-40B4-BE49-F238E27FC236}">
                    <a16:creationId xmlns:a16="http://schemas.microsoft.com/office/drawing/2014/main" id="{80897644-2B6B-42EA-9D73-8D6ED7BFCFE0}"/>
                  </a:ext>
                </a:extLst>
              </p:cNvPr>
              <p:cNvSpPr/>
              <p:nvPr/>
            </p:nvSpPr>
            <p:spPr bwMode="auto">
              <a:xfrm>
                <a:off x="4199626" y="-4833163"/>
                <a:ext cx="612649" cy="612648"/>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B6B6A61A-938C-4A8C-8747-37BB4A302217}"/>
                  </a:ext>
                </a:extLst>
              </p:cNvPr>
              <p:cNvGrpSpPr/>
              <p:nvPr/>
            </p:nvGrpSpPr>
            <p:grpSpPr>
              <a:xfrm>
                <a:off x="4279333" y="-4683040"/>
                <a:ext cx="453208" cy="312399"/>
                <a:chOff x="4279501" y="1431676"/>
                <a:chExt cx="453208" cy="312399"/>
              </a:xfrm>
            </p:grpSpPr>
            <p:sp>
              <p:nvSpPr>
                <p:cNvPr id="17" name="Arrow: Chevron 16">
                  <a:extLst>
                    <a:ext uri="{FF2B5EF4-FFF2-40B4-BE49-F238E27FC236}">
                      <a16:creationId xmlns:a16="http://schemas.microsoft.com/office/drawing/2014/main" id="{6B2114B7-F995-4ECE-B598-3B7704481077}"/>
                    </a:ext>
                  </a:extLst>
                </p:cNvPr>
                <p:cNvSpPr/>
                <p:nvPr/>
              </p:nvSpPr>
              <p:spPr bwMode="auto">
                <a:xfrm rot="18838267">
                  <a:off x="4526888" y="1361083"/>
                  <a:ext cx="135227" cy="276414"/>
                </a:xfrm>
                <a:prstGeom prst="chevron">
                  <a:avLst>
                    <a:gd name="adj" fmla="val 100000"/>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8" name="Arrow: Chevron 67">
                  <a:extLst>
                    <a:ext uri="{FF2B5EF4-FFF2-40B4-BE49-F238E27FC236}">
                      <a16:creationId xmlns:a16="http://schemas.microsoft.com/office/drawing/2014/main" id="{65E70AE5-EB92-4148-A7C2-40C2ED6CCBEF}"/>
                    </a:ext>
                  </a:extLst>
                </p:cNvPr>
                <p:cNvSpPr/>
                <p:nvPr/>
              </p:nvSpPr>
              <p:spPr bwMode="auto">
                <a:xfrm rot="8038267">
                  <a:off x="4350094" y="1538255"/>
                  <a:ext cx="135227" cy="276414"/>
                </a:xfrm>
                <a:prstGeom prst="chevron">
                  <a:avLst>
                    <a:gd name="adj" fmla="val 100000"/>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Oval 68">
                  <a:extLst>
                    <a:ext uri="{FF2B5EF4-FFF2-40B4-BE49-F238E27FC236}">
                      <a16:creationId xmlns:a16="http://schemas.microsoft.com/office/drawing/2014/main" id="{10DCBA6A-7B8A-4BD1-8F97-03312D0843EE}"/>
                    </a:ext>
                  </a:extLst>
                </p:cNvPr>
                <p:cNvSpPr/>
                <p:nvPr/>
              </p:nvSpPr>
              <p:spPr bwMode="auto">
                <a:xfrm>
                  <a:off x="4426924" y="1556447"/>
                  <a:ext cx="62805" cy="62805"/>
                </a:xfrm>
                <a:prstGeom prst="ellipse">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BDD6545F-FE1B-4CC8-8682-7A4D9A5EAC34}"/>
                    </a:ext>
                  </a:extLst>
                </p:cNvPr>
                <p:cNvSpPr/>
                <p:nvPr/>
              </p:nvSpPr>
              <p:spPr bwMode="auto">
                <a:xfrm>
                  <a:off x="4518356" y="1556447"/>
                  <a:ext cx="62805" cy="62805"/>
                </a:xfrm>
                <a:prstGeom prst="ellipse">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671C0205-4C61-4912-BD4C-63EECF8DFC1D}"/>
                </a:ext>
              </a:extLst>
            </p:cNvPr>
            <p:cNvSpPr/>
            <p:nvPr/>
          </p:nvSpPr>
          <p:spPr bwMode="auto">
            <a:xfrm>
              <a:off x="4280774"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7" name="Rectangle 166">
              <a:extLst>
                <a:ext uri="{FF2B5EF4-FFF2-40B4-BE49-F238E27FC236}">
                  <a16:creationId xmlns:a16="http://schemas.microsoft.com/office/drawing/2014/main" id="{770140DA-65A0-48E6-ADBF-78B62C959C43}"/>
                </a:ext>
              </a:extLst>
            </p:cNvPr>
            <p:cNvSpPr/>
            <p:nvPr/>
          </p:nvSpPr>
          <p:spPr>
            <a:xfrm>
              <a:off x="4559290"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chemeClr val="tx1"/>
                  </a:solidFill>
                  <a:latin typeface="Segoe UI Semibold" panose="020B0702040204020203" pitchFamily="34" charset="0"/>
                  <a:cs typeface="Segoe UI Semibold" panose="020B0702040204020203" pitchFamily="34" charset="0"/>
                </a:rPr>
                <a:t>Bot services</a:t>
              </a:r>
            </a:p>
          </p:txBody>
        </p:sp>
        <p:cxnSp>
          <p:nvCxnSpPr>
            <p:cNvPr id="168" name="Straight Connector 167">
              <a:extLst>
                <a:ext uri="{FF2B5EF4-FFF2-40B4-BE49-F238E27FC236}">
                  <a16:creationId xmlns:a16="http://schemas.microsoft.com/office/drawing/2014/main" id="{7DDAF36B-D5CC-4675-9E25-01DE4F2B1196}"/>
                </a:ext>
              </a:extLst>
            </p:cNvPr>
            <p:cNvCxnSpPr/>
            <p:nvPr/>
          </p:nvCxnSpPr>
          <p:spPr>
            <a:xfrm>
              <a:off x="4559290"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obot_E99A" title="Icon of a robot">
              <a:extLst>
                <a:ext uri="{FF2B5EF4-FFF2-40B4-BE49-F238E27FC236}">
                  <a16:creationId xmlns:a16="http://schemas.microsoft.com/office/drawing/2014/main" id="{29E8A480-C090-4DB4-A9CB-2D969A565604}"/>
                </a:ext>
              </a:extLst>
            </p:cNvPr>
            <p:cNvSpPr>
              <a:spLocks noChangeAspect="1" noEditPoints="1"/>
            </p:cNvSpPr>
            <p:nvPr/>
          </p:nvSpPr>
          <p:spPr bwMode="auto">
            <a:xfrm>
              <a:off x="4559290" y="3671684"/>
              <a:ext cx="265904" cy="34360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BB8B588A-8A85-486F-BF18-9E06A1D6CA96}"/>
                </a:ext>
              </a:extLst>
            </p:cNvPr>
            <p:cNvSpPr/>
            <p:nvPr/>
          </p:nvSpPr>
          <p:spPr>
            <a:xfrm>
              <a:off x="4559290" y="4083108"/>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Infuse intelligence into your bot </a:t>
              </a:r>
              <a:r>
                <a:rPr lang="en-US" sz="1400">
                  <a:latin typeface="Segoe UI" panose="020B0502040204020203" pitchFamily="34" charset="0"/>
                  <a:cs typeface="Segoe UI" panose="020B0502040204020203" pitchFamily="34" charset="0"/>
                </a:rPr>
                <a:t>using cognitive services</a:t>
              </a:r>
              <a:endParaRPr lang="en-US" sz="1400" dirty="0">
                <a:latin typeface="Segoe UI" panose="020B0502040204020203" pitchFamily="34" charset="0"/>
                <a:cs typeface="Segoe UI" panose="020B0502040204020203" pitchFamily="34" charset="0"/>
              </a:endParaRPr>
            </a:p>
          </p:txBody>
        </p:sp>
        <p:sp>
          <p:nvSpPr>
            <p:cNvPr id="42" name="network_3" title="Icon of a server connected to a network">
              <a:extLst>
                <a:ext uri="{FF2B5EF4-FFF2-40B4-BE49-F238E27FC236}">
                  <a16:creationId xmlns:a16="http://schemas.microsoft.com/office/drawing/2014/main" id="{CE3669ED-028B-4F3C-863C-4951BA17A1DE}"/>
                </a:ext>
              </a:extLst>
            </p:cNvPr>
            <p:cNvSpPr>
              <a:spLocks noChangeAspect="1" noEditPoints="1"/>
            </p:cNvSpPr>
            <p:nvPr/>
          </p:nvSpPr>
          <p:spPr bwMode="auto">
            <a:xfrm>
              <a:off x="4559290" y="2537781"/>
              <a:ext cx="317716" cy="329703"/>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10A44D62-39AB-4E0F-81DD-DDFDF5CCB026}"/>
                </a:ext>
              </a:extLst>
            </p:cNvPr>
            <p:cNvSpPr/>
            <p:nvPr/>
          </p:nvSpPr>
          <p:spPr>
            <a:xfrm>
              <a:off x="4559290" y="2901290"/>
              <a:ext cx="3533500"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Speed development with a purpose-built environment for bot creation</a:t>
              </a:r>
            </a:p>
          </p:txBody>
        </p:sp>
        <p:sp>
          <p:nvSpPr>
            <p:cNvPr id="85" name="IoT" title="Icon of five circles that all connect to a center circle">
              <a:extLst>
                <a:ext uri="{FF2B5EF4-FFF2-40B4-BE49-F238E27FC236}">
                  <a16:creationId xmlns:a16="http://schemas.microsoft.com/office/drawing/2014/main" id="{38857B12-5E4A-4178-94CC-70937CB3FEF6}"/>
                </a:ext>
              </a:extLst>
            </p:cNvPr>
            <p:cNvSpPr>
              <a:spLocks noChangeAspect="1" noEditPoints="1"/>
            </p:cNvSpPr>
            <p:nvPr/>
          </p:nvSpPr>
          <p:spPr bwMode="auto">
            <a:xfrm>
              <a:off x="4559290" y="4853500"/>
              <a:ext cx="340622" cy="34116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CDF3AFD3-E8EB-45C1-BD7A-29E0E46C90CA}"/>
                </a:ext>
              </a:extLst>
            </p:cNvPr>
            <p:cNvSpPr/>
            <p:nvPr/>
          </p:nvSpPr>
          <p:spPr>
            <a:xfrm>
              <a:off x="4559290" y="5251873"/>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Integrate across multiple</a:t>
              </a: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channels to </a:t>
              </a:r>
              <a:r>
                <a:rPr lang="en-US" sz="1400">
                  <a:latin typeface="Segoe UI" panose="020B0502040204020203" pitchFamily="34" charset="0"/>
                  <a:cs typeface="Segoe UI" panose="020B0502040204020203" pitchFamily="34" charset="0"/>
                </a:rPr>
                <a:t>reach more customers</a:t>
              </a:r>
              <a:endParaRPr lang="en-US" sz="1400" dirty="0">
                <a:latin typeface="Segoe UI" panose="020B0502040204020203" pitchFamily="34" charset="0"/>
                <a:cs typeface="Segoe UI" panose="020B0502040204020203" pitchFamily="34" charset="0"/>
              </a:endParaRPr>
            </a:p>
          </p:txBody>
        </p:sp>
      </p:grpSp>
      <p:sp>
        <p:nvSpPr>
          <p:cNvPr id="56" name="brain_2" title="Icon of a brain with circles and connection lines inside">
            <a:extLst>
              <a:ext uri="{FF2B5EF4-FFF2-40B4-BE49-F238E27FC236}">
                <a16:creationId xmlns:a16="http://schemas.microsoft.com/office/drawing/2014/main" id="{E4CED489-EB58-4D5D-9E40-887B8A3EB01A}"/>
              </a:ext>
            </a:extLst>
          </p:cNvPr>
          <p:cNvSpPr>
            <a:spLocks noChangeAspect="1" noEditPoints="1"/>
          </p:cNvSpPr>
          <p:nvPr/>
        </p:nvSpPr>
        <p:spPr bwMode="auto">
          <a:xfrm>
            <a:off x="811197" y="1335616"/>
            <a:ext cx="820254" cy="55000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7" name="Freeform 13" title="Icon of a cloud">
            <a:extLst>
              <a:ext uri="{FF2B5EF4-FFF2-40B4-BE49-F238E27FC236}">
                <a16:creationId xmlns:a16="http://schemas.microsoft.com/office/drawing/2014/main" id="{AD36858B-E71F-4E67-8B73-68EEDBBD126A}"/>
              </a:ext>
            </a:extLst>
          </p:cNvPr>
          <p:cNvSpPr>
            <a:spLocks noChangeAspect="1"/>
          </p:cNvSpPr>
          <p:nvPr/>
        </p:nvSpPr>
        <p:spPr bwMode="auto">
          <a:xfrm>
            <a:off x="4597391" y="1397949"/>
            <a:ext cx="778844" cy="42724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8" name="magnify" title="Icon of a magnifying glass">
            <a:extLst>
              <a:ext uri="{FF2B5EF4-FFF2-40B4-BE49-F238E27FC236}">
                <a16:creationId xmlns:a16="http://schemas.microsoft.com/office/drawing/2014/main" id="{0EA11CD8-F9EE-47ED-8E77-0B6040617F65}"/>
              </a:ext>
            </a:extLst>
          </p:cNvPr>
          <p:cNvSpPr>
            <a:spLocks noChangeAspect="1" noEditPoints="1"/>
          </p:cNvSpPr>
          <p:nvPr/>
        </p:nvSpPr>
        <p:spPr bwMode="auto">
          <a:xfrm flipH="1">
            <a:off x="4805499" y="1493154"/>
            <a:ext cx="280721" cy="27535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64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25372" y="3267289"/>
            <a:ext cx="2941257" cy="1446509"/>
          </a:xfrm>
          <a:prstGeom prst="rect">
            <a:avLst/>
          </a:prstGeom>
          <a:noFill/>
        </p:spPr>
        <p:txBody>
          <a:bodyPr wrap="square" lIns="0" tIns="146284" rIns="182854" bIns="146284" rtlCol="0">
            <a:spAutoFit/>
          </a:bodyPr>
          <a:lstStyle/>
          <a:p>
            <a:pPr defTabSz="914225">
              <a:lnSpc>
                <a:spcPct val="90000"/>
              </a:lnSpc>
              <a:spcAft>
                <a:spcPts val="600"/>
              </a:spcAft>
              <a:defRPr/>
            </a:pPr>
            <a:r>
              <a:rPr lang="en-US" sz="2200" dirty="0">
                <a:solidFill>
                  <a:srgbClr val="0078D7"/>
                </a:solidFill>
                <a:latin typeface="+mj-lt"/>
                <a:cs typeface="Segoe UI Semibold" charset="0"/>
              </a:rPr>
              <a:t>Intelligent app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Leverage AI to create the future</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of business applications</a:t>
            </a:r>
          </a:p>
        </p:txBody>
      </p:sp>
      <p:sp>
        <p:nvSpPr>
          <p:cNvPr id="7" name="TextBox 6"/>
          <p:cNvSpPr txBox="1"/>
          <p:nvPr/>
        </p:nvSpPr>
        <p:spPr>
          <a:xfrm>
            <a:off x="956498" y="3267289"/>
            <a:ext cx="3241551" cy="1446509"/>
          </a:xfrm>
          <a:prstGeom prst="rect">
            <a:avLst/>
          </a:prstGeom>
          <a:noFill/>
        </p:spPr>
        <p:txBody>
          <a:bodyPr wrap="square" lIns="0" tIns="146284" rIns="182854" bIns="146284" rtlCol="0">
            <a:spAutoFit/>
          </a:bodyPr>
          <a:lstStyle/>
          <a:p>
            <a:pPr marL="0" marR="0" lvl="0" indent="0" defTabSz="914225" rtl="0" eaLnBrk="1" fontAlgn="auto" latinLnBrk="0" hangingPunct="1">
              <a:lnSpc>
                <a:spcPct val="90000"/>
              </a:lnSpc>
              <a:spcBef>
                <a:spcPts val="0"/>
              </a:spcBef>
              <a:spcAft>
                <a:spcPts val="600"/>
              </a:spcAft>
              <a:buClrTx/>
              <a:buSzTx/>
              <a:buFontTx/>
              <a:buNone/>
              <a:tabLst/>
              <a:defRPr/>
            </a:pPr>
            <a:r>
              <a:rPr kumimoji="0" lang="en-US" sz="2200" i="0" u="none" strike="noStrike" kern="1200" cap="none" normalizeH="0" baseline="0" noProof="0" dirty="0">
                <a:ln>
                  <a:noFill/>
                </a:ln>
                <a:solidFill>
                  <a:srgbClr val="0078D7"/>
                </a:solidFill>
                <a:effectLst/>
                <a:uLnTx/>
                <a:uFillTx/>
                <a:latin typeface="+mj-lt"/>
                <a:ea typeface="Segoe UI Semibold" charset="0"/>
                <a:cs typeface="Segoe UI Semibold" charset="0"/>
              </a:rPr>
              <a:t>Conversational agent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Transform your engagements with</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customers and employees</a:t>
            </a:r>
          </a:p>
        </p:txBody>
      </p:sp>
      <p:sp>
        <p:nvSpPr>
          <p:cNvPr id="10" name="TextBox 9"/>
          <p:cNvSpPr txBox="1"/>
          <p:nvPr/>
        </p:nvSpPr>
        <p:spPr>
          <a:xfrm>
            <a:off x="8136343" y="3261313"/>
            <a:ext cx="2785335" cy="1446509"/>
          </a:xfrm>
          <a:prstGeom prst="rect">
            <a:avLst/>
          </a:prstGeom>
          <a:noFill/>
        </p:spPr>
        <p:txBody>
          <a:bodyPr wrap="square" lIns="0" tIns="146284" rIns="182854" bIns="146284" rtlCol="0">
            <a:spAutoFit/>
          </a:bodyPr>
          <a:lstStyle/>
          <a:p>
            <a:pPr defTabSz="914225">
              <a:lnSpc>
                <a:spcPct val="90000"/>
              </a:lnSpc>
              <a:spcAft>
                <a:spcPts val="600"/>
              </a:spcAft>
              <a:defRPr/>
            </a:pPr>
            <a:r>
              <a:rPr lang="en-US" sz="2200" dirty="0">
                <a:solidFill>
                  <a:srgbClr val="0078D7"/>
                </a:solidFill>
                <a:latin typeface="+mj-lt"/>
                <a:cs typeface="Segoe UI Semibold" charset="0"/>
              </a:rPr>
              <a:t>Business processe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Transform critical business</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processes with AI</a:t>
            </a:r>
          </a:p>
        </p:txBody>
      </p:sp>
      <p:grpSp>
        <p:nvGrpSpPr>
          <p:cNvPr id="6" name="Group 5">
            <a:extLst>
              <a:ext uri="{FF2B5EF4-FFF2-40B4-BE49-F238E27FC236}">
                <a16:creationId xmlns:a16="http://schemas.microsoft.com/office/drawing/2014/main" id="{A67F9736-7268-41CE-A6DA-4107AC49DB76}"/>
              </a:ext>
            </a:extLst>
          </p:cNvPr>
          <p:cNvGrpSpPr/>
          <p:nvPr/>
        </p:nvGrpSpPr>
        <p:grpSpPr>
          <a:xfrm>
            <a:off x="956498" y="1786099"/>
            <a:ext cx="1292606" cy="1292606"/>
            <a:chOff x="1949458" y="1786099"/>
            <a:chExt cx="1292606" cy="1292606"/>
          </a:xfrm>
        </p:grpSpPr>
        <p:sp>
          <p:nvSpPr>
            <p:cNvPr id="5" name="Oval 4"/>
            <p:cNvSpPr/>
            <p:nvPr/>
          </p:nvSpPr>
          <p:spPr bwMode="auto">
            <a:xfrm>
              <a:off x="1949458"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34" name="speech_5" title="Icon of two overlapping chat bubbles">
              <a:extLst>
                <a:ext uri="{FF2B5EF4-FFF2-40B4-BE49-F238E27FC236}">
                  <a16:creationId xmlns:a16="http://schemas.microsoft.com/office/drawing/2014/main" id="{9A028E09-0871-4849-9620-2F1AEA5B97A3}"/>
                </a:ext>
              </a:extLst>
            </p:cNvPr>
            <p:cNvSpPr>
              <a:spLocks noChangeAspect="1" noEditPoints="1"/>
            </p:cNvSpPr>
            <p:nvPr/>
          </p:nvSpPr>
          <p:spPr bwMode="auto">
            <a:xfrm>
              <a:off x="2279289" y="2184955"/>
              <a:ext cx="632944" cy="494894"/>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1" name="Group 10">
            <a:extLst>
              <a:ext uri="{FF2B5EF4-FFF2-40B4-BE49-F238E27FC236}">
                <a16:creationId xmlns:a16="http://schemas.microsoft.com/office/drawing/2014/main" id="{E4B5FB65-EAC3-4BE4-B145-14F97ABA6BE5}"/>
              </a:ext>
            </a:extLst>
          </p:cNvPr>
          <p:cNvGrpSpPr/>
          <p:nvPr/>
        </p:nvGrpSpPr>
        <p:grpSpPr>
          <a:xfrm>
            <a:off x="4625372" y="1786099"/>
            <a:ext cx="1292606" cy="1292606"/>
            <a:chOff x="5449697" y="1786099"/>
            <a:chExt cx="1292606" cy="1292606"/>
          </a:xfrm>
        </p:grpSpPr>
        <p:sp>
          <p:nvSpPr>
            <p:cNvPr id="2" name="Oval 1"/>
            <p:cNvSpPr/>
            <p:nvPr/>
          </p:nvSpPr>
          <p:spPr bwMode="auto">
            <a:xfrm>
              <a:off x="5449697"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35" name="Brain_3" title="Icon of a brain">
              <a:extLst>
                <a:ext uri="{FF2B5EF4-FFF2-40B4-BE49-F238E27FC236}">
                  <a16:creationId xmlns:a16="http://schemas.microsoft.com/office/drawing/2014/main" id="{3E650524-30DD-47FB-B5AC-6E1328E3A68D}"/>
                </a:ext>
              </a:extLst>
            </p:cNvPr>
            <p:cNvSpPr>
              <a:spLocks noChangeAspect="1" noEditPoints="1"/>
            </p:cNvSpPr>
            <p:nvPr/>
          </p:nvSpPr>
          <p:spPr bwMode="auto">
            <a:xfrm>
              <a:off x="5944529" y="2344567"/>
              <a:ext cx="302942" cy="32574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6" name="Browser" title="Icon of a browser window">
              <a:extLst>
                <a:ext uri="{FF2B5EF4-FFF2-40B4-BE49-F238E27FC236}">
                  <a16:creationId xmlns:a16="http://schemas.microsoft.com/office/drawing/2014/main" id="{CF613995-D0E8-4EA8-985F-38846119EF87}"/>
                </a:ext>
              </a:extLst>
            </p:cNvPr>
            <p:cNvSpPr>
              <a:spLocks noChangeAspect="1" noEditPoints="1"/>
            </p:cNvSpPr>
            <p:nvPr/>
          </p:nvSpPr>
          <p:spPr bwMode="auto">
            <a:xfrm>
              <a:off x="5738697" y="2146447"/>
              <a:ext cx="714606" cy="57191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59B5D1B5-1638-4669-BA57-725FDCDEDF26}"/>
              </a:ext>
            </a:extLst>
          </p:cNvPr>
          <p:cNvGrpSpPr/>
          <p:nvPr/>
        </p:nvGrpSpPr>
        <p:grpSpPr>
          <a:xfrm>
            <a:off x="8136343" y="1786099"/>
            <a:ext cx="1292606" cy="1292606"/>
            <a:chOff x="8882709" y="1786099"/>
            <a:chExt cx="1292606" cy="1292606"/>
          </a:xfrm>
        </p:grpSpPr>
        <p:sp>
          <p:nvSpPr>
            <p:cNvPr id="8" name="Oval 7"/>
            <p:cNvSpPr/>
            <p:nvPr/>
          </p:nvSpPr>
          <p:spPr bwMode="auto">
            <a:xfrm>
              <a:off x="8882709"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grpSp>
          <p:nvGrpSpPr>
            <p:cNvPr id="56" name="Group 55">
              <a:extLst>
                <a:ext uri="{FF2B5EF4-FFF2-40B4-BE49-F238E27FC236}">
                  <a16:creationId xmlns:a16="http://schemas.microsoft.com/office/drawing/2014/main" id="{9A910E88-E5C9-4E6D-875B-39E1488AA9CC}"/>
                </a:ext>
              </a:extLst>
            </p:cNvPr>
            <p:cNvGrpSpPr/>
            <p:nvPr/>
          </p:nvGrpSpPr>
          <p:grpSpPr>
            <a:xfrm>
              <a:off x="9040756" y="2156607"/>
              <a:ext cx="967132" cy="612370"/>
              <a:chOff x="9006840" y="1832725"/>
              <a:chExt cx="1034963" cy="655320"/>
            </a:xfrm>
          </p:grpSpPr>
          <p:sp>
            <p:nvSpPr>
              <p:cNvPr id="19" name="Oval 18">
                <a:extLst>
                  <a:ext uri="{FF2B5EF4-FFF2-40B4-BE49-F238E27FC236}">
                    <a16:creationId xmlns:a16="http://schemas.microsoft.com/office/drawing/2014/main" id="{85CEF34C-CBF6-42A6-9C61-838D9A0C0840}"/>
                  </a:ext>
                </a:extLst>
              </p:cNvPr>
              <p:cNvSpPr/>
              <p:nvPr/>
            </p:nvSpPr>
            <p:spPr bwMode="auto">
              <a:xfrm>
                <a:off x="9006840" y="2057400"/>
                <a:ext cx="182880" cy="18288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a:extLst>
                  <a:ext uri="{FF2B5EF4-FFF2-40B4-BE49-F238E27FC236}">
                    <a16:creationId xmlns:a16="http://schemas.microsoft.com/office/drawing/2014/main" id="{478E987E-A66A-434B-9E33-EFBB9C9514B5}"/>
                  </a:ext>
                </a:extLst>
              </p:cNvPr>
              <p:cNvSpPr/>
              <p:nvPr/>
            </p:nvSpPr>
            <p:spPr bwMode="auto">
              <a:xfrm>
                <a:off x="9858923" y="2057400"/>
                <a:ext cx="182880" cy="18288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Diamond 38">
                <a:extLst>
                  <a:ext uri="{FF2B5EF4-FFF2-40B4-BE49-F238E27FC236}">
                    <a16:creationId xmlns:a16="http://schemas.microsoft.com/office/drawing/2014/main" id="{0A385565-DD75-4494-A725-4A61043A95F4}"/>
                  </a:ext>
                </a:extLst>
              </p:cNvPr>
              <p:cNvSpPr/>
              <p:nvPr/>
            </p:nvSpPr>
            <p:spPr bwMode="auto">
              <a:xfrm>
                <a:off x="9291320" y="2057400"/>
                <a:ext cx="182880" cy="182880"/>
              </a:xfrm>
              <a:prstGeom prst="diamond">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2DEDCA75-8A74-42F6-8F7C-18E637A89470}"/>
                  </a:ext>
                </a:extLst>
              </p:cNvPr>
              <p:cNvSpPr/>
              <p:nvPr/>
            </p:nvSpPr>
            <p:spPr bwMode="auto">
              <a:xfrm>
                <a:off x="9529010" y="1832725"/>
                <a:ext cx="253972" cy="18288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0E98FFA-9DD0-457E-B433-679D5799C6C3}"/>
                  </a:ext>
                </a:extLst>
              </p:cNvPr>
              <p:cNvSpPr/>
              <p:nvPr/>
            </p:nvSpPr>
            <p:spPr bwMode="auto">
              <a:xfrm>
                <a:off x="9529010" y="2305165"/>
                <a:ext cx="253972" cy="18288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88A2C060-FADD-40FE-9663-B121AB0CC651}"/>
                  </a:ext>
                </a:extLst>
              </p:cNvPr>
              <p:cNvCxnSpPr>
                <a:stCxn id="39" idx="0"/>
                <a:endCxn id="40" idx="1"/>
              </p:cNvCxnSpPr>
              <p:nvPr/>
            </p:nvCxnSpPr>
            <p:spPr>
              <a:xfrm rot="5400000" flipH="1" flipV="1">
                <a:off x="9389268" y="1917658"/>
                <a:ext cx="133235" cy="146250"/>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2">
                <a:extLst>
                  <a:ext uri="{FF2B5EF4-FFF2-40B4-BE49-F238E27FC236}">
                    <a16:creationId xmlns:a16="http://schemas.microsoft.com/office/drawing/2014/main" id="{FFD80A27-65E0-43D7-BF63-A31A6CDA254B}"/>
                  </a:ext>
                </a:extLst>
              </p:cNvPr>
              <p:cNvCxnSpPr>
                <a:cxnSpLocks/>
                <a:stCxn id="39" idx="2"/>
                <a:endCxn id="41" idx="1"/>
              </p:cNvCxnSpPr>
              <p:nvPr/>
            </p:nvCxnSpPr>
            <p:spPr>
              <a:xfrm rot="16200000" flipH="1">
                <a:off x="9377723" y="2245317"/>
                <a:ext cx="156325" cy="146250"/>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2">
                <a:extLst>
                  <a:ext uri="{FF2B5EF4-FFF2-40B4-BE49-F238E27FC236}">
                    <a16:creationId xmlns:a16="http://schemas.microsoft.com/office/drawing/2014/main" id="{6E6BCA30-1CEA-4015-A46C-3B6933ECF23E}"/>
                  </a:ext>
                </a:extLst>
              </p:cNvPr>
              <p:cNvCxnSpPr>
                <a:cxnSpLocks/>
                <a:stCxn id="40" idx="3"/>
                <a:endCxn id="38" idx="0"/>
              </p:cNvCxnSpPr>
              <p:nvPr/>
            </p:nvCxnSpPr>
            <p:spPr>
              <a:xfrm>
                <a:off x="9782982" y="1924165"/>
                <a:ext cx="167381" cy="133235"/>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2">
                <a:extLst>
                  <a:ext uri="{FF2B5EF4-FFF2-40B4-BE49-F238E27FC236}">
                    <a16:creationId xmlns:a16="http://schemas.microsoft.com/office/drawing/2014/main" id="{74035038-2028-49F8-8CEB-F5F6F76D5695}"/>
                  </a:ext>
                </a:extLst>
              </p:cNvPr>
              <p:cNvCxnSpPr>
                <a:cxnSpLocks/>
                <a:stCxn id="41" idx="3"/>
                <a:endCxn id="38" idx="4"/>
              </p:cNvCxnSpPr>
              <p:nvPr/>
            </p:nvCxnSpPr>
            <p:spPr>
              <a:xfrm flipV="1">
                <a:off x="9782982" y="2240280"/>
                <a:ext cx="167381" cy="156325"/>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B2A4D5B-E900-45C2-9BC9-A3CCF902F5A0}"/>
                  </a:ext>
                </a:extLst>
              </p:cNvPr>
              <p:cNvCxnSpPr>
                <a:stCxn id="19" idx="6"/>
                <a:endCxn id="39" idx="1"/>
              </p:cNvCxnSpPr>
              <p:nvPr/>
            </p:nvCxnSpPr>
            <p:spPr>
              <a:xfrm>
                <a:off x="9189720" y="2148840"/>
                <a:ext cx="101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Title 2">
            <a:extLst>
              <a:ext uri="{FF2B5EF4-FFF2-40B4-BE49-F238E27FC236}">
                <a16:creationId xmlns:a16="http://schemas.microsoft.com/office/drawing/2014/main" id="{88FEB1F0-FF80-4EEA-B932-99F6B807AD33}"/>
              </a:ext>
            </a:extLst>
          </p:cNvPr>
          <p:cNvSpPr>
            <a:spLocks noGrp="1"/>
          </p:cNvSpPr>
          <p:nvPr>
            <p:ph type="title"/>
          </p:nvPr>
        </p:nvSpPr>
        <p:spPr/>
        <p:txBody>
          <a:bodyPr/>
          <a:lstStyle/>
          <a:p>
            <a:pPr lvl="0" fontAlgn="base">
              <a:spcAft>
                <a:spcPct val="0"/>
              </a:spcAft>
              <a:defRPr/>
            </a:pPr>
            <a:r>
              <a:rPr lang="en-US" spc="-150" dirty="0">
                <a:solidFill>
                  <a:srgbClr val="0078D7"/>
                </a:solidFill>
              </a:rPr>
              <a:t>Enterprise scenarios for AI</a:t>
            </a:r>
            <a:endParaRPr lang="en-IN" spc="-150" dirty="0"/>
          </a:p>
        </p:txBody>
      </p:sp>
      <p:grpSp>
        <p:nvGrpSpPr>
          <p:cNvPr id="60" name="Group 59">
            <a:extLst>
              <a:ext uri="{FF2B5EF4-FFF2-40B4-BE49-F238E27FC236}">
                <a16:creationId xmlns:a16="http://schemas.microsoft.com/office/drawing/2014/main" id="{BFE2DC3A-C20E-4156-90AA-8C25B9BDA3F2}"/>
              </a:ext>
            </a:extLst>
          </p:cNvPr>
          <p:cNvGrpSpPr/>
          <p:nvPr/>
        </p:nvGrpSpPr>
        <p:grpSpPr>
          <a:xfrm>
            <a:off x="504021" y="4797403"/>
            <a:ext cx="9853118" cy="1194239"/>
            <a:chOff x="504021" y="4797403"/>
            <a:chExt cx="9853118" cy="1194239"/>
          </a:xfrm>
        </p:grpSpPr>
        <p:cxnSp>
          <p:nvCxnSpPr>
            <p:cNvPr id="14" name="Straight Connector 13"/>
            <p:cNvCxnSpPr/>
            <p:nvPr/>
          </p:nvCxnSpPr>
          <p:spPr>
            <a:xfrm>
              <a:off x="962744"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25372"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621146" y="5201601"/>
              <a:ext cx="2033196"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Segoe UI Semibold" charset="0"/>
                  <a:cs typeface="Segoe UI" panose="020B0502040204020203" pitchFamily="34" charset="0"/>
                </a:rPr>
                <a:t>Of customer interactions</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Segoe UI Semibold" charset="0"/>
                  <a:cs typeface="Segoe UI" panose="020B0502040204020203" pitchFamily="34" charset="0"/>
                </a:rPr>
                <a:t>powered by AI bots by 2025</a:t>
              </a:r>
            </a:p>
          </p:txBody>
        </p:sp>
        <p:sp>
          <p:nvSpPr>
            <p:cNvPr id="27" name="TextBox 26"/>
            <p:cNvSpPr txBox="1"/>
            <p:nvPr/>
          </p:nvSpPr>
          <p:spPr>
            <a:xfrm>
              <a:off x="5264799" y="5220637"/>
              <a:ext cx="1858470"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pplications to includ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I by the end of this year</a:t>
              </a:r>
            </a:p>
          </p:txBody>
        </p:sp>
        <p:sp>
          <p:nvSpPr>
            <p:cNvPr id="26" name="TextBox 25"/>
            <p:cNvSpPr txBox="1"/>
            <p:nvPr/>
          </p:nvSpPr>
          <p:spPr>
            <a:xfrm>
              <a:off x="4582594" y="5227276"/>
              <a:ext cx="766824"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75%</a:t>
              </a:r>
            </a:p>
          </p:txBody>
        </p:sp>
        <p:cxnSp>
          <p:nvCxnSpPr>
            <p:cNvPr id="16" name="Straight Connector 15"/>
            <p:cNvCxnSpPr/>
            <p:nvPr/>
          </p:nvCxnSpPr>
          <p:spPr>
            <a:xfrm>
              <a:off x="8136343"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108654" y="5241572"/>
              <a:ext cx="770030"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85%</a:t>
              </a:r>
            </a:p>
          </p:txBody>
        </p:sp>
        <p:sp>
          <p:nvSpPr>
            <p:cNvPr id="31" name="TextBox 30"/>
            <p:cNvSpPr txBox="1"/>
            <p:nvPr/>
          </p:nvSpPr>
          <p:spPr>
            <a:xfrm>
              <a:off x="8796828" y="5207675"/>
              <a:ext cx="1560311"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Of enterprises using</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I by 2020</a:t>
              </a:r>
            </a:p>
          </p:txBody>
        </p:sp>
        <p:graphicFrame>
          <p:nvGraphicFramePr>
            <p:cNvPr id="32" name="Chart 31">
              <a:extLst>
                <a:ext uri="{FF2B5EF4-FFF2-40B4-BE49-F238E27FC236}">
                  <a16:creationId xmlns:a16="http://schemas.microsoft.com/office/drawing/2014/main" id="{1BD4F90A-89A9-4594-AD26-DF36DF0D84AC}"/>
                </a:ext>
              </a:extLst>
            </p:cNvPr>
            <p:cNvGraphicFramePr/>
            <p:nvPr>
              <p:extLst>
                <p:ext uri="{D42A27DB-BD31-4B8C-83A1-F6EECF244321}">
                  <p14:modId xmlns:p14="http://schemas.microsoft.com/office/powerpoint/2010/main" val="159678727"/>
                </p:ext>
              </p:extLst>
            </p:nvPr>
          </p:nvGraphicFramePr>
          <p:xfrm>
            <a:off x="504021" y="4968794"/>
            <a:ext cx="1534272" cy="1022848"/>
          </p:xfrm>
          <a:graphic>
            <a:graphicData uri="http://schemas.openxmlformats.org/drawingml/2006/chart">
              <c:chart xmlns:c="http://schemas.openxmlformats.org/drawingml/2006/chart" xmlns:r="http://schemas.openxmlformats.org/officeDocument/2006/relationships" r:id="rId3"/>
            </a:graphicData>
          </a:graphic>
        </p:graphicFrame>
        <p:sp>
          <p:nvSpPr>
            <p:cNvPr id="52" name="TextBox 51">
              <a:extLst>
                <a:ext uri="{FF2B5EF4-FFF2-40B4-BE49-F238E27FC236}">
                  <a16:creationId xmlns:a16="http://schemas.microsoft.com/office/drawing/2014/main" id="{491D0CB2-DFA4-4B66-ADC6-4691E4B3FA94}"/>
                </a:ext>
              </a:extLst>
            </p:cNvPr>
            <p:cNvSpPr txBox="1"/>
            <p:nvPr/>
          </p:nvSpPr>
          <p:spPr>
            <a:xfrm>
              <a:off x="893638" y="5244966"/>
              <a:ext cx="770030"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lang="en-US" sz="1600" b="1" dirty="0">
                  <a:latin typeface="Segoe UI Semibold" charset="0"/>
                  <a:ea typeface="Segoe UI Semibold" charset="0"/>
                  <a:cs typeface="Segoe UI Semibold" charset="0"/>
                </a:rPr>
                <a:t>9</a:t>
              </a: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5%</a:t>
              </a:r>
            </a:p>
          </p:txBody>
        </p:sp>
        <p:graphicFrame>
          <p:nvGraphicFramePr>
            <p:cNvPr id="42" name="Chart 41">
              <a:extLst>
                <a:ext uri="{FF2B5EF4-FFF2-40B4-BE49-F238E27FC236}">
                  <a16:creationId xmlns:a16="http://schemas.microsoft.com/office/drawing/2014/main" id="{1DD8353B-FABB-4C77-B9BE-37CE4538EEB2}"/>
                </a:ext>
              </a:extLst>
            </p:cNvPr>
            <p:cNvGraphicFramePr/>
            <p:nvPr>
              <p:extLst>
                <p:ext uri="{D42A27DB-BD31-4B8C-83A1-F6EECF244321}">
                  <p14:modId xmlns:p14="http://schemas.microsoft.com/office/powerpoint/2010/main" val="2204087100"/>
                </p:ext>
              </p:extLst>
            </p:nvPr>
          </p:nvGraphicFramePr>
          <p:xfrm>
            <a:off x="7723952" y="4966733"/>
            <a:ext cx="1520914" cy="1022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9" name="Chart 58">
              <a:extLst>
                <a:ext uri="{FF2B5EF4-FFF2-40B4-BE49-F238E27FC236}">
                  <a16:creationId xmlns:a16="http://schemas.microsoft.com/office/drawing/2014/main" id="{C1D92418-DEC2-4D02-8661-16870DEEB0AA}"/>
                </a:ext>
              </a:extLst>
            </p:cNvPr>
            <p:cNvGraphicFramePr/>
            <p:nvPr>
              <p:extLst>
                <p:ext uri="{D42A27DB-BD31-4B8C-83A1-F6EECF244321}">
                  <p14:modId xmlns:p14="http://schemas.microsoft.com/office/powerpoint/2010/main" val="2298648815"/>
                </p:ext>
              </p:extLst>
            </p:nvPr>
          </p:nvGraphicFramePr>
          <p:xfrm>
            <a:off x="3885573" y="4963610"/>
            <a:ext cx="2123311" cy="1022400"/>
          </p:xfrm>
          <a:graphic>
            <a:graphicData uri="http://schemas.openxmlformats.org/drawingml/2006/chart">
              <c:chart xmlns:c="http://schemas.openxmlformats.org/drawingml/2006/chart" xmlns:r="http://schemas.openxmlformats.org/officeDocument/2006/relationships" r:id="rId5"/>
            </a:graphicData>
          </a:graphic>
        </p:graphicFrame>
      </p:grpSp>
    </p:spTree>
    <p:extLst>
      <p:ext uri="{BB962C8B-B14F-4D97-AF65-F5344CB8AC3E}">
        <p14:creationId xmlns:p14="http://schemas.microsoft.com/office/powerpoint/2010/main" val="395819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a:lstStyle/>
          <a:p>
            <a:r>
              <a:rPr lang="en-US" spc="-150" dirty="0">
                <a:solidFill>
                  <a:schemeClr val="tx2"/>
                </a:solidFill>
              </a:rPr>
              <a:t>AI-enabled devices</a:t>
            </a:r>
            <a:endParaRPr lang="en-IN" spc="-150" dirty="0">
              <a:solidFill>
                <a:schemeClr val="tx2"/>
              </a:solidFill>
            </a:endParaRPr>
          </a:p>
        </p:txBody>
      </p:sp>
      <p:sp>
        <p:nvSpPr>
          <p:cNvPr id="2" name="AutoShape 4" descr="Image result for smart camera icon">
            <a:extLst>
              <a:ext uri="{FF2B5EF4-FFF2-40B4-BE49-F238E27FC236}">
                <a16:creationId xmlns:a16="http://schemas.microsoft.com/office/drawing/2014/main" id="{768AD1AF-97F0-4B86-9063-47045D3A3195}"/>
              </a:ext>
            </a:extLst>
          </p:cNvPr>
          <p:cNvSpPr>
            <a:spLocks noChangeAspect="1" noChangeArrowheads="1"/>
          </p:cNvSpPr>
          <p:nvPr/>
        </p:nvSpPr>
        <p:spPr bwMode="auto">
          <a:xfrm>
            <a:off x="5943552" y="231133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pic>
        <p:nvPicPr>
          <p:cNvPr id="49" name="Picture 48">
            <a:extLst>
              <a:ext uri="{FF2B5EF4-FFF2-40B4-BE49-F238E27FC236}">
                <a16:creationId xmlns:a16="http://schemas.microsoft.com/office/drawing/2014/main" id="{DCA25C07-E786-46C2-8BEA-17711181026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87048" y="1515927"/>
            <a:ext cx="3217809" cy="2359152"/>
          </a:xfrm>
          <a:prstGeom prst="rect">
            <a:avLst/>
          </a:prstGeom>
        </p:spPr>
      </p:pic>
      <p:sp>
        <p:nvSpPr>
          <p:cNvPr id="24" name="Text Placeholder 84">
            <a:extLst>
              <a:ext uri="{FF2B5EF4-FFF2-40B4-BE49-F238E27FC236}">
                <a16:creationId xmlns:a16="http://schemas.microsoft.com/office/drawing/2014/main" id="{B276D20D-290F-4775-8810-A887F8AC9FB7}"/>
              </a:ext>
            </a:extLst>
          </p:cNvPr>
          <p:cNvSpPr txBox="1">
            <a:spLocks/>
          </p:cNvSpPr>
          <p:nvPr/>
        </p:nvSpPr>
        <p:spPr>
          <a:xfrm>
            <a:off x="4705083"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factory</a:t>
            </a:r>
          </a:p>
        </p:txBody>
      </p:sp>
      <p:sp>
        <p:nvSpPr>
          <p:cNvPr id="25" name="Text Placeholder 84">
            <a:extLst>
              <a:ext uri="{FF2B5EF4-FFF2-40B4-BE49-F238E27FC236}">
                <a16:creationId xmlns:a16="http://schemas.microsoft.com/office/drawing/2014/main" id="{A0F70F74-F57D-4BA9-AAA2-22C13D576148}"/>
              </a:ext>
            </a:extLst>
          </p:cNvPr>
          <p:cNvSpPr txBox="1">
            <a:spLocks/>
          </p:cNvSpPr>
          <p:nvPr/>
        </p:nvSpPr>
        <p:spPr>
          <a:xfrm>
            <a:off x="4705083"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kitchen</a:t>
            </a:r>
          </a:p>
        </p:txBody>
      </p:sp>
      <p:sp>
        <p:nvSpPr>
          <p:cNvPr id="26" name="Text Placeholder 84">
            <a:extLst>
              <a:ext uri="{FF2B5EF4-FFF2-40B4-BE49-F238E27FC236}">
                <a16:creationId xmlns:a16="http://schemas.microsoft.com/office/drawing/2014/main" id="{AF6652EF-5993-4D6E-A88D-A4B27CBFFD2B}"/>
              </a:ext>
            </a:extLst>
          </p:cNvPr>
          <p:cNvSpPr txBox="1">
            <a:spLocks/>
          </p:cNvSpPr>
          <p:nvPr/>
        </p:nvSpPr>
        <p:spPr>
          <a:xfrm>
            <a:off x="4705083" y="531777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bath</a:t>
            </a:r>
          </a:p>
        </p:txBody>
      </p:sp>
      <p:pic>
        <p:nvPicPr>
          <p:cNvPr id="33" name="Picture 32" descr="Graphite Invoke speaker on kitchen counter next to man holding coffee cup">
            <a:extLst>
              <a:ext uri="{FF2B5EF4-FFF2-40B4-BE49-F238E27FC236}">
                <a16:creationId xmlns:a16="http://schemas.microsoft.com/office/drawing/2014/main" id="{3BD86A33-1A69-4A3B-AA3A-5BE5F6EB2B8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309199" y="1511977"/>
            <a:ext cx="3215556" cy="2359152"/>
          </a:xfrm>
          <a:custGeom>
            <a:avLst/>
            <a:gdLst>
              <a:gd name="connsiteX0" fmla="*/ 0 w 3639312"/>
              <a:gd name="connsiteY0" fmla="*/ 0 h 2670048"/>
              <a:gd name="connsiteX1" fmla="*/ 3639312 w 3639312"/>
              <a:gd name="connsiteY1" fmla="*/ 0 h 2670048"/>
              <a:gd name="connsiteX2" fmla="*/ 3639312 w 3639312"/>
              <a:gd name="connsiteY2" fmla="*/ 2670048 h 2670048"/>
              <a:gd name="connsiteX3" fmla="*/ 0 w 3639312"/>
              <a:gd name="connsiteY3" fmla="*/ 2670048 h 2670048"/>
            </a:gdLst>
            <a:ahLst/>
            <a:cxnLst>
              <a:cxn ang="0">
                <a:pos x="connsiteX0" y="connsiteY0"/>
              </a:cxn>
              <a:cxn ang="0">
                <a:pos x="connsiteX1" y="connsiteY1"/>
              </a:cxn>
              <a:cxn ang="0">
                <a:pos x="connsiteX2" y="connsiteY2"/>
              </a:cxn>
              <a:cxn ang="0">
                <a:pos x="connsiteX3" y="connsiteY3"/>
              </a:cxn>
            </a:cxnLst>
            <a:rect l="l" t="t" r="r" b="b"/>
            <a:pathLst>
              <a:path w="3639312" h="2670048">
                <a:moveTo>
                  <a:pt x="0" y="0"/>
                </a:moveTo>
                <a:lnTo>
                  <a:pt x="3639312" y="0"/>
                </a:lnTo>
                <a:lnTo>
                  <a:pt x="3639312" y="2670048"/>
                </a:lnTo>
                <a:lnTo>
                  <a:pt x="0" y="2670048"/>
                </a:lnTo>
                <a:close/>
              </a:path>
            </a:pathLst>
          </a:custGeom>
          <a:noFill/>
          <a:extLst>
            <a:ext uri="{909E8E84-426E-40DD-AFC4-6F175D3DCCD1}">
              <a14:hiddenFill xmlns:a14="http://schemas.microsoft.com/office/drawing/2010/main">
                <a:solidFill>
                  <a:srgbClr val="FFFFFF"/>
                </a:solidFill>
              </a14:hiddenFill>
            </a:ext>
          </a:extLst>
        </p:spPr>
      </p:pic>
      <p:sp>
        <p:nvSpPr>
          <p:cNvPr id="27" name="Text Placeholder 84">
            <a:extLst>
              <a:ext uri="{FF2B5EF4-FFF2-40B4-BE49-F238E27FC236}">
                <a16:creationId xmlns:a16="http://schemas.microsoft.com/office/drawing/2014/main" id="{EF5F0112-5D94-4B3C-826D-61EA036AC772}"/>
              </a:ext>
            </a:extLst>
          </p:cNvPr>
          <p:cNvSpPr txBox="1">
            <a:spLocks/>
          </p:cNvSpPr>
          <p:nvPr/>
        </p:nvSpPr>
        <p:spPr>
          <a:xfrm>
            <a:off x="8526108"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Voice-activated speakers</a:t>
            </a:r>
          </a:p>
        </p:txBody>
      </p:sp>
      <p:sp>
        <p:nvSpPr>
          <p:cNvPr id="28" name="Text Placeholder 84">
            <a:extLst>
              <a:ext uri="{FF2B5EF4-FFF2-40B4-BE49-F238E27FC236}">
                <a16:creationId xmlns:a16="http://schemas.microsoft.com/office/drawing/2014/main" id="{F7488938-1938-4E75-91D7-361EB970A8C6}"/>
              </a:ext>
            </a:extLst>
          </p:cNvPr>
          <p:cNvSpPr txBox="1">
            <a:spLocks/>
          </p:cNvSpPr>
          <p:nvPr/>
        </p:nvSpPr>
        <p:spPr>
          <a:xfrm>
            <a:off x="8526108"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cameras</a:t>
            </a:r>
          </a:p>
        </p:txBody>
      </p:sp>
      <p:sp>
        <p:nvSpPr>
          <p:cNvPr id="43" name="Text Placeholder 84">
            <a:extLst>
              <a:ext uri="{FF2B5EF4-FFF2-40B4-BE49-F238E27FC236}">
                <a16:creationId xmlns:a16="http://schemas.microsoft.com/office/drawing/2014/main" id="{CD512860-E504-483F-8C41-0D1B285ABF80}"/>
              </a:ext>
            </a:extLst>
          </p:cNvPr>
          <p:cNvSpPr txBox="1">
            <a:spLocks/>
          </p:cNvSpPr>
          <p:nvPr/>
        </p:nvSpPr>
        <p:spPr>
          <a:xfrm>
            <a:off x="884007"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rones</a:t>
            </a:r>
          </a:p>
        </p:txBody>
      </p:sp>
      <p:pic>
        <p:nvPicPr>
          <p:cNvPr id="48" name="Picture 47">
            <a:extLst>
              <a:ext uri="{FF2B5EF4-FFF2-40B4-BE49-F238E27FC236}">
                <a16:creationId xmlns:a16="http://schemas.microsoft.com/office/drawing/2014/main" id="{99710F7D-490C-451D-AA6D-D88C4325FE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14" t="-1649" b="-3472"/>
          <a:stretch/>
        </p:blipFill>
        <p:spPr>
          <a:xfrm>
            <a:off x="665680" y="1515924"/>
            <a:ext cx="3218591" cy="2359728"/>
          </a:xfrm>
          <a:prstGeom prst="rect">
            <a:avLst/>
          </a:prstGeom>
          <a:solidFill>
            <a:srgbClr val="FF9002"/>
          </a:solidFill>
        </p:spPr>
      </p:pic>
      <p:sp>
        <p:nvSpPr>
          <p:cNvPr id="23" name="Text Placeholder 84">
            <a:extLst>
              <a:ext uri="{FF2B5EF4-FFF2-40B4-BE49-F238E27FC236}">
                <a16:creationId xmlns:a16="http://schemas.microsoft.com/office/drawing/2014/main" id="{68804410-B252-4523-AF8C-CC134A40C952}"/>
              </a:ext>
            </a:extLst>
          </p:cNvPr>
          <p:cNvSpPr txBox="1">
            <a:spLocks/>
          </p:cNvSpPr>
          <p:nvPr/>
        </p:nvSpPr>
        <p:spPr>
          <a:xfrm>
            <a:off x="884007"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kiosks</a:t>
            </a:r>
          </a:p>
        </p:txBody>
      </p:sp>
      <p:sp>
        <p:nvSpPr>
          <p:cNvPr id="19" name="Rectangle 18">
            <a:extLst>
              <a:ext uri="{FF2B5EF4-FFF2-40B4-BE49-F238E27FC236}">
                <a16:creationId xmlns:a16="http://schemas.microsoft.com/office/drawing/2014/main" id="{CA775AE4-A3E5-427E-A972-29E09BA9C09D}"/>
              </a:ext>
            </a:extLst>
          </p:cNvPr>
          <p:cNvSpPr/>
          <p:nvPr/>
        </p:nvSpPr>
        <p:spPr bwMode="auto">
          <a:xfrm>
            <a:off x="4487047" y="1515924"/>
            <a:ext cx="3217810" cy="4253109"/>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20" name="Rectangle 19">
            <a:extLst>
              <a:ext uri="{FF2B5EF4-FFF2-40B4-BE49-F238E27FC236}">
                <a16:creationId xmlns:a16="http://schemas.microsoft.com/office/drawing/2014/main" id="{02BD7A3F-6C87-4830-A0B1-16F0CDE5D4E0}"/>
              </a:ext>
            </a:extLst>
          </p:cNvPr>
          <p:cNvSpPr/>
          <p:nvPr/>
        </p:nvSpPr>
        <p:spPr bwMode="auto">
          <a:xfrm>
            <a:off x="8307633" y="1513843"/>
            <a:ext cx="3218688" cy="4253109"/>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7" name="Rectangle 16">
            <a:extLst>
              <a:ext uri="{FF2B5EF4-FFF2-40B4-BE49-F238E27FC236}">
                <a16:creationId xmlns:a16="http://schemas.microsoft.com/office/drawing/2014/main" id="{A969DBD9-36BB-416C-8E7C-21D3D62890B6}"/>
              </a:ext>
            </a:extLst>
          </p:cNvPr>
          <p:cNvSpPr/>
          <p:nvPr/>
        </p:nvSpPr>
        <p:spPr bwMode="auto">
          <a:xfrm>
            <a:off x="666661" y="1515925"/>
            <a:ext cx="3216629" cy="4253108"/>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00232A0F-10F5-4E3B-AEB1-52DAB0120A72}"/>
              </a:ext>
            </a:extLst>
          </p:cNvPr>
          <p:cNvSpPr/>
          <p:nvPr/>
        </p:nvSpPr>
        <p:spPr bwMode="auto">
          <a:xfrm>
            <a:off x="664114"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ustom AI</a:t>
            </a:r>
            <a:endParaRPr lang="en-US" sz="1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78047BD9-747A-4977-A8DD-7949A6277191}"/>
              </a:ext>
            </a:extLst>
          </p:cNvPr>
          <p:cNvSpPr/>
          <p:nvPr/>
        </p:nvSpPr>
        <p:spPr bwMode="auto">
          <a:xfrm>
            <a:off x="4485682"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cs typeface="Segoe UI" pitchFamily="34" charset="0"/>
              </a:rPr>
              <a:t>Enterprise AI</a:t>
            </a:r>
          </a:p>
        </p:txBody>
      </p:sp>
      <p:sp>
        <p:nvSpPr>
          <p:cNvPr id="41" name="Rectangle 40">
            <a:extLst>
              <a:ext uri="{FF2B5EF4-FFF2-40B4-BE49-F238E27FC236}">
                <a16:creationId xmlns:a16="http://schemas.microsoft.com/office/drawing/2014/main" id="{D3F76BC4-70C4-410D-B70D-1B09441CFE59}"/>
              </a:ext>
            </a:extLst>
          </p:cNvPr>
          <p:cNvSpPr/>
          <p:nvPr/>
        </p:nvSpPr>
        <p:spPr bwMode="auto">
          <a:xfrm>
            <a:off x="8306363"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cs typeface="Segoe UI" pitchFamily="34" charset="0"/>
              </a:rPr>
              <a:t>Developer AI</a:t>
            </a:r>
          </a:p>
        </p:txBody>
      </p:sp>
    </p:spTree>
    <p:extLst>
      <p:ext uri="{BB962C8B-B14F-4D97-AF65-F5344CB8AC3E}">
        <p14:creationId xmlns:p14="http://schemas.microsoft.com/office/powerpoint/2010/main" val="409836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5AC59D46-857C-4EB3-B02D-9AFBB5C2309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05529" y="1700736"/>
            <a:ext cx="3329267" cy="1436004"/>
          </a:xfrm>
          <a:custGeom>
            <a:avLst/>
            <a:gdLst>
              <a:gd name="connsiteX0" fmla="*/ 0 w 3329267"/>
              <a:gd name="connsiteY0" fmla="*/ 0 h 1436004"/>
              <a:gd name="connsiteX1" fmla="*/ 3329267 w 3329267"/>
              <a:gd name="connsiteY1" fmla="*/ 0 h 1436004"/>
              <a:gd name="connsiteX2" fmla="*/ 3329267 w 3329267"/>
              <a:gd name="connsiteY2" fmla="*/ 1436004 h 1436004"/>
              <a:gd name="connsiteX3" fmla="*/ 0 w 3329267"/>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29267" h="1436004">
                <a:moveTo>
                  <a:pt x="0" y="0"/>
                </a:moveTo>
                <a:lnTo>
                  <a:pt x="3329267" y="0"/>
                </a:lnTo>
                <a:lnTo>
                  <a:pt x="3329267" y="1436004"/>
                </a:lnTo>
                <a:lnTo>
                  <a:pt x="0" y="1436004"/>
                </a:lnTo>
                <a:close/>
              </a:path>
            </a:pathLst>
          </a:custGeom>
        </p:spPr>
      </p:pic>
      <p:pic>
        <p:nvPicPr>
          <p:cNvPr id="40" name="Picture 39">
            <a:extLst>
              <a:ext uri="{FF2B5EF4-FFF2-40B4-BE49-F238E27FC236}">
                <a16:creationId xmlns:a16="http://schemas.microsoft.com/office/drawing/2014/main" id="{669A14B6-EA58-4615-A480-D0BB27CA12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94110" y="1700735"/>
            <a:ext cx="3351306" cy="1436004"/>
          </a:xfrm>
          <a:custGeom>
            <a:avLst/>
            <a:gdLst>
              <a:gd name="connsiteX0" fmla="*/ 0 w 3351306"/>
              <a:gd name="connsiteY0" fmla="*/ 0 h 1436004"/>
              <a:gd name="connsiteX1" fmla="*/ 3351306 w 3351306"/>
              <a:gd name="connsiteY1" fmla="*/ 0 h 1436004"/>
              <a:gd name="connsiteX2" fmla="*/ 3351306 w 3351306"/>
              <a:gd name="connsiteY2" fmla="*/ 1436004 h 1436004"/>
              <a:gd name="connsiteX3" fmla="*/ 0 w 3351306"/>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51306" h="1436004">
                <a:moveTo>
                  <a:pt x="0" y="0"/>
                </a:moveTo>
                <a:lnTo>
                  <a:pt x="3351306" y="0"/>
                </a:lnTo>
                <a:lnTo>
                  <a:pt x="3351306" y="1436004"/>
                </a:lnTo>
                <a:lnTo>
                  <a:pt x="0" y="1436004"/>
                </a:lnTo>
                <a:close/>
              </a:path>
            </a:pathLst>
          </a:custGeom>
        </p:spPr>
      </p:pic>
      <p:pic>
        <p:nvPicPr>
          <p:cNvPr id="36" name="Picture 35">
            <a:extLst>
              <a:ext uri="{FF2B5EF4-FFF2-40B4-BE49-F238E27FC236}">
                <a16:creationId xmlns:a16="http://schemas.microsoft.com/office/drawing/2014/main" id="{2CE820A5-6836-40A0-A915-32B95AF1823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82690" y="1700735"/>
            <a:ext cx="3349820" cy="1436004"/>
          </a:xfrm>
          <a:custGeom>
            <a:avLst/>
            <a:gdLst>
              <a:gd name="connsiteX0" fmla="*/ 0 w 3349820"/>
              <a:gd name="connsiteY0" fmla="*/ 0 h 1436004"/>
              <a:gd name="connsiteX1" fmla="*/ 3349820 w 3349820"/>
              <a:gd name="connsiteY1" fmla="*/ 0 h 1436004"/>
              <a:gd name="connsiteX2" fmla="*/ 3349820 w 3349820"/>
              <a:gd name="connsiteY2" fmla="*/ 1436004 h 1436004"/>
              <a:gd name="connsiteX3" fmla="*/ 0 w 3349820"/>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49820" h="1436004">
                <a:moveTo>
                  <a:pt x="0" y="0"/>
                </a:moveTo>
                <a:lnTo>
                  <a:pt x="3349820" y="0"/>
                </a:lnTo>
                <a:lnTo>
                  <a:pt x="3349820" y="1436004"/>
                </a:lnTo>
                <a:lnTo>
                  <a:pt x="0" y="1436004"/>
                </a:lnTo>
                <a:close/>
              </a:path>
            </a:pathLst>
          </a:custGeom>
        </p:spPr>
      </p:pic>
      <p:sp>
        <p:nvSpPr>
          <p:cNvPr id="2" name="Title 1">
            <a:extLst>
              <a:ext uri="{FF2B5EF4-FFF2-40B4-BE49-F238E27FC236}">
                <a16:creationId xmlns:a16="http://schemas.microsoft.com/office/drawing/2014/main" id="{23380DF7-A36B-486B-B14A-0DD4513F5C8A}"/>
              </a:ext>
            </a:extLst>
          </p:cNvPr>
          <p:cNvSpPr>
            <a:spLocks noGrp="1"/>
          </p:cNvSpPr>
          <p:nvPr>
            <p:ph type="title"/>
          </p:nvPr>
        </p:nvSpPr>
        <p:spPr/>
        <p:txBody>
          <a:bodyPr/>
          <a:lstStyle/>
          <a:p>
            <a:pPr lvl="0">
              <a:defRPr/>
            </a:pPr>
            <a:r>
              <a:rPr lang="en-US" spc="-150" dirty="0">
                <a:solidFill>
                  <a:schemeClr val="tx2"/>
                </a:solidFill>
              </a:rPr>
              <a:t>Microsoft AI for accessibility</a:t>
            </a:r>
            <a:br>
              <a:rPr lang="en-US" spc="-150" dirty="0">
                <a:solidFill>
                  <a:schemeClr val="tx2"/>
                </a:solidFill>
              </a:rPr>
            </a:br>
            <a:endParaRPr lang="en-US" spc="-150" dirty="0">
              <a:solidFill>
                <a:schemeClr val="tx2"/>
              </a:solidFill>
            </a:endParaRPr>
          </a:p>
        </p:txBody>
      </p:sp>
      <p:cxnSp>
        <p:nvCxnSpPr>
          <p:cNvPr id="75" name="Straight Connector 74">
            <a:extLst>
              <a:ext uri="{FF2B5EF4-FFF2-40B4-BE49-F238E27FC236}">
                <a16:creationId xmlns:a16="http://schemas.microsoft.com/office/drawing/2014/main" id="{84CB1C77-1DB3-412C-9C89-28FFE32F87AE}"/>
              </a:ext>
            </a:extLst>
          </p:cNvPr>
          <p:cNvCxnSpPr>
            <a:cxnSpLocks/>
          </p:cNvCxnSpPr>
          <p:nvPr/>
        </p:nvCxnSpPr>
        <p:spPr>
          <a:xfrm>
            <a:off x="4363310"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732630DF-B549-45BD-81C1-E0BDB1E7D904}"/>
              </a:ext>
            </a:extLst>
          </p:cNvPr>
          <p:cNvSpPr/>
          <p:nvPr/>
        </p:nvSpPr>
        <p:spPr>
          <a:xfrm>
            <a:off x="777991" y="3309718"/>
            <a:ext cx="3354519" cy="966418"/>
          </a:xfrm>
          <a:prstGeom prst="rect">
            <a:avLst/>
          </a:prstGeom>
          <a:ln>
            <a:noFill/>
          </a:ln>
        </p:spPr>
        <p:txBody>
          <a:bodyPr wrap="square" lIns="0" tIns="0" rIns="0" bIns="0">
            <a:spAutoFit/>
          </a:bodyPr>
          <a:lstStyle/>
          <a:p>
            <a:pPr marL="0" marR="0" lvl="0" indent="0" algn="l" defTabSz="896042" rtl="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Employment</a:t>
            </a:r>
          </a:p>
          <a:p>
            <a:pPr marL="0" marR="0" lvl="0" indent="0" algn="l" defTabSz="896042" rtl="0" eaLnBrk="1" fontAlgn="auto" latinLnBrk="0" hangingPunct="1">
              <a:lnSpc>
                <a:spcPct val="90000"/>
              </a:lnSpc>
              <a:spcBef>
                <a:spcPts val="60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t>Facilitating development </a:t>
            </a:r>
            <a:b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br>
            <a: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t>of professional skills</a:t>
            </a:r>
          </a:p>
        </p:txBody>
      </p:sp>
      <p:sp>
        <p:nvSpPr>
          <p:cNvPr id="91" name="Rectangle 90">
            <a:extLst>
              <a:ext uri="{FF2B5EF4-FFF2-40B4-BE49-F238E27FC236}">
                <a16:creationId xmlns:a16="http://schemas.microsoft.com/office/drawing/2014/main" id="{AE9B1F67-5638-4546-91CD-F5C66594D98E}"/>
              </a:ext>
            </a:extLst>
          </p:cNvPr>
          <p:cNvSpPr/>
          <p:nvPr/>
        </p:nvSpPr>
        <p:spPr>
          <a:xfrm>
            <a:off x="4581463" y="3309718"/>
            <a:ext cx="3363953" cy="938719"/>
          </a:xfrm>
          <a:prstGeom prst="rect">
            <a:avLst/>
          </a:prstGeom>
          <a:ln>
            <a:noFill/>
          </a:ln>
        </p:spPr>
        <p:txBody>
          <a:bodyPr wrap="square" lIns="0" tIns="0" rIns="0" bIns="0">
            <a:spAutoFit/>
          </a:bodyPr>
          <a:lstStyle/>
          <a:p>
            <a:pPr defTabSz="896042">
              <a:spcAft>
                <a:spcPts val="600"/>
              </a:spcAft>
            </a:pPr>
            <a:r>
              <a:rPr lang="en-US" sz="2400" kern="0" dirty="0">
                <a:solidFill>
                  <a:srgbClr val="0078D7"/>
                </a:solidFill>
                <a:latin typeface="Segoe UI Semibold" panose="020B0702040204020203" pitchFamily="34" charset="0"/>
                <a:cs typeface="Segoe UI Semibold" panose="020B0702040204020203" pitchFamily="34" charset="0"/>
              </a:rPr>
              <a:t>Modern life</a:t>
            </a:r>
          </a:p>
          <a:p>
            <a:pPr defTabSz="896042">
              <a:spcAft>
                <a:spcPts val="600"/>
              </a:spcAft>
            </a:pPr>
            <a:r>
              <a:rPr lang="en-US" sz="1600" dirty="0">
                <a:ln w="3175">
                  <a:noFill/>
                </a:ln>
                <a:latin typeface="Segoe UI" panose="020B0502040204020203" pitchFamily="34" charset="0"/>
                <a:cs typeface="Segoe UI" panose="020B0502040204020203" pitchFamily="34" charset="0"/>
              </a:rPr>
              <a:t>Delivering personalized experiences to improve independence</a:t>
            </a:r>
          </a:p>
        </p:txBody>
      </p:sp>
      <p:sp>
        <p:nvSpPr>
          <p:cNvPr id="92" name="Rectangle 91">
            <a:extLst>
              <a:ext uri="{FF2B5EF4-FFF2-40B4-BE49-F238E27FC236}">
                <a16:creationId xmlns:a16="http://schemas.microsoft.com/office/drawing/2014/main" id="{521E0E26-B35F-4403-97FB-FF67EF48C081}"/>
              </a:ext>
            </a:extLst>
          </p:cNvPr>
          <p:cNvSpPr/>
          <p:nvPr/>
        </p:nvSpPr>
        <p:spPr>
          <a:xfrm>
            <a:off x="8399337" y="3309718"/>
            <a:ext cx="3335459" cy="938719"/>
          </a:xfrm>
          <a:prstGeom prst="rect">
            <a:avLst/>
          </a:prstGeom>
          <a:ln>
            <a:noFill/>
          </a:ln>
        </p:spPr>
        <p:txBody>
          <a:bodyPr wrap="square" lIns="0" tIns="0" rIns="0" bIns="0">
            <a:spAutoFit/>
          </a:bodyPr>
          <a:lstStyle/>
          <a:p>
            <a:pPr marL="0" marR="0" lvl="0" indent="0" algn="l" defTabSz="896042" rtl="0" eaLnBrk="1" fontAlgn="auto" latinLnBrk="0" hangingPunct="1">
              <a:lnSpc>
                <a:spcPct val="100000"/>
              </a:lnSpc>
              <a:spcBef>
                <a:spcPts val="0"/>
              </a:spcBef>
              <a:spcAft>
                <a:spcPts val="600"/>
              </a:spcAft>
              <a:buClrTx/>
              <a:buSzTx/>
              <a:buFontTx/>
              <a:buNone/>
              <a:tabLst/>
              <a:defRPr/>
            </a:pPr>
            <a:r>
              <a:rPr lang="en-US" sz="2400" kern="0" dirty="0">
                <a:solidFill>
                  <a:srgbClr val="0078D7"/>
                </a:solidFill>
                <a:latin typeface="Segoe UI Semibold" panose="020B0702040204020203" pitchFamily="34" charset="0"/>
                <a:cs typeface="Segoe UI Semibold" panose="020B0702040204020203" pitchFamily="34" charset="0"/>
              </a:rPr>
              <a:t>Human connection</a:t>
            </a:r>
          </a:p>
          <a:p>
            <a:pPr marL="0" marR="0" lvl="0" indent="0" algn="l" defTabSz="896042" rtl="0" eaLnBrk="1" fontAlgn="auto" latinLnBrk="0" hangingPunct="1">
              <a:lnSpc>
                <a:spcPct val="100000"/>
              </a:lnSpc>
              <a:spcBef>
                <a:spcPts val="0"/>
              </a:spcBef>
              <a:spcAft>
                <a:spcPts val="0"/>
              </a:spcAft>
              <a:buClrTx/>
              <a:buSzTx/>
              <a:buFontTx/>
              <a:buNone/>
              <a:tabLst/>
              <a:defRPr/>
            </a:pPr>
            <a:r>
              <a:rPr lang="en-US" sz="1600" dirty="0">
                <a:ln w="3175">
                  <a:noFill/>
                </a:ln>
                <a:latin typeface="Segoe UI" panose="020B0502040204020203" pitchFamily="34" charset="0"/>
                <a:cs typeface="Segoe UI" panose="020B0502040204020203" pitchFamily="34" charset="0"/>
              </a:rPr>
              <a:t>Providing equal access to information and opportunity</a:t>
            </a:r>
          </a:p>
        </p:txBody>
      </p:sp>
      <p:cxnSp>
        <p:nvCxnSpPr>
          <p:cNvPr id="51" name="Straight Connector 50">
            <a:extLst>
              <a:ext uri="{FF2B5EF4-FFF2-40B4-BE49-F238E27FC236}">
                <a16:creationId xmlns:a16="http://schemas.microsoft.com/office/drawing/2014/main" id="{1237A923-581B-4B63-B6E1-8A81773F883E}"/>
              </a:ext>
            </a:extLst>
          </p:cNvPr>
          <p:cNvCxnSpPr>
            <a:cxnSpLocks/>
          </p:cNvCxnSpPr>
          <p:nvPr/>
        </p:nvCxnSpPr>
        <p:spPr>
          <a:xfrm>
            <a:off x="8175472"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8CB2F1-C8CA-4DC9-AA82-6D3631825180}"/>
              </a:ext>
            </a:extLst>
          </p:cNvPr>
          <p:cNvCxnSpPr>
            <a:cxnSpLocks/>
          </p:cNvCxnSpPr>
          <p:nvPr/>
        </p:nvCxnSpPr>
        <p:spPr>
          <a:xfrm>
            <a:off x="548640"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EC4572C-AF38-4B46-A578-2DEF07434862}"/>
              </a:ext>
            </a:extLst>
          </p:cNvPr>
          <p:cNvCxnSpPr>
            <a:cxnSpLocks/>
          </p:cNvCxnSpPr>
          <p:nvPr/>
        </p:nvCxnSpPr>
        <p:spPr>
          <a:xfrm>
            <a:off x="4363310" y="5150488"/>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0C10C057-1B18-4640-96AF-9EFC97A57818}"/>
              </a:ext>
            </a:extLst>
          </p:cNvPr>
          <p:cNvGrpSpPr/>
          <p:nvPr/>
        </p:nvGrpSpPr>
        <p:grpSpPr>
          <a:xfrm>
            <a:off x="7928249" y="4659559"/>
            <a:ext cx="494448" cy="494448"/>
            <a:chOff x="7983116" y="4883419"/>
            <a:chExt cx="494448" cy="494448"/>
          </a:xfrm>
        </p:grpSpPr>
        <p:sp>
          <p:nvSpPr>
            <p:cNvPr id="12" name="Oval 11">
              <a:hlinkClick r:id="rId6" action="ppaction://hlinksldjump"/>
              <a:extLst>
                <a:ext uri="{FF2B5EF4-FFF2-40B4-BE49-F238E27FC236}">
                  <a16:creationId xmlns:a16="http://schemas.microsoft.com/office/drawing/2014/main" id="{437F8BBE-A56C-4187-AA32-8F74CE94CF79}"/>
                </a:ext>
              </a:extLst>
            </p:cNvPr>
            <p:cNvSpPr/>
            <p:nvPr/>
          </p:nvSpPr>
          <p:spPr bwMode="auto">
            <a:xfrm>
              <a:off x="7983116" y="488341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Isosceles Triangle 12">
              <a:extLst>
                <a:ext uri="{FF2B5EF4-FFF2-40B4-BE49-F238E27FC236}">
                  <a16:creationId xmlns:a16="http://schemas.microsoft.com/office/drawing/2014/main" id="{CBDCFD0B-68E5-4DB5-B516-8140E48337EE}"/>
                </a:ext>
              </a:extLst>
            </p:cNvPr>
            <p:cNvSpPr/>
            <p:nvPr/>
          </p:nvSpPr>
          <p:spPr bwMode="auto">
            <a:xfrm rot="5400000">
              <a:off x="8138935" y="5033078"/>
              <a:ext cx="226351" cy="195130"/>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8" name="Oval 87">
            <a:extLst>
              <a:ext uri="{FF2B5EF4-FFF2-40B4-BE49-F238E27FC236}">
                <a16:creationId xmlns:a16="http://schemas.microsoft.com/office/drawing/2014/main" id="{CCCC6133-AA20-4F6B-B2E5-4F2C5688465E}"/>
              </a:ext>
            </a:extLst>
          </p:cNvPr>
          <p:cNvSpPr/>
          <p:nvPr/>
        </p:nvSpPr>
        <p:spPr bwMode="auto">
          <a:xfrm>
            <a:off x="301752" y="465955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hlinkClick r:id="rId7"/>
            <a:extLst>
              <a:ext uri="{FF2B5EF4-FFF2-40B4-BE49-F238E27FC236}">
                <a16:creationId xmlns:a16="http://schemas.microsoft.com/office/drawing/2014/main" id="{2E9E7A29-9FCF-479C-AF42-AD355329A2F7}"/>
              </a:ext>
            </a:extLst>
          </p:cNvPr>
          <p:cNvSpPr/>
          <p:nvPr/>
        </p:nvSpPr>
        <p:spPr bwMode="auto">
          <a:xfrm>
            <a:off x="913822" y="4495303"/>
            <a:ext cx="2651760"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lang="en-US" sz="1600" dirty="0">
                <a:ln w="3175">
                  <a:noFill/>
                </a:ln>
                <a:solidFill>
                  <a:schemeClr val="tx1"/>
                </a:solidFill>
                <a:latin typeface="Segoe UI" panose="020B0502040204020203" pitchFamily="34" charset="0"/>
                <a:cs typeface="Segoe UI" panose="020B0502040204020203" pitchFamily="34" charset="0"/>
              </a:rPr>
              <a:t>How Microsoft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the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visually-impaired</a:t>
            </a:r>
          </a:p>
        </p:txBody>
      </p:sp>
      <p:sp>
        <p:nvSpPr>
          <p:cNvPr id="94" name="Rectangle 93">
            <a:hlinkClick r:id="rId8"/>
            <a:extLst>
              <a:ext uri="{FF2B5EF4-FFF2-40B4-BE49-F238E27FC236}">
                <a16:creationId xmlns:a16="http://schemas.microsoft.com/office/drawing/2014/main" id="{A3F99452-7CD7-4A99-B497-6A8B49FDCF51}"/>
              </a:ext>
            </a:extLst>
          </p:cNvPr>
          <p:cNvSpPr/>
          <p:nvPr/>
        </p:nvSpPr>
        <p:spPr bwMode="auto">
          <a:xfrm>
            <a:off x="4713446" y="4525805"/>
            <a:ext cx="2532424"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pPr>
            <a:r>
              <a:rPr lang="en-US" sz="1600" dirty="0">
                <a:ln w="3175">
                  <a:noFill/>
                </a:ln>
                <a:solidFill>
                  <a:schemeClr val="tx1"/>
                </a:solidFill>
                <a:latin typeface="Segoe UI" panose="020B0502040204020203" pitchFamily="34" charset="0"/>
                <a:cs typeface="Segoe UI" panose="020B0502040204020203" pitchFamily="34" charset="0"/>
              </a:rPr>
              <a:t>How Helpicto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non-verbal children</a:t>
            </a:r>
          </a:p>
        </p:txBody>
      </p:sp>
      <p:sp>
        <p:nvSpPr>
          <p:cNvPr id="95" name="Rectangle 94">
            <a:hlinkClick r:id="rId6" action="ppaction://hlinksldjump"/>
            <a:extLst>
              <a:ext uri="{FF2B5EF4-FFF2-40B4-BE49-F238E27FC236}">
                <a16:creationId xmlns:a16="http://schemas.microsoft.com/office/drawing/2014/main" id="{4C403C99-138B-4F5B-9E56-C16F0BDEF392}"/>
              </a:ext>
            </a:extLst>
          </p:cNvPr>
          <p:cNvSpPr/>
          <p:nvPr/>
        </p:nvSpPr>
        <p:spPr bwMode="auto">
          <a:xfrm>
            <a:off x="8534396" y="4528218"/>
            <a:ext cx="2651760"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pPr>
            <a:r>
              <a:rPr lang="en-US" sz="1600" dirty="0">
                <a:ln w="3175">
                  <a:noFill/>
                </a:ln>
                <a:solidFill>
                  <a:schemeClr val="tx1"/>
                </a:solidFill>
                <a:latin typeface="Segoe UI" panose="020B0502040204020203" pitchFamily="34" charset="0"/>
                <a:cs typeface="Segoe UI" panose="020B0502040204020203" pitchFamily="34" charset="0"/>
              </a:rPr>
              <a:t>How RIT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the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hearing-impaired </a:t>
            </a:r>
          </a:p>
        </p:txBody>
      </p:sp>
      <p:pic>
        <p:nvPicPr>
          <p:cNvPr id="97" name="Picture 2" descr="Placeholder with grey background and dimension watermark without any imagery">
            <a:extLst>
              <a:ext uri="{FF2B5EF4-FFF2-40B4-BE49-F238E27FC236}">
                <a16:creationId xmlns:a16="http://schemas.microsoft.com/office/drawing/2014/main" id="{5F4BE728-706B-4852-904F-313F41247272}"/>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15866" b="-15866"/>
          <a:stretch/>
        </p:blipFill>
        <p:spPr bwMode="auto">
          <a:xfrm>
            <a:off x="691119" y="5278230"/>
            <a:ext cx="1154554" cy="930691"/>
          </a:xfrm>
          <a:prstGeom prst="rect">
            <a:avLst/>
          </a:prstGeom>
          <a:noFill/>
        </p:spPr>
      </p:pic>
      <p:pic>
        <p:nvPicPr>
          <p:cNvPr id="98" name="Picture 4" descr="Image result for helpicto logo">
            <a:extLst>
              <a:ext uri="{FF2B5EF4-FFF2-40B4-BE49-F238E27FC236}">
                <a16:creationId xmlns:a16="http://schemas.microsoft.com/office/drawing/2014/main" id="{DB58B69D-FBEF-4B24-8528-C23600F3D68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32421" y="5359451"/>
            <a:ext cx="2216431" cy="589061"/>
          </a:xfrm>
          <a:prstGeom prst="rect">
            <a:avLst/>
          </a:prstGeom>
          <a:noFill/>
        </p:spPr>
      </p:pic>
      <p:pic>
        <p:nvPicPr>
          <p:cNvPr id="100" name="Picture 12" descr="Image result for Rochester institute of technology svg logo">
            <a:extLst>
              <a:ext uri="{FF2B5EF4-FFF2-40B4-BE49-F238E27FC236}">
                <a16:creationId xmlns:a16="http://schemas.microsoft.com/office/drawing/2014/main" id="{511E5899-BA55-47BB-B99F-E80ECDF6A62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l="-9141" t="-9141" r="-9141" b="-9141"/>
          <a:stretch/>
        </p:blipFill>
        <p:spPr bwMode="auto">
          <a:xfrm>
            <a:off x="8399337" y="5318058"/>
            <a:ext cx="1920044" cy="631892"/>
          </a:xfrm>
          <a:prstGeom prst="rect">
            <a:avLst/>
          </a:prstGeom>
          <a:noFill/>
        </p:spPr>
      </p:pic>
      <p:cxnSp>
        <p:nvCxnSpPr>
          <p:cNvPr id="52" name="Straight Connector 51">
            <a:extLst>
              <a:ext uri="{FF2B5EF4-FFF2-40B4-BE49-F238E27FC236}">
                <a16:creationId xmlns:a16="http://schemas.microsoft.com/office/drawing/2014/main" id="{033C83D1-6A8A-4FA7-80CB-700B26D99149}"/>
              </a:ext>
            </a:extLst>
          </p:cNvPr>
          <p:cNvCxnSpPr>
            <a:cxnSpLocks/>
          </p:cNvCxnSpPr>
          <p:nvPr/>
        </p:nvCxnSpPr>
        <p:spPr>
          <a:xfrm>
            <a:off x="8175472" y="5150488"/>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BEFD24-2A49-48D9-BCE6-C7B7430E4C4D}"/>
              </a:ext>
            </a:extLst>
          </p:cNvPr>
          <p:cNvCxnSpPr>
            <a:cxnSpLocks/>
          </p:cNvCxnSpPr>
          <p:nvPr/>
        </p:nvCxnSpPr>
        <p:spPr>
          <a:xfrm>
            <a:off x="548640" y="5184599"/>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9E45E3DE-8570-4AA9-A69F-5EBA652A5D72}"/>
              </a:ext>
            </a:extLst>
          </p:cNvPr>
          <p:cNvSpPr/>
          <p:nvPr/>
        </p:nvSpPr>
        <p:spPr bwMode="auto">
          <a:xfrm>
            <a:off x="4116086" y="465955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Browser_4" title="Icon of a website or an app window">
            <a:hlinkClick r:id="rId8"/>
            <a:extLst>
              <a:ext uri="{FF2B5EF4-FFF2-40B4-BE49-F238E27FC236}">
                <a16:creationId xmlns:a16="http://schemas.microsoft.com/office/drawing/2014/main" id="{EA872972-15B1-46F1-A796-95D3450C98A0}"/>
              </a:ext>
            </a:extLst>
          </p:cNvPr>
          <p:cNvSpPr>
            <a:spLocks noChangeAspect="1" noEditPoints="1"/>
          </p:cNvSpPr>
          <p:nvPr/>
        </p:nvSpPr>
        <p:spPr bwMode="auto">
          <a:xfrm>
            <a:off x="4209243" y="4792763"/>
            <a:ext cx="308134" cy="2280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505050"/>
              </a:solidFill>
              <a:effectLst/>
              <a:uLnTx/>
              <a:uFillTx/>
              <a:latin typeface="Segoe UI"/>
            </a:endParaRPr>
          </a:p>
        </p:txBody>
      </p:sp>
      <p:sp>
        <p:nvSpPr>
          <p:cNvPr id="35" name="Browser" title="Icon of a browser window">
            <a:hlinkClick r:id="rId7"/>
            <a:extLst>
              <a:ext uri="{FF2B5EF4-FFF2-40B4-BE49-F238E27FC236}">
                <a16:creationId xmlns:a16="http://schemas.microsoft.com/office/drawing/2014/main" id="{C1D43D40-D39B-4E0E-9B7C-CE46ADFB1A48}"/>
              </a:ext>
            </a:extLst>
          </p:cNvPr>
          <p:cNvSpPr>
            <a:spLocks noChangeAspect="1" noEditPoints="1"/>
          </p:cNvSpPr>
          <p:nvPr/>
        </p:nvSpPr>
        <p:spPr bwMode="auto">
          <a:xfrm>
            <a:off x="406507" y="4792763"/>
            <a:ext cx="284938" cy="22804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505050"/>
              </a:solidFill>
              <a:effectLst/>
              <a:uLnTx/>
              <a:uFillTx/>
              <a:latin typeface="Segoe UI"/>
            </a:endParaRPr>
          </a:p>
        </p:txBody>
      </p:sp>
      <p:sp>
        <p:nvSpPr>
          <p:cNvPr id="29" name="Rectangle 28">
            <a:extLst>
              <a:ext uri="{FF2B5EF4-FFF2-40B4-BE49-F238E27FC236}">
                <a16:creationId xmlns:a16="http://schemas.microsoft.com/office/drawing/2014/main" id="{D3EA80AF-064C-4EA7-BE1F-24B6CCF8D672}"/>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defRPr/>
            </a:pPr>
            <a:r>
              <a:rPr lang="en-IN" sz="2400" dirty="0">
                <a:solidFill>
                  <a:schemeClr val="tx1"/>
                </a:solidFill>
                <a:latin typeface="+mj-lt"/>
                <a:cs typeface="Segoe UI" panose="020B0502040204020203" pitchFamily="34" charset="0"/>
              </a:rPr>
              <a:t>Empowering people with tools that amplify human capability</a:t>
            </a:r>
          </a:p>
        </p:txBody>
      </p:sp>
    </p:spTree>
    <p:extLst>
      <p:ext uri="{BB962C8B-B14F-4D97-AF65-F5344CB8AC3E}">
        <p14:creationId xmlns:p14="http://schemas.microsoft.com/office/powerpoint/2010/main" val="76911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5FD29C8-27F3-4611-94D8-6449BD12C103}"/>
              </a:ext>
            </a:extLst>
          </p:cNvPr>
          <p:cNvSpPr/>
          <p:nvPr/>
        </p:nvSpPr>
        <p:spPr bwMode="auto">
          <a:xfrm>
            <a:off x="0" y="5751824"/>
            <a:ext cx="12192000" cy="7632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IN" sz="1100" b="0" i="0" u="none" strike="noStrike" kern="120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2"/>
                </a:solidFill>
              </a:rPr>
              <a:t>Data </a:t>
            </a:r>
            <a:r>
              <a:rPr lang="en-US" dirty="0"/>
              <a:t>+ AI</a:t>
            </a:r>
          </a:p>
        </p:txBody>
      </p:sp>
      <p:sp>
        <p:nvSpPr>
          <p:cNvPr id="97" name="Rectangle 96">
            <a:extLst>
              <a:ext uri="{FF2B5EF4-FFF2-40B4-BE49-F238E27FC236}">
                <a16:creationId xmlns:a16="http://schemas.microsoft.com/office/drawing/2014/main" id="{5AB4A8EE-248B-43B8-9642-85332A4C8769}"/>
              </a:ext>
            </a:extLst>
          </p:cNvPr>
          <p:cNvSpPr/>
          <p:nvPr/>
        </p:nvSpPr>
        <p:spPr>
          <a:xfrm>
            <a:off x="457200"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Segoe UI Semibold" charset="0"/>
                <a:cs typeface="Segoe UI Semibold" panose="020B0702040204020203" pitchFamily="34" charset="0"/>
              </a:rPr>
              <a:t>Azure active directory</a:t>
            </a:r>
          </a:p>
        </p:txBody>
      </p:sp>
      <p:sp>
        <p:nvSpPr>
          <p:cNvPr id="98" name="Rectangle 97">
            <a:extLst>
              <a:ext uri="{FF2B5EF4-FFF2-40B4-BE49-F238E27FC236}">
                <a16:creationId xmlns:a16="http://schemas.microsoft.com/office/drawing/2014/main" id="{2645DE18-E884-4F81-B230-ED60C92A627B}"/>
              </a:ext>
            </a:extLst>
          </p:cNvPr>
          <p:cNvSpPr/>
          <p:nvPr/>
        </p:nvSpPr>
        <p:spPr>
          <a:xfrm>
            <a:off x="9562263"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Visual studio tools</a:t>
            </a:r>
          </a:p>
        </p:txBody>
      </p:sp>
      <p:sp>
        <p:nvSpPr>
          <p:cNvPr id="99" name="Rectangle 98">
            <a:extLst>
              <a:ext uri="{FF2B5EF4-FFF2-40B4-BE49-F238E27FC236}">
                <a16:creationId xmlns:a16="http://schemas.microsoft.com/office/drawing/2014/main" id="{E0C97648-14B7-4C52-AD60-D57A6E633D0B}"/>
              </a:ext>
            </a:extLst>
          </p:cNvPr>
          <p:cNvSpPr/>
          <p:nvPr/>
        </p:nvSpPr>
        <p:spPr>
          <a:xfrm>
            <a:off x="7285995"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KMS</a:t>
            </a:r>
          </a:p>
        </p:txBody>
      </p:sp>
      <p:sp>
        <p:nvSpPr>
          <p:cNvPr id="100" name="Rectangle 99">
            <a:extLst>
              <a:ext uri="{FF2B5EF4-FFF2-40B4-BE49-F238E27FC236}">
                <a16:creationId xmlns:a16="http://schemas.microsoft.com/office/drawing/2014/main" id="{C617FD29-6640-46D3-AFEE-7605A36DBFAA}"/>
              </a:ext>
            </a:extLst>
          </p:cNvPr>
          <p:cNvSpPr/>
          <p:nvPr/>
        </p:nvSpPr>
        <p:spPr>
          <a:xfrm>
            <a:off x="2733465"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ExpressRoute</a:t>
            </a:r>
          </a:p>
        </p:txBody>
      </p:sp>
      <p:sp>
        <p:nvSpPr>
          <p:cNvPr id="101" name="Rectangle 100">
            <a:extLst>
              <a:ext uri="{FF2B5EF4-FFF2-40B4-BE49-F238E27FC236}">
                <a16:creationId xmlns:a16="http://schemas.microsoft.com/office/drawing/2014/main" id="{6640EEFD-A055-45DE-AFFF-B15D24C43E63}"/>
              </a:ext>
            </a:extLst>
          </p:cNvPr>
          <p:cNvSpPr/>
          <p:nvPr/>
        </p:nvSpPr>
        <p:spPr>
          <a:xfrm>
            <a:off x="5009730"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OMS</a:t>
            </a:r>
          </a:p>
        </p:txBody>
      </p:sp>
      <p:grpSp>
        <p:nvGrpSpPr>
          <p:cNvPr id="7" name="Group 6">
            <a:extLst>
              <a:ext uri="{FF2B5EF4-FFF2-40B4-BE49-F238E27FC236}">
                <a16:creationId xmlns:a16="http://schemas.microsoft.com/office/drawing/2014/main" id="{2B8D0948-CAA2-4DF5-B512-CA6CFA95B236}"/>
              </a:ext>
            </a:extLst>
          </p:cNvPr>
          <p:cNvGrpSpPr/>
          <p:nvPr/>
        </p:nvGrpSpPr>
        <p:grpSpPr>
          <a:xfrm>
            <a:off x="9886357" y="1805650"/>
            <a:ext cx="2172537" cy="3162336"/>
            <a:chOff x="9562263" y="1805650"/>
            <a:chExt cx="2172537" cy="3162336"/>
          </a:xfrm>
        </p:grpSpPr>
        <p:sp>
          <p:nvSpPr>
            <p:cNvPr id="85" name="Rectangle 84">
              <a:extLst>
                <a:ext uri="{FF2B5EF4-FFF2-40B4-BE49-F238E27FC236}">
                  <a16:creationId xmlns:a16="http://schemas.microsoft.com/office/drawing/2014/main" id="{C033D67A-F378-4839-9685-F1E90611128B}"/>
                </a:ext>
              </a:extLst>
            </p:cNvPr>
            <p:cNvSpPr/>
            <p:nvPr/>
          </p:nvSpPr>
          <p:spPr>
            <a:xfrm>
              <a:off x="9562263" y="3276929"/>
              <a:ext cx="2172537" cy="400110"/>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AI</a:t>
              </a:r>
            </a:p>
          </p:txBody>
        </p:sp>
        <p:sp>
          <p:nvSpPr>
            <p:cNvPr id="90" name="Rectangle 89">
              <a:extLst>
                <a:ext uri="{FF2B5EF4-FFF2-40B4-BE49-F238E27FC236}">
                  <a16:creationId xmlns:a16="http://schemas.microsoft.com/office/drawing/2014/main" id="{73B8946D-BBAE-4223-A02C-E9745EB06A32}"/>
                </a:ext>
              </a:extLst>
            </p:cNvPr>
            <p:cNvSpPr/>
            <p:nvPr/>
          </p:nvSpPr>
          <p:spPr>
            <a:xfrm>
              <a:off x="9562263" y="4106212"/>
              <a:ext cx="2172537" cy="86177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Conversational AI</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Cognitive Services</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atabricks</a:t>
              </a:r>
            </a:p>
          </p:txBody>
        </p:sp>
        <p:grpSp>
          <p:nvGrpSpPr>
            <p:cNvPr id="79" name="Group 78">
              <a:extLst>
                <a:ext uri="{FF2B5EF4-FFF2-40B4-BE49-F238E27FC236}">
                  <a16:creationId xmlns:a16="http://schemas.microsoft.com/office/drawing/2014/main" id="{2BD4101C-8E40-4787-8FCA-AFF5FA0D8A5F}"/>
                </a:ext>
              </a:extLst>
            </p:cNvPr>
            <p:cNvGrpSpPr/>
            <p:nvPr/>
          </p:nvGrpSpPr>
          <p:grpSpPr>
            <a:xfrm>
              <a:off x="9562291" y="1805650"/>
              <a:ext cx="574568" cy="853034"/>
              <a:chOff x="9400197" y="2540697"/>
              <a:chExt cx="660289" cy="980305"/>
            </a:xfrm>
          </p:grpSpPr>
          <p:sp>
            <p:nvSpPr>
              <p:cNvPr id="80" name="Data &amp; AI" title="Icon of several circles connected to eachother by lines">
                <a:extLst>
                  <a:ext uri="{FF2B5EF4-FFF2-40B4-BE49-F238E27FC236}">
                    <a16:creationId xmlns:a16="http://schemas.microsoft.com/office/drawing/2014/main" id="{45C53816-0676-4ABB-B381-066DC551AEF3}"/>
                  </a:ext>
                </a:extLst>
              </p:cNvPr>
              <p:cNvSpPr>
                <a:spLocks noChangeAspect="1" noEditPoints="1"/>
              </p:cNvSpPr>
              <p:nvPr/>
            </p:nvSpPr>
            <p:spPr bwMode="auto">
              <a:xfrm>
                <a:off x="9503998" y="2688114"/>
                <a:ext cx="453021" cy="36223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2" name="light" title="Icon of a lightbulb">
                <a:extLst>
                  <a:ext uri="{FF2B5EF4-FFF2-40B4-BE49-F238E27FC236}">
                    <a16:creationId xmlns:a16="http://schemas.microsoft.com/office/drawing/2014/main" id="{12638678-FC1C-4774-9DDF-1100A4A5ED86}"/>
                  </a:ext>
                </a:extLst>
              </p:cNvPr>
              <p:cNvSpPr>
                <a:spLocks noChangeAspect="1" noEditPoints="1"/>
              </p:cNvSpPr>
              <p:nvPr/>
            </p:nvSpPr>
            <p:spPr bwMode="auto">
              <a:xfrm>
                <a:off x="9400197" y="2540697"/>
                <a:ext cx="660289" cy="98030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5" name="Group 4">
            <a:extLst>
              <a:ext uri="{FF2B5EF4-FFF2-40B4-BE49-F238E27FC236}">
                <a16:creationId xmlns:a16="http://schemas.microsoft.com/office/drawing/2014/main" id="{A9330CF4-8D22-4D78-A967-30A66626470C}"/>
              </a:ext>
            </a:extLst>
          </p:cNvPr>
          <p:cNvGrpSpPr/>
          <p:nvPr/>
        </p:nvGrpSpPr>
        <p:grpSpPr>
          <a:xfrm>
            <a:off x="5171779" y="1887795"/>
            <a:ext cx="2172537" cy="2568544"/>
            <a:chOff x="5009730" y="1887795"/>
            <a:chExt cx="2172537" cy="2568544"/>
          </a:xfrm>
        </p:grpSpPr>
        <p:sp>
          <p:nvSpPr>
            <p:cNvPr id="88" name="Rectangle 87">
              <a:extLst>
                <a:ext uri="{FF2B5EF4-FFF2-40B4-BE49-F238E27FC236}">
                  <a16:creationId xmlns:a16="http://schemas.microsoft.com/office/drawing/2014/main" id="{0E17D905-F7DC-4FA3-89D0-68CC6D439AE0}"/>
                </a:ext>
              </a:extLst>
            </p:cNvPr>
            <p:cNvSpPr/>
            <p:nvPr/>
          </p:nvSpPr>
          <p:spPr>
            <a:xfrm>
              <a:off x="5009730"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Cloud native</a:t>
              </a:r>
            </a:p>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apps</a:t>
              </a:r>
            </a:p>
          </p:txBody>
        </p:sp>
        <p:sp>
          <p:nvSpPr>
            <p:cNvPr id="93" name="Rectangle 92">
              <a:extLst>
                <a:ext uri="{FF2B5EF4-FFF2-40B4-BE49-F238E27FC236}">
                  <a16:creationId xmlns:a16="http://schemas.microsoft.com/office/drawing/2014/main" id="{13D74B65-F861-4CA0-A03B-308A02FBCDBD}"/>
                </a:ext>
              </a:extLst>
            </p:cNvPr>
            <p:cNvSpPr/>
            <p:nvPr/>
          </p:nvSpPr>
          <p:spPr>
            <a:xfrm>
              <a:off x="5009730" y="4117785"/>
              <a:ext cx="2172537" cy="33855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Cosmos DB</a:t>
              </a:r>
            </a:p>
          </p:txBody>
        </p:sp>
        <p:grpSp>
          <p:nvGrpSpPr>
            <p:cNvPr id="125" name="Group 124">
              <a:extLst>
                <a:ext uri="{FF2B5EF4-FFF2-40B4-BE49-F238E27FC236}">
                  <a16:creationId xmlns:a16="http://schemas.microsoft.com/office/drawing/2014/main" id="{0E922E16-D721-463B-B5A4-81FE774E46A0}"/>
                </a:ext>
              </a:extLst>
            </p:cNvPr>
            <p:cNvGrpSpPr/>
            <p:nvPr/>
          </p:nvGrpSpPr>
          <p:grpSpPr>
            <a:xfrm>
              <a:off x="5009730" y="1887795"/>
              <a:ext cx="1391067" cy="763084"/>
              <a:chOff x="4749533" y="2115998"/>
              <a:chExt cx="1468658" cy="805649"/>
            </a:xfrm>
          </p:grpSpPr>
          <p:sp>
            <p:nvSpPr>
              <p:cNvPr id="126" name="Business applications" title="Icon of a chart showing three peaks that get higher in succession, a dotted arrow line points forward and up">
                <a:extLst>
                  <a:ext uri="{FF2B5EF4-FFF2-40B4-BE49-F238E27FC236}">
                    <a16:creationId xmlns:a16="http://schemas.microsoft.com/office/drawing/2014/main" id="{993BAB82-FB09-4C16-93E0-7BCCA8A536BE}"/>
                  </a:ext>
                </a:extLst>
              </p:cNvPr>
              <p:cNvSpPr>
                <a:spLocks noChangeAspect="1" noEditPoints="1"/>
              </p:cNvSpPr>
              <p:nvPr/>
            </p:nvSpPr>
            <p:spPr bwMode="auto">
              <a:xfrm>
                <a:off x="5142491" y="2365170"/>
                <a:ext cx="542442" cy="44579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7" name="Freeform 13" title="Icon of a cloud">
                <a:extLst>
                  <a:ext uri="{FF2B5EF4-FFF2-40B4-BE49-F238E27FC236}">
                    <a16:creationId xmlns:a16="http://schemas.microsoft.com/office/drawing/2014/main" id="{011CB86D-BEDC-4C21-B378-B8875B2070FA}"/>
                  </a:ext>
                </a:extLst>
              </p:cNvPr>
              <p:cNvSpPr>
                <a:spLocks noChangeAspect="1"/>
              </p:cNvSpPr>
              <p:nvPr/>
            </p:nvSpPr>
            <p:spPr bwMode="auto">
              <a:xfrm>
                <a:off x="4749533" y="2115998"/>
                <a:ext cx="1468658" cy="805649"/>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4" name="Group 3">
            <a:extLst>
              <a:ext uri="{FF2B5EF4-FFF2-40B4-BE49-F238E27FC236}">
                <a16:creationId xmlns:a16="http://schemas.microsoft.com/office/drawing/2014/main" id="{EB6108F9-D62B-4F56-83CA-3BB537C9BA01}"/>
              </a:ext>
            </a:extLst>
          </p:cNvPr>
          <p:cNvGrpSpPr/>
          <p:nvPr/>
        </p:nvGrpSpPr>
        <p:grpSpPr>
          <a:xfrm>
            <a:off x="2814489" y="1795432"/>
            <a:ext cx="2172538" cy="3164928"/>
            <a:chOff x="2733464" y="1795432"/>
            <a:chExt cx="2172538" cy="3164928"/>
          </a:xfrm>
        </p:grpSpPr>
        <p:sp>
          <p:nvSpPr>
            <p:cNvPr id="87" name="Rectangle 86">
              <a:extLst>
                <a:ext uri="{FF2B5EF4-FFF2-40B4-BE49-F238E27FC236}">
                  <a16:creationId xmlns:a16="http://schemas.microsoft.com/office/drawing/2014/main" id="{31665F37-063B-4695-B219-864A7F27B75F}"/>
                </a:ext>
              </a:extLst>
            </p:cNvPr>
            <p:cNvSpPr/>
            <p:nvPr/>
          </p:nvSpPr>
          <p:spPr>
            <a:xfrm>
              <a:off x="2733465"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Hybrid data</a:t>
              </a:r>
            </a:p>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estate</a:t>
              </a:r>
            </a:p>
          </p:txBody>
        </p:sp>
        <p:sp>
          <p:nvSpPr>
            <p:cNvPr id="92" name="Rectangle 91">
              <a:extLst>
                <a:ext uri="{FF2B5EF4-FFF2-40B4-BE49-F238E27FC236}">
                  <a16:creationId xmlns:a16="http://schemas.microsoft.com/office/drawing/2014/main" id="{9DA1C80F-DBDC-488F-8404-7426338DACBC}"/>
                </a:ext>
              </a:extLst>
            </p:cNvPr>
            <p:cNvSpPr/>
            <p:nvPr/>
          </p:nvSpPr>
          <p:spPr>
            <a:xfrm>
              <a:off x="2733465" y="4129363"/>
              <a:ext cx="2172537" cy="830997"/>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SQL Database</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B for MySQL  &amp; PostgreSQL</a:t>
              </a:r>
            </a:p>
          </p:txBody>
        </p:sp>
        <p:grpSp>
          <p:nvGrpSpPr>
            <p:cNvPr id="128" name="Graphic 3">
              <a:extLst>
                <a:ext uri="{FF2B5EF4-FFF2-40B4-BE49-F238E27FC236}">
                  <a16:creationId xmlns:a16="http://schemas.microsoft.com/office/drawing/2014/main" id="{F30C876E-2C48-4366-B2C2-1E703D522099}"/>
                </a:ext>
              </a:extLst>
            </p:cNvPr>
            <p:cNvGrpSpPr/>
            <p:nvPr/>
          </p:nvGrpSpPr>
          <p:grpSpPr>
            <a:xfrm>
              <a:off x="2733464" y="1795432"/>
              <a:ext cx="1549163" cy="802041"/>
              <a:chOff x="3105161" y="2806373"/>
              <a:chExt cx="1174411" cy="608016"/>
            </a:xfrm>
          </p:grpSpPr>
          <p:sp>
            <p:nvSpPr>
              <p:cNvPr id="129" name="Freeform: Shape 128">
                <a:extLst>
                  <a:ext uri="{FF2B5EF4-FFF2-40B4-BE49-F238E27FC236}">
                    <a16:creationId xmlns:a16="http://schemas.microsoft.com/office/drawing/2014/main" id="{E5ECA7BB-3F77-43B3-94A7-424727D0CA8E}"/>
                  </a:ext>
                </a:extLst>
              </p:cNvPr>
              <p:cNvSpPr/>
              <p:nvPr/>
            </p:nvSpPr>
            <p:spPr>
              <a:xfrm>
                <a:off x="3105161" y="2806373"/>
                <a:ext cx="328237" cy="601761"/>
              </a:xfrm>
              <a:custGeom>
                <a:avLst/>
                <a:gdLst>
                  <a:gd name="connsiteX0" fmla="*/ 371170 w 396019"/>
                  <a:gd name="connsiteY0" fmla="*/ 696783 h 726031"/>
                  <a:gd name="connsiteX1" fmla="*/ 38954 w 396019"/>
                  <a:gd name="connsiteY1" fmla="*/ 696783 h 726031"/>
                  <a:gd name="connsiteX2" fmla="*/ 38954 w 396019"/>
                  <a:gd name="connsiteY2" fmla="*/ 38954 h 726031"/>
                  <a:gd name="connsiteX3" fmla="*/ 371170 w 396019"/>
                  <a:gd name="connsiteY3" fmla="*/ 38954 h 726031"/>
                  <a:gd name="connsiteX4" fmla="*/ 371170 w 396019"/>
                  <a:gd name="connsiteY4" fmla="*/ 144558 h 726031"/>
                  <a:gd name="connsiteX5" fmla="*/ 87356 w 396019"/>
                  <a:gd name="connsiteY5" fmla="*/ 144558 h 726031"/>
                  <a:gd name="connsiteX6" fmla="*/ 320568 w 396019"/>
                  <a:gd name="connsiteY6" fmla="*/ 144558 h 72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019" h="726031">
                    <a:moveTo>
                      <a:pt x="371170" y="696783"/>
                    </a:moveTo>
                    <a:lnTo>
                      <a:pt x="38954" y="696783"/>
                    </a:lnTo>
                    <a:lnTo>
                      <a:pt x="38954" y="38954"/>
                    </a:lnTo>
                    <a:lnTo>
                      <a:pt x="371170" y="38954"/>
                    </a:lnTo>
                    <a:lnTo>
                      <a:pt x="371170" y="144558"/>
                    </a:lnTo>
                    <a:moveTo>
                      <a:pt x="87356" y="144558"/>
                    </a:moveTo>
                    <a:lnTo>
                      <a:pt x="320568" y="144558"/>
                    </a:lnTo>
                  </a:path>
                </a:pathLst>
              </a:custGeom>
              <a:noFill/>
              <a:ln w="19050" cap="sq">
                <a:solidFill>
                  <a:schemeClr val="tx1"/>
                </a:solidFill>
                <a:prstDash val="solid"/>
                <a:miter/>
              </a:ln>
            </p:spPr>
            <p:txBody>
              <a:bodyPr rtlCol="0" anchor="ctr"/>
              <a:lstStyle/>
              <a:p>
                <a:endParaRPr lang="en-IN" dirty="0"/>
              </a:p>
            </p:txBody>
          </p:sp>
          <p:sp>
            <p:nvSpPr>
              <p:cNvPr id="130" name="Freeform: Shape 129">
                <a:extLst>
                  <a:ext uri="{FF2B5EF4-FFF2-40B4-BE49-F238E27FC236}">
                    <a16:creationId xmlns:a16="http://schemas.microsoft.com/office/drawing/2014/main" id="{9288F692-C976-4B26-BB96-E8FD6A63F179}"/>
                  </a:ext>
                </a:extLst>
              </p:cNvPr>
              <p:cNvSpPr/>
              <p:nvPr/>
            </p:nvSpPr>
            <p:spPr>
              <a:xfrm>
                <a:off x="3331331" y="2867334"/>
                <a:ext cx="948241" cy="547055"/>
              </a:xfrm>
              <a:custGeom>
                <a:avLst/>
                <a:gdLst>
                  <a:gd name="connsiteX0" fmla="*/ 38954 w 1144056"/>
                  <a:gd name="connsiteY0" fmla="*/ 331566 h 660029"/>
                  <a:gd name="connsiteX1" fmla="*/ 60955 w 1144056"/>
                  <a:gd name="connsiteY1" fmla="*/ 331566 h 660029"/>
                  <a:gd name="connsiteX2" fmla="*/ 38954 w 1144056"/>
                  <a:gd name="connsiteY2" fmla="*/ 483373 h 660029"/>
                  <a:gd name="connsiteX3" fmla="*/ 60955 w 1144056"/>
                  <a:gd name="connsiteY3" fmla="*/ 483373 h 660029"/>
                  <a:gd name="connsiteX4" fmla="*/ 179761 w 1144056"/>
                  <a:gd name="connsiteY4" fmla="*/ 628580 h 660029"/>
                  <a:gd name="connsiteX5" fmla="*/ 201762 w 1144056"/>
                  <a:gd name="connsiteY5" fmla="*/ 628580 h 660029"/>
                  <a:gd name="connsiteX6" fmla="*/ 179761 w 1144056"/>
                  <a:gd name="connsiteY6" fmla="*/ 184160 h 660029"/>
                  <a:gd name="connsiteX7" fmla="*/ 201762 w 1144056"/>
                  <a:gd name="connsiteY7" fmla="*/ 184160 h 660029"/>
                  <a:gd name="connsiteX8" fmla="*/ 179761 w 1144056"/>
                  <a:gd name="connsiteY8" fmla="*/ 331566 h 660029"/>
                  <a:gd name="connsiteX9" fmla="*/ 201762 w 1144056"/>
                  <a:gd name="connsiteY9" fmla="*/ 331566 h 660029"/>
                  <a:gd name="connsiteX10" fmla="*/ 179761 w 1144056"/>
                  <a:gd name="connsiteY10" fmla="*/ 483373 h 660029"/>
                  <a:gd name="connsiteX11" fmla="*/ 201762 w 1144056"/>
                  <a:gd name="connsiteY11" fmla="*/ 483373 h 660029"/>
                  <a:gd name="connsiteX12" fmla="*/ 461375 w 1144056"/>
                  <a:gd name="connsiteY12" fmla="*/ 38954 h 660029"/>
                  <a:gd name="connsiteX13" fmla="*/ 483376 w 1144056"/>
                  <a:gd name="connsiteY13" fmla="*/ 38954 h 660029"/>
                  <a:gd name="connsiteX14" fmla="*/ 461375 w 1144056"/>
                  <a:gd name="connsiteY14" fmla="*/ 331566 h 660029"/>
                  <a:gd name="connsiteX15" fmla="*/ 483376 w 1144056"/>
                  <a:gd name="connsiteY15" fmla="*/ 331566 h 660029"/>
                  <a:gd name="connsiteX16" fmla="*/ 461375 w 1144056"/>
                  <a:gd name="connsiteY16" fmla="*/ 483373 h 660029"/>
                  <a:gd name="connsiteX17" fmla="*/ 483376 w 1144056"/>
                  <a:gd name="connsiteY17" fmla="*/ 483373 h 660029"/>
                  <a:gd name="connsiteX18" fmla="*/ 320568 w 1144056"/>
                  <a:gd name="connsiteY18" fmla="*/ 628580 h 660029"/>
                  <a:gd name="connsiteX19" fmla="*/ 342569 w 1144056"/>
                  <a:gd name="connsiteY19" fmla="*/ 628580 h 660029"/>
                  <a:gd name="connsiteX20" fmla="*/ 320568 w 1144056"/>
                  <a:gd name="connsiteY20" fmla="*/ 184160 h 660029"/>
                  <a:gd name="connsiteX21" fmla="*/ 342569 w 1144056"/>
                  <a:gd name="connsiteY21" fmla="*/ 184160 h 660029"/>
                  <a:gd name="connsiteX22" fmla="*/ 320568 w 1144056"/>
                  <a:gd name="connsiteY22" fmla="*/ 331566 h 660029"/>
                  <a:gd name="connsiteX23" fmla="*/ 342569 w 1144056"/>
                  <a:gd name="connsiteY23" fmla="*/ 331566 h 660029"/>
                  <a:gd name="connsiteX24" fmla="*/ 320568 w 1144056"/>
                  <a:gd name="connsiteY24" fmla="*/ 483373 h 660029"/>
                  <a:gd name="connsiteX25" fmla="*/ 342569 w 1144056"/>
                  <a:gd name="connsiteY25" fmla="*/ 483373 h 660029"/>
                  <a:gd name="connsiteX26" fmla="*/ 434973 w 1144056"/>
                  <a:gd name="connsiteY26" fmla="*/ 628580 h 660029"/>
                  <a:gd name="connsiteX27" fmla="*/ 932198 w 1144056"/>
                  <a:gd name="connsiteY27" fmla="*/ 628580 h 660029"/>
                  <a:gd name="connsiteX28" fmla="*/ 1108206 w 1144056"/>
                  <a:gd name="connsiteY28" fmla="*/ 445972 h 660029"/>
                  <a:gd name="connsiteX29" fmla="*/ 932198 w 1144056"/>
                  <a:gd name="connsiteY29" fmla="*/ 258963 h 660029"/>
                  <a:gd name="connsiteX30" fmla="*/ 894796 w 1144056"/>
                  <a:gd name="connsiteY30" fmla="*/ 263364 h 660029"/>
                  <a:gd name="connsiteX31" fmla="*/ 613182 w 1144056"/>
                  <a:gd name="connsiteY31" fmla="*/ 38954 h 660029"/>
                  <a:gd name="connsiteX32" fmla="*/ 575780 w 1144056"/>
                  <a:gd name="connsiteY32" fmla="*/ 38954 h 66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44056" h="660029">
                    <a:moveTo>
                      <a:pt x="38954" y="331566"/>
                    </a:moveTo>
                    <a:cubicBezTo>
                      <a:pt x="60955" y="331566"/>
                      <a:pt x="60955" y="331566"/>
                      <a:pt x="60955" y="331566"/>
                    </a:cubicBezTo>
                    <a:moveTo>
                      <a:pt x="38954" y="483373"/>
                    </a:moveTo>
                    <a:cubicBezTo>
                      <a:pt x="60955" y="483373"/>
                      <a:pt x="60955" y="483373"/>
                      <a:pt x="60955" y="483373"/>
                    </a:cubicBezTo>
                    <a:moveTo>
                      <a:pt x="179761" y="628580"/>
                    </a:moveTo>
                    <a:cubicBezTo>
                      <a:pt x="201762" y="628580"/>
                      <a:pt x="201762" y="628580"/>
                      <a:pt x="201762" y="628580"/>
                    </a:cubicBezTo>
                    <a:moveTo>
                      <a:pt x="179761" y="184160"/>
                    </a:moveTo>
                    <a:cubicBezTo>
                      <a:pt x="201762" y="184160"/>
                      <a:pt x="201762" y="184160"/>
                      <a:pt x="201762" y="184160"/>
                    </a:cubicBezTo>
                    <a:moveTo>
                      <a:pt x="179761" y="331566"/>
                    </a:moveTo>
                    <a:cubicBezTo>
                      <a:pt x="201762" y="331566"/>
                      <a:pt x="201762" y="331566"/>
                      <a:pt x="201762" y="331566"/>
                    </a:cubicBezTo>
                    <a:moveTo>
                      <a:pt x="179761" y="483373"/>
                    </a:moveTo>
                    <a:cubicBezTo>
                      <a:pt x="201762" y="483373"/>
                      <a:pt x="201762" y="483373"/>
                      <a:pt x="201762" y="483373"/>
                    </a:cubicBezTo>
                    <a:moveTo>
                      <a:pt x="461375" y="38954"/>
                    </a:moveTo>
                    <a:cubicBezTo>
                      <a:pt x="483376" y="38954"/>
                      <a:pt x="483376" y="38954"/>
                      <a:pt x="483376" y="38954"/>
                    </a:cubicBezTo>
                    <a:moveTo>
                      <a:pt x="461375" y="331566"/>
                    </a:moveTo>
                    <a:cubicBezTo>
                      <a:pt x="483376" y="331566"/>
                      <a:pt x="483376" y="331566"/>
                      <a:pt x="483376" y="331566"/>
                    </a:cubicBezTo>
                    <a:moveTo>
                      <a:pt x="461375" y="483373"/>
                    </a:moveTo>
                    <a:cubicBezTo>
                      <a:pt x="483376" y="483373"/>
                      <a:pt x="483376" y="483373"/>
                      <a:pt x="483376" y="483373"/>
                    </a:cubicBezTo>
                    <a:moveTo>
                      <a:pt x="320568" y="628580"/>
                    </a:moveTo>
                    <a:cubicBezTo>
                      <a:pt x="342569" y="628580"/>
                      <a:pt x="342569" y="628580"/>
                      <a:pt x="342569" y="628580"/>
                    </a:cubicBezTo>
                    <a:moveTo>
                      <a:pt x="320568" y="184160"/>
                    </a:moveTo>
                    <a:cubicBezTo>
                      <a:pt x="342569" y="184160"/>
                      <a:pt x="342569" y="184160"/>
                      <a:pt x="342569" y="184160"/>
                    </a:cubicBezTo>
                    <a:moveTo>
                      <a:pt x="320568" y="331566"/>
                    </a:moveTo>
                    <a:cubicBezTo>
                      <a:pt x="342569" y="331566"/>
                      <a:pt x="342569" y="331566"/>
                      <a:pt x="342569" y="331566"/>
                    </a:cubicBezTo>
                    <a:moveTo>
                      <a:pt x="320568" y="483373"/>
                    </a:moveTo>
                    <a:cubicBezTo>
                      <a:pt x="342569" y="483373"/>
                      <a:pt x="342569" y="483373"/>
                      <a:pt x="342569" y="483373"/>
                    </a:cubicBezTo>
                    <a:moveTo>
                      <a:pt x="434973" y="628580"/>
                    </a:moveTo>
                    <a:cubicBezTo>
                      <a:pt x="503177" y="628580"/>
                      <a:pt x="874995" y="628580"/>
                      <a:pt x="932198" y="628580"/>
                    </a:cubicBezTo>
                    <a:cubicBezTo>
                      <a:pt x="1026802" y="628580"/>
                      <a:pt x="1108206" y="542776"/>
                      <a:pt x="1108206" y="445972"/>
                    </a:cubicBezTo>
                    <a:cubicBezTo>
                      <a:pt x="1108206" y="344767"/>
                      <a:pt x="1026802" y="258963"/>
                      <a:pt x="932198" y="258963"/>
                    </a:cubicBezTo>
                    <a:cubicBezTo>
                      <a:pt x="916797" y="258963"/>
                      <a:pt x="905796" y="261163"/>
                      <a:pt x="894796" y="263364"/>
                    </a:cubicBezTo>
                    <a:cubicBezTo>
                      <a:pt x="861794" y="135758"/>
                      <a:pt x="747389" y="38954"/>
                      <a:pt x="613182" y="38954"/>
                    </a:cubicBezTo>
                    <a:cubicBezTo>
                      <a:pt x="575780" y="38954"/>
                      <a:pt x="575780" y="38954"/>
                      <a:pt x="575780" y="38954"/>
                    </a:cubicBezTo>
                  </a:path>
                </a:pathLst>
              </a:custGeom>
              <a:noFill/>
              <a:ln w="19050" cap="sq">
                <a:solidFill>
                  <a:schemeClr val="tx1"/>
                </a:solidFill>
                <a:prstDash val="solid"/>
                <a:miter/>
              </a:ln>
            </p:spPr>
            <p:txBody>
              <a:bodyPr rtlCol="0" anchor="ctr"/>
              <a:lstStyle/>
              <a:p>
                <a:endParaRPr lang="en-IN" dirty="0"/>
              </a:p>
            </p:txBody>
          </p:sp>
          <p:sp>
            <p:nvSpPr>
              <p:cNvPr id="131" name="Freeform: Shape 130">
                <a:extLst>
                  <a:ext uri="{FF2B5EF4-FFF2-40B4-BE49-F238E27FC236}">
                    <a16:creationId xmlns:a16="http://schemas.microsoft.com/office/drawing/2014/main" id="{2667D1DE-CDDF-4CB5-B5B7-CD98A7FCE285}"/>
                  </a:ext>
                </a:extLst>
              </p:cNvPr>
              <p:cNvSpPr/>
              <p:nvPr/>
            </p:nvSpPr>
            <p:spPr>
              <a:xfrm>
                <a:off x="3163996" y="3239281"/>
                <a:ext cx="184362" cy="61453"/>
              </a:xfrm>
              <a:custGeom>
                <a:avLst/>
                <a:gdLst>
                  <a:gd name="connsiteX0" fmla="*/ 179761 w 198009"/>
                  <a:gd name="connsiteY0" fmla="*/ 38954 h 66002"/>
                  <a:gd name="connsiteX1" fmla="*/ 38954 w 198009"/>
                  <a:gd name="connsiteY1" fmla="*/ 38954 h 66002"/>
                </a:gdLst>
                <a:ahLst/>
                <a:cxnLst>
                  <a:cxn ang="0">
                    <a:pos x="connsiteX0" y="connsiteY0"/>
                  </a:cxn>
                  <a:cxn ang="0">
                    <a:pos x="connsiteX1" y="connsiteY1"/>
                  </a:cxn>
                </a:cxnLst>
                <a:rect l="l" t="t" r="r" b="b"/>
                <a:pathLst>
                  <a:path w="198009" h="66002">
                    <a:moveTo>
                      <a:pt x="179761" y="38954"/>
                    </a:moveTo>
                    <a:lnTo>
                      <a:pt x="38954" y="38954"/>
                    </a:lnTo>
                  </a:path>
                </a:pathLst>
              </a:custGeom>
              <a:ln w="19050" cap="sq">
                <a:solidFill>
                  <a:schemeClr val="tx1"/>
                </a:solidFill>
                <a:prstDash val="solid"/>
                <a:miter/>
              </a:ln>
            </p:spPr>
            <p:txBody>
              <a:bodyPr rtlCol="0" anchor="ctr"/>
              <a:lstStyle/>
              <a:p>
                <a:endParaRPr lang="en-IN" dirty="0"/>
              </a:p>
            </p:txBody>
          </p:sp>
          <p:sp>
            <p:nvSpPr>
              <p:cNvPr id="132" name="Freeform: Shape 131">
                <a:extLst>
                  <a:ext uri="{FF2B5EF4-FFF2-40B4-BE49-F238E27FC236}">
                    <a16:creationId xmlns:a16="http://schemas.microsoft.com/office/drawing/2014/main" id="{163BBD9A-7F15-46DD-99F4-D8F6DD9281AF}"/>
                  </a:ext>
                </a:extLst>
              </p:cNvPr>
              <p:cNvSpPr/>
              <p:nvPr/>
            </p:nvSpPr>
            <p:spPr>
              <a:xfrm>
                <a:off x="3163996" y="3110582"/>
                <a:ext cx="184362" cy="61453"/>
              </a:xfrm>
              <a:custGeom>
                <a:avLst/>
                <a:gdLst>
                  <a:gd name="connsiteX0" fmla="*/ 179761 w 198009"/>
                  <a:gd name="connsiteY0" fmla="*/ 38954 h 66002"/>
                  <a:gd name="connsiteX1" fmla="*/ 38954 w 198009"/>
                  <a:gd name="connsiteY1" fmla="*/ 38954 h 66002"/>
                </a:gdLst>
                <a:ahLst/>
                <a:cxnLst>
                  <a:cxn ang="0">
                    <a:pos x="connsiteX0" y="connsiteY0"/>
                  </a:cxn>
                  <a:cxn ang="0">
                    <a:pos x="connsiteX1" y="connsiteY1"/>
                  </a:cxn>
                </a:cxnLst>
                <a:rect l="l" t="t" r="r" b="b"/>
                <a:pathLst>
                  <a:path w="198009" h="66002">
                    <a:moveTo>
                      <a:pt x="179761" y="38954"/>
                    </a:moveTo>
                    <a:lnTo>
                      <a:pt x="38954" y="38954"/>
                    </a:lnTo>
                  </a:path>
                </a:pathLst>
              </a:custGeom>
              <a:ln w="19050" cap="sq">
                <a:solidFill>
                  <a:schemeClr val="tx1"/>
                </a:solidFill>
                <a:prstDash val="solid"/>
                <a:miter/>
              </a:ln>
            </p:spPr>
            <p:txBody>
              <a:bodyPr rtlCol="0" anchor="ctr"/>
              <a:lstStyle/>
              <a:p>
                <a:endParaRPr lang="en-IN" dirty="0"/>
              </a:p>
            </p:txBody>
          </p:sp>
        </p:grpSp>
      </p:grpSp>
      <p:grpSp>
        <p:nvGrpSpPr>
          <p:cNvPr id="179" name="Group 178">
            <a:extLst>
              <a:ext uri="{FF2B5EF4-FFF2-40B4-BE49-F238E27FC236}">
                <a16:creationId xmlns:a16="http://schemas.microsoft.com/office/drawing/2014/main" id="{0CE540F6-6EFF-4998-8FCF-00E2F32E5334}"/>
              </a:ext>
            </a:extLst>
          </p:cNvPr>
          <p:cNvGrpSpPr/>
          <p:nvPr/>
        </p:nvGrpSpPr>
        <p:grpSpPr>
          <a:xfrm>
            <a:off x="457200" y="1851952"/>
            <a:ext cx="2172537" cy="2639112"/>
            <a:chOff x="457200" y="1851952"/>
            <a:chExt cx="2172537" cy="2639112"/>
          </a:xfrm>
        </p:grpSpPr>
        <p:sp>
          <p:nvSpPr>
            <p:cNvPr id="180" name="Rectangle 179">
              <a:extLst>
                <a:ext uri="{FF2B5EF4-FFF2-40B4-BE49-F238E27FC236}">
                  <a16:creationId xmlns:a16="http://schemas.microsoft.com/office/drawing/2014/main" id="{2CD8A5A0-C899-4EC6-8AB9-EB5F4AE6155C}"/>
                </a:ext>
              </a:extLst>
            </p:cNvPr>
            <p:cNvSpPr/>
            <p:nvPr/>
          </p:nvSpPr>
          <p:spPr>
            <a:xfrm>
              <a:off x="457200" y="3276929"/>
              <a:ext cx="1938759"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Modernization on premises</a:t>
              </a:r>
            </a:p>
          </p:txBody>
        </p:sp>
        <p:sp>
          <p:nvSpPr>
            <p:cNvPr id="181" name="Rectangle 180">
              <a:extLst>
                <a:ext uri="{FF2B5EF4-FFF2-40B4-BE49-F238E27FC236}">
                  <a16:creationId xmlns:a16="http://schemas.microsoft.com/office/drawing/2014/main" id="{21D014C7-6659-4CE5-BA7D-6F36EC9987B0}"/>
                </a:ext>
              </a:extLst>
            </p:cNvPr>
            <p:cNvSpPr/>
            <p:nvPr/>
          </p:nvSpPr>
          <p:spPr>
            <a:xfrm>
              <a:off x="457200" y="4152510"/>
              <a:ext cx="2172537" cy="33855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SQL Server 2017</a:t>
              </a:r>
            </a:p>
          </p:txBody>
        </p:sp>
        <p:grpSp>
          <p:nvGrpSpPr>
            <p:cNvPr id="182" name="Group 181">
              <a:extLst>
                <a:ext uri="{FF2B5EF4-FFF2-40B4-BE49-F238E27FC236}">
                  <a16:creationId xmlns:a16="http://schemas.microsoft.com/office/drawing/2014/main" id="{CA1FF2D2-6FF5-40DE-9ECA-7FA7BB87043E}"/>
                </a:ext>
              </a:extLst>
            </p:cNvPr>
            <p:cNvGrpSpPr/>
            <p:nvPr/>
          </p:nvGrpSpPr>
          <p:grpSpPr>
            <a:xfrm>
              <a:off x="457201" y="1851952"/>
              <a:ext cx="844483" cy="858919"/>
              <a:chOff x="-260965" y="2097848"/>
              <a:chExt cx="1268742" cy="1290432"/>
            </a:xfrm>
          </p:grpSpPr>
          <p:sp>
            <p:nvSpPr>
              <p:cNvPr id="183" name="server" title="Icon of a server tower">
                <a:extLst>
                  <a:ext uri="{FF2B5EF4-FFF2-40B4-BE49-F238E27FC236}">
                    <a16:creationId xmlns:a16="http://schemas.microsoft.com/office/drawing/2014/main" id="{8CB56434-4A3D-4673-B587-384363667EE8}"/>
                  </a:ext>
                </a:extLst>
              </p:cNvPr>
              <p:cNvSpPr>
                <a:spLocks noChangeAspect="1" noEditPoints="1"/>
              </p:cNvSpPr>
              <p:nvPr/>
            </p:nvSpPr>
            <p:spPr bwMode="auto">
              <a:xfrm>
                <a:off x="191167" y="2390317"/>
                <a:ext cx="347868" cy="66072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84" name="arrow_12" title="Icon of a circle made of a curved arrow pointing clockwise">
                <a:extLst>
                  <a:ext uri="{FF2B5EF4-FFF2-40B4-BE49-F238E27FC236}">
                    <a16:creationId xmlns:a16="http://schemas.microsoft.com/office/drawing/2014/main" id="{47353351-B6A2-4950-84BB-9C7F0CE82B30}"/>
                  </a:ext>
                </a:extLst>
              </p:cNvPr>
              <p:cNvSpPr>
                <a:spLocks noChangeAspect="1" noEditPoints="1"/>
              </p:cNvSpPr>
              <p:nvPr/>
            </p:nvSpPr>
            <p:spPr bwMode="auto">
              <a:xfrm rot="5400000">
                <a:off x="-271810" y="2108693"/>
                <a:ext cx="1290432" cy="1268742"/>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185" name="Group 184">
            <a:extLst>
              <a:ext uri="{FF2B5EF4-FFF2-40B4-BE49-F238E27FC236}">
                <a16:creationId xmlns:a16="http://schemas.microsoft.com/office/drawing/2014/main" id="{A163B961-A1B7-48C4-BAC8-8CA42B8BE448}"/>
              </a:ext>
            </a:extLst>
          </p:cNvPr>
          <p:cNvGrpSpPr/>
          <p:nvPr/>
        </p:nvGrpSpPr>
        <p:grpSpPr>
          <a:xfrm>
            <a:off x="7529068" y="1736809"/>
            <a:ext cx="2172537" cy="2954178"/>
            <a:chOff x="7285995" y="1736809"/>
            <a:chExt cx="2172537" cy="2954178"/>
          </a:xfrm>
        </p:grpSpPr>
        <p:sp>
          <p:nvSpPr>
            <p:cNvPr id="186" name="Rectangle 185">
              <a:extLst>
                <a:ext uri="{FF2B5EF4-FFF2-40B4-BE49-F238E27FC236}">
                  <a16:creationId xmlns:a16="http://schemas.microsoft.com/office/drawing/2014/main" id="{8208D04A-4B1A-4A44-87A8-B87E028F6BAE}"/>
                </a:ext>
              </a:extLst>
            </p:cNvPr>
            <p:cNvSpPr/>
            <p:nvPr/>
          </p:nvSpPr>
          <p:spPr>
            <a:xfrm>
              <a:off x="7285995"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Cloud scale analytics</a:t>
              </a:r>
            </a:p>
          </p:txBody>
        </p:sp>
        <p:sp>
          <p:nvSpPr>
            <p:cNvPr id="187" name="Rectangle 186">
              <a:extLst>
                <a:ext uri="{FF2B5EF4-FFF2-40B4-BE49-F238E27FC236}">
                  <a16:creationId xmlns:a16="http://schemas.microsoft.com/office/drawing/2014/main" id="{F01F5C43-6B24-4271-A4BA-6019BB3E2CD9}"/>
                </a:ext>
              </a:extLst>
            </p:cNvPr>
            <p:cNvSpPr/>
            <p:nvPr/>
          </p:nvSpPr>
          <p:spPr>
            <a:xfrm>
              <a:off x="7285995" y="4106212"/>
              <a:ext cx="2172537" cy="584775"/>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SQL DW </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atabricks</a:t>
              </a:r>
            </a:p>
          </p:txBody>
        </p:sp>
        <p:grpSp>
          <p:nvGrpSpPr>
            <p:cNvPr id="188" name="Group 187">
              <a:extLst>
                <a:ext uri="{FF2B5EF4-FFF2-40B4-BE49-F238E27FC236}">
                  <a16:creationId xmlns:a16="http://schemas.microsoft.com/office/drawing/2014/main" id="{CB105543-55A5-45CD-90B9-181B4D9CB536}"/>
                </a:ext>
              </a:extLst>
            </p:cNvPr>
            <p:cNvGrpSpPr/>
            <p:nvPr/>
          </p:nvGrpSpPr>
          <p:grpSpPr>
            <a:xfrm>
              <a:off x="7285995" y="1736809"/>
              <a:ext cx="1552414" cy="975665"/>
              <a:chOff x="6977283" y="2380562"/>
              <a:chExt cx="1993608" cy="1252949"/>
            </a:xfrm>
          </p:grpSpPr>
          <p:pic>
            <p:nvPicPr>
              <p:cNvPr id="189" name="Picture 188">
                <a:extLst>
                  <a:ext uri="{FF2B5EF4-FFF2-40B4-BE49-F238E27FC236}">
                    <a16:creationId xmlns:a16="http://schemas.microsoft.com/office/drawing/2014/main" id="{5DAC18C1-0B64-41CA-B59F-4CF0EE51BD0C}"/>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rcRect l="21142" t="23842" r="26669" b="15146"/>
              <a:stretch>
                <a:fillRect/>
              </a:stretch>
            </p:blipFill>
            <p:spPr>
              <a:xfrm>
                <a:off x="6992940" y="2507318"/>
                <a:ext cx="1111488" cy="1120825"/>
              </a:xfrm>
              <a:custGeom>
                <a:avLst/>
                <a:gdLst>
                  <a:gd name="connsiteX0" fmla="*/ 544068 w 1088136"/>
                  <a:gd name="connsiteY0" fmla="*/ 0 h 1097280"/>
                  <a:gd name="connsiteX1" fmla="*/ 1088136 w 1088136"/>
                  <a:gd name="connsiteY1" fmla="*/ 548640 h 1097280"/>
                  <a:gd name="connsiteX2" fmla="*/ 544068 w 1088136"/>
                  <a:gd name="connsiteY2" fmla="*/ 1097280 h 1097280"/>
                  <a:gd name="connsiteX3" fmla="*/ 0 w 1088136"/>
                  <a:gd name="connsiteY3" fmla="*/ 548640 h 1097280"/>
                  <a:gd name="connsiteX4" fmla="*/ 544068 w 1088136"/>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136" h="1097280">
                    <a:moveTo>
                      <a:pt x="544068" y="0"/>
                    </a:moveTo>
                    <a:cubicBezTo>
                      <a:pt x="844548" y="0"/>
                      <a:pt x="1088136" y="245634"/>
                      <a:pt x="1088136" y="548640"/>
                    </a:cubicBezTo>
                    <a:cubicBezTo>
                      <a:pt x="1088136" y="851646"/>
                      <a:pt x="844548" y="1097280"/>
                      <a:pt x="544068" y="1097280"/>
                    </a:cubicBezTo>
                    <a:cubicBezTo>
                      <a:pt x="243588" y="1097280"/>
                      <a:pt x="0" y="851646"/>
                      <a:pt x="0" y="548640"/>
                    </a:cubicBezTo>
                    <a:cubicBezTo>
                      <a:pt x="0" y="245634"/>
                      <a:pt x="243588" y="0"/>
                      <a:pt x="544068" y="0"/>
                    </a:cubicBezTo>
                    <a:close/>
                  </a:path>
                </a:pathLst>
              </a:custGeom>
              <a:ln>
                <a:solidFill>
                  <a:schemeClr val="tx1"/>
                </a:solidFill>
              </a:ln>
            </p:spPr>
          </p:pic>
          <p:sp>
            <p:nvSpPr>
              <p:cNvPr id="190" name="Freeform: Shape 189">
                <a:extLst>
                  <a:ext uri="{FF2B5EF4-FFF2-40B4-BE49-F238E27FC236}">
                    <a16:creationId xmlns:a16="http://schemas.microsoft.com/office/drawing/2014/main" id="{7CAD57D1-7A22-4268-842D-56CB0C3AB39B}"/>
                  </a:ext>
                </a:extLst>
              </p:cNvPr>
              <p:cNvSpPr/>
              <p:nvPr/>
            </p:nvSpPr>
            <p:spPr>
              <a:xfrm>
                <a:off x="7831609" y="2380562"/>
                <a:ext cx="1139282" cy="1246507"/>
              </a:xfrm>
              <a:custGeom>
                <a:avLst/>
                <a:gdLst>
                  <a:gd name="connsiteX0" fmla="*/ 187166 w 809625"/>
                  <a:gd name="connsiteY0" fmla="*/ 836771 h 885825"/>
                  <a:gd name="connsiteX1" fmla="*/ 381476 w 809625"/>
                  <a:gd name="connsiteY1" fmla="*/ 883444 h 885825"/>
                  <a:gd name="connsiteX2" fmla="*/ 810101 w 809625"/>
                  <a:gd name="connsiteY2" fmla="*/ 490061 h 885825"/>
                  <a:gd name="connsiteX3" fmla="*/ 744379 w 809625"/>
                  <a:gd name="connsiteY3" fmla="*/ 503396 h 885825"/>
                  <a:gd name="connsiteX4" fmla="*/ 744379 w 809625"/>
                  <a:gd name="connsiteY4" fmla="*/ 456724 h 885825"/>
                  <a:gd name="connsiteX5" fmla="*/ 688181 w 809625"/>
                  <a:gd name="connsiteY5" fmla="*/ 370999 h 885825"/>
                  <a:gd name="connsiteX6" fmla="*/ 626269 w 809625"/>
                  <a:gd name="connsiteY6" fmla="*/ 338614 h 885825"/>
                  <a:gd name="connsiteX7" fmla="*/ 579596 w 809625"/>
                  <a:gd name="connsiteY7" fmla="*/ 369094 h 885825"/>
                  <a:gd name="connsiteX8" fmla="*/ 630079 w 809625"/>
                  <a:gd name="connsiteY8" fmla="*/ 449104 h 885825"/>
                  <a:gd name="connsiteX9" fmla="*/ 630079 w 809625"/>
                  <a:gd name="connsiteY9" fmla="*/ 686276 h 885825"/>
                  <a:gd name="connsiteX10" fmla="*/ 591979 w 809625"/>
                  <a:gd name="connsiteY10" fmla="*/ 741521 h 885825"/>
                  <a:gd name="connsiteX11" fmla="*/ 508159 w 809625"/>
                  <a:gd name="connsiteY11" fmla="*/ 781526 h 885825"/>
                  <a:gd name="connsiteX12" fmla="*/ 541496 w 809625"/>
                  <a:gd name="connsiteY12" fmla="*/ 651986 h 885825"/>
                  <a:gd name="connsiteX13" fmla="*/ 515779 w 809625"/>
                  <a:gd name="connsiteY13" fmla="*/ 575786 h 885825"/>
                  <a:gd name="connsiteX14" fmla="*/ 487204 w 809625"/>
                  <a:gd name="connsiteY14" fmla="*/ 607219 h 885825"/>
                  <a:gd name="connsiteX15" fmla="*/ 385286 w 809625"/>
                  <a:gd name="connsiteY15" fmla="*/ 548164 h 885825"/>
                  <a:gd name="connsiteX16" fmla="*/ 363379 w 809625"/>
                  <a:gd name="connsiteY16" fmla="*/ 448151 h 885825"/>
                  <a:gd name="connsiteX17" fmla="*/ 433864 w 809625"/>
                  <a:gd name="connsiteY17" fmla="*/ 344329 h 885825"/>
                  <a:gd name="connsiteX18" fmla="*/ 517684 w 809625"/>
                  <a:gd name="connsiteY18" fmla="*/ 304324 h 885825"/>
                  <a:gd name="connsiteX19" fmla="*/ 553879 w 809625"/>
                  <a:gd name="connsiteY19" fmla="*/ 251936 h 885825"/>
                  <a:gd name="connsiteX20" fmla="*/ 471011 w 809625"/>
                  <a:gd name="connsiteY20" fmla="*/ 251936 h 885825"/>
                  <a:gd name="connsiteX21" fmla="*/ 431959 w 809625"/>
                  <a:gd name="connsiteY21" fmla="*/ 149066 h 885825"/>
                  <a:gd name="connsiteX22" fmla="*/ 596741 w 809625"/>
                  <a:gd name="connsiteY22" fmla="*/ 65246 h 885825"/>
                  <a:gd name="connsiteX23" fmla="*/ 381476 w 809625"/>
                  <a:gd name="connsiteY23" fmla="*/ 7144 h 885825"/>
                  <a:gd name="connsiteX24" fmla="*/ 44291 w 809625"/>
                  <a:gd name="connsiteY24" fmla="*/ 172879 h 885825"/>
                  <a:gd name="connsiteX25" fmla="*/ 40481 w 809625"/>
                  <a:gd name="connsiteY25" fmla="*/ 178594 h 885825"/>
                  <a:gd name="connsiteX26" fmla="*/ 209074 w 809625"/>
                  <a:gd name="connsiteY26" fmla="*/ 178594 h 885825"/>
                  <a:gd name="connsiteX27" fmla="*/ 258604 w 809625"/>
                  <a:gd name="connsiteY27" fmla="*/ 119539 h 885825"/>
                  <a:gd name="connsiteX28" fmla="*/ 332899 w 809625"/>
                  <a:gd name="connsiteY28" fmla="*/ 215741 h 885825"/>
                  <a:gd name="connsiteX29" fmla="*/ 215741 w 809625"/>
                  <a:gd name="connsiteY29" fmla="*/ 334804 h 885825"/>
                  <a:gd name="connsiteX30" fmla="*/ 195739 w 809625"/>
                  <a:gd name="connsiteY30" fmla="*/ 417671 h 885825"/>
                  <a:gd name="connsiteX31" fmla="*/ 220504 w 809625"/>
                  <a:gd name="connsiteY31" fmla="*/ 489109 h 885825"/>
                  <a:gd name="connsiteX32" fmla="*/ 155734 w 809625"/>
                  <a:gd name="connsiteY32" fmla="*/ 522446 h 885825"/>
                  <a:gd name="connsiteX33" fmla="*/ 96679 w 809625"/>
                  <a:gd name="connsiteY33" fmla="*/ 451961 h 885825"/>
                  <a:gd name="connsiteX34" fmla="*/ 50006 w 809625"/>
                  <a:gd name="connsiteY34" fmla="*/ 454819 h 885825"/>
                  <a:gd name="connsiteX35" fmla="*/ 7144 w 809625"/>
                  <a:gd name="connsiteY35" fmla="*/ 579596 h 885825"/>
                  <a:gd name="connsiteX36" fmla="*/ 59531 w 809625"/>
                  <a:gd name="connsiteY36" fmla="*/ 652939 h 885825"/>
                  <a:gd name="connsiteX37" fmla="*/ 137636 w 809625"/>
                  <a:gd name="connsiteY37" fmla="*/ 676751 h 885825"/>
                  <a:gd name="connsiteX38" fmla="*/ 208121 w 809625"/>
                  <a:gd name="connsiteY38" fmla="*/ 723424 h 885825"/>
                  <a:gd name="connsiteX39" fmla="*/ 219551 w 809625"/>
                  <a:gd name="connsiteY39" fmla="*/ 799624 h 885825"/>
                  <a:gd name="connsiteX40" fmla="*/ 187166 w 809625"/>
                  <a:gd name="connsiteY40" fmla="*/ 836771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09625" h="885825">
                    <a:moveTo>
                      <a:pt x="187166" y="836771"/>
                    </a:moveTo>
                    <a:cubicBezTo>
                      <a:pt x="245269" y="867251"/>
                      <a:pt x="311944" y="883444"/>
                      <a:pt x="381476" y="883444"/>
                    </a:cubicBezTo>
                    <a:cubicBezTo>
                      <a:pt x="604361" y="883444"/>
                      <a:pt x="788194" y="711041"/>
                      <a:pt x="810101" y="490061"/>
                    </a:cubicBezTo>
                    <a:lnTo>
                      <a:pt x="744379" y="503396"/>
                    </a:lnTo>
                    <a:lnTo>
                      <a:pt x="744379" y="456724"/>
                    </a:lnTo>
                    <a:lnTo>
                      <a:pt x="688181" y="370999"/>
                    </a:lnTo>
                    <a:lnTo>
                      <a:pt x="626269" y="338614"/>
                    </a:lnTo>
                    <a:lnTo>
                      <a:pt x="579596" y="369094"/>
                    </a:lnTo>
                    <a:lnTo>
                      <a:pt x="630079" y="449104"/>
                    </a:lnTo>
                    <a:lnTo>
                      <a:pt x="630079" y="686276"/>
                    </a:lnTo>
                    <a:lnTo>
                      <a:pt x="591979" y="741521"/>
                    </a:lnTo>
                    <a:lnTo>
                      <a:pt x="508159" y="781526"/>
                    </a:lnTo>
                    <a:lnTo>
                      <a:pt x="541496" y="651986"/>
                    </a:lnTo>
                    <a:lnTo>
                      <a:pt x="515779" y="575786"/>
                    </a:lnTo>
                    <a:lnTo>
                      <a:pt x="487204" y="607219"/>
                    </a:lnTo>
                    <a:lnTo>
                      <a:pt x="385286" y="548164"/>
                    </a:lnTo>
                    <a:lnTo>
                      <a:pt x="363379" y="448151"/>
                    </a:lnTo>
                    <a:lnTo>
                      <a:pt x="433864" y="344329"/>
                    </a:lnTo>
                    <a:lnTo>
                      <a:pt x="517684" y="304324"/>
                    </a:lnTo>
                    <a:lnTo>
                      <a:pt x="553879" y="251936"/>
                    </a:lnTo>
                    <a:lnTo>
                      <a:pt x="471011" y="251936"/>
                    </a:lnTo>
                    <a:lnTo>
                      <a:pt x="431959" y="149066"/>
                    </a:lnTo>
                    <a:lnTo>
                      <a:pt x="596741" y="65246"/>
                    </a:lnTo>
                    <a:cubicBezTo>
                      <a:pt x="531971" y="29051"/>
                      <a:pt x="459581" y="7144"/>
                      <a:pt x="381476" y="7144"/>
                    </a:cubicBezTo>
                    <a:cubicBezTo>
                      <a:pt x="249079" y="7144"/>
                      <a:pt x="126206" y="68104"/>
                      <a:pt x="44291" y="172879"/>
                    </a:cubicBezTo>
                    <a:cubicBezTo>
                      <a:pt x="43339" y="174784"/>
                      <a:pt x="41434" y="176689"/>
                      <a:pt x="40481" y="178594"/>
                    </a:cubicBezTo>
                    <a:lnTo>
                      <a:pt x="209074" y="178594"/>
                    </a:lnTo>
                    <a:lnTo>
                      <a:pt x="258604" y="119539"/>
                    </a:lnTo>
                    <a:lnTo>
                      <a:pt x="332899" y="215741"/>
                    </a:lnTo>
                    <a:lnTo>
                      <a:pt x="215741" y="334804"/>
                    </a:lnTo>
                    <a:lnTo>
                      <a:pt x="195739" y="417671"/>
                    </a:lnTo>
                    <a:lnTo>
                      <a:pt x="220504" y="489109"/>
                    </a:lnTo>
                    <a:lnTo>
                      <a:pt x="155734" y="522446"/>
                    </a:lnTo>
                    <a:lnTo>
                      <a:pt x="96679" y="451961"/>
                    </a:lnTo>
                    <a:lnTo>
                      <a:pt x="50006" y="454819"/>
                    </a:lnTo>
                    <a:lnTo>
                      <a:pt x="7144" y="579596"/>
                    </a:lnTo>
                    <a:lnTo>
                      <a:pt x="59531" y="652939"/>
                    </a:lnTo>
                    <a:lnTo>
                      <a:pt x="137636" y="676751"/>
                    </a:lnTo>
                    <a:lnTo>
                      <a:pt x="208121" y="723424"/>
                    </a:lnTo>
                    <a:lnTo>
                      <a:pt x="219551" y="799624"/>
                    </a:lnTo>
                    <a:lnTo>
                      <a:pt x="187166" y="836771"/>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820DFAA4-5733-4C78-AB92-126B735296D4}"/>
                  </a:ext>
                </a:extLst>
              </p:cNvPr>
              <p:cNvSpPr/>
              <p:nvPr/>
            </p:nvSpPr>
            <p:spPr>
              <a:xfrm>
                <a:off x="6977283" y="2483833"/>
                <a:ext cx="1137449" cy="1149678"/>
              </a:xfrm>
              <a:custGeom>
                <a:avLst/>
                <a:gdLst>
                  <a:gd name="connsiteX0" fmla="*/ 7348 w 885825"/>
                  <a:gd name="connsiteY0" fmla="*/ 452166 h 895350"/>
                  <a:gd name="connsiteX1" fmla="*/ 101646 w 885825"/>
                  <a:gd name="connsiteY1" fmla="*/ 174988 h 895350"/>
                  <a:gd name="connsiteX2" fmla="*/ 442641 w 885825"/>
                  <a:gd name="connsiteY2" fmla="*/ 7348 h 895350"/>
                  <a:gd name="connsiteX3" fmla="*/ 877933 w 885825"/>
                  <a:gd name="connsiteY3" fmla="*/ 452166 h 895350"/>
                  <a:gd name="connsiteX4" fmla="*/ 442641 w 885825"/>
                  <a:gd name="connsiteY4" fmla="*/ 894126 h 895350"/>
                  <a:gd name="connsiteX5" fmla="*/ 7348 w 885825"/>
                  <a:gd name="connsiteY5" fmla="*/ 452166 h 895350"/>
                  <a:gd name="connsiteX6" fmla="*/ 7348 w 885825"/>
                  <a:gd name="connsiteY6" fmla="*/ 452166 h 895350"/>
                  <a:gd name="connsiteX7" fmla="*/ 240711 w 885825"/>
                  <a:gd name="connsiteY7" fmla="*/ 843643 h 895350"/>
                  <a:gd name="connsiteX8" fmla="*/ 275001 w 885825"/>
                  <a:gd name="connsiteY8" fmla="*/ 803638 h 895350"/>
                  <a:gd name="connsiteX9" fmla="*/ 264523 w 885825"/>
                  <a:gd name="connsiteY9" fmla="*/ 732201 h 895350"/>
                  <a:gd name="connsiteX10" fmla="*/ 195943 w 885825"/>
                  <a:gd name="connsiteY10" fmla="*/ 686481 h 895350"/>
                  <a:gd name="connsiteX11" fmla="*/ 116886 w 885825"/>
                  <a:gd name="connsiteY11" fmla="*/ 662668 h 895350"/>
                  <a:gd name="connsiteX12" fmla="*/ 61641 w 885825"/>
                  <a:gd name="connsiteY12" fmla="*/ 585516 h 895350"/>
                  <a:gd name="connsiteX13" fmla="*/ 107361 w 885825"/>
                  <a:gd name="connsiteY13" fmla="*/ 455023 h 895350"/>
                  <a:gd name="connsiteX14" fmla="*/ 159748 w 885825"/>
                  <a:gd name="connsiteY14" fmla="*/ 452166 h 895350"/>
                  <a:gd name="connsiteX15" fmla="*/ 217851 w 885825"/>
                  <a:gd name="connsiteY15" fmla="*/ 521698 h 895350"/>
                  <a:gd name="connsiteX16" fmla="*/ 275953 w 885825"/>
                  <a:gd name="connsiteY16" fmla="*/ 492171 h 895350"/>
                  <a:gd name="connsiteX17" fmla="*/ 252141 w 885825"/>
                  <a:gd name="connsiteY17" fmla="*/ 422638 h 895350"/>
                  <a:gd name="connsiteX18" fmla="*/ 273096 w 885825"/>
                  <a:gd name="connsiteY18" fmla="*/ 337866 h 895350"/>
                  <a:gd name="connsiteX19" fmla="*/ 388348 w 885825"/>
                  <a:gd name="connsiteY19" fmla="*/ 220708 h 895350"/>
                  <a:gd name="connsiteX20" fmla="*/ 319768 w 885825"/>
                  <a:gd name="connsiteY20" fmla="*/ 133078 h 895350"/>
                  <a:gd name="connsiteX21" fmla="*/ 272143 w 885825"/>
                  <a:gd name="connsiteY21" fmla="*/ 189276 h 895350"/>
                  <a:gd name="connsiteX22" fmla="*/ 91168 w 885825"/>
                  <a:gd name="connsiteY22" fmla="*/ 189276 h 895350"/>
                  <a:gd name="connsiteX23" fmla="*/ 665526 w 885825"/>
                  <a:gd name="connsiteY23" fmla="*/ 71166 h 895350"/>
                  <a:gd name="connsiteX24" fmla="*/ 497886 w 885825"/>
                  <a:gd name="connsiteY24" fmla="*/ 156891 h 895350"/>
                  <a:gd name="connsiteX25" fmla="*/ 535033 w 885825"/>
                  <a:gd name="connsiteY25" fmla="*/ 253093 h 895350"/>
                  <a:gd name="connsiteX26" fmla="*/ 624568 w 885825"/>
                  <a:gd name="connsiteY26" fmla="*/ 253093 h 895350"/>
                  <a:gd name="connsiteX27" fmla="*/ 582658 w 885825"/>
                  <a:gd name="connsiteY27" fmla="*/ 314053 h 895350"/>
                  <a:gd name="connsiteX28" fmla="*/ 497886 w 885825"/>
                  <a:gd name="connsiteY28" fmla="*/ 354058 h 895350"/>
                  <a:gd name="connsiteX29" fmla="*/ 429306 w 885825"/>
                  <a:gd name="connsiteY29" fmla="*/ 455023 h 895350"/>
                  <a:gd name="connsiteX30" fmla="*/ 450261 w 885825"/>
                  <a:gd name="connsiteY30" fmla="*/ 550273 h 895350"/>
                  <a:gd name="connsiteX31" fmla="*/ 547416 w 885825"/>
                  <a:gd name="connsiteY31" fmla="*/ 606471 h 895350"/>
                  <a:gd name="connsiteX32" fmla="*/ 578848 w 885825"/>
                  <a:gd name="connsiteY32" fmla="*/ 572181 h 895350"/>
                  <a:gd name="connsiteX33" fmla="*/ 607423 w 885825"/>
                  <a:gd name="connsiteY33" fmla="*/ 656953 h 895350"/>
                  <a:gd name="connsiteX34" fmla="*/ 575991 w 885825"/>
                  <a:gd name="connsiteY34" fmla="*/ 776968 h 895350"/>
                  <a:gd name="connsiteX35" fmla="*/ 649333 w 885825"/>
                  <a:gd name="connsiteY35" fmla="*/ 742678 h 895350"/>
                  <a:gd name="connsiteX36" fmla="*/ 686481 w 885825"/>
                  <a:gd name="connsiteY36" fmla="*/ 689338 h 895350"/>
                  <a:gd name="connsiteX37" fmla="*/ 686481 w 885825"/>
                  <a:gd name="connsiteY37" fmla="*/ 455023 h 895350"/>
                  <a:gd name="connsiteX38" fmla="*/ 634093 w 885825"/>
                  <a:gd name="connsiteY38" fmla="*/ 372156 h 895350"/>
                  <a:gd name="connsiteX39" fmla="*/ 686481 w 885825"/>
                  <a:gd name="connsiteY39" fmla="*/ 337866 h 895350"/>
                  <a:gd name="connsiteX40" fmla="*/ 752203 w 885825"/>
                  <a:gd name="connsiteY40" fmla="*/ 372156 h 895350"/>
                  <a:gd name="connsiteX41" fmla="*/ 810306 w 885825"/>
                  <a:gd name="connsiteY41" fmla="*/ 459786 h 895350"/>
                  <a:gd name="connsiteX42" fmla="*/ 810306 w 885825"/>
                  <a:gd name="connsiteY42" fmla="*/ 502648 h 895350"/>
                  <a:gd name="connsiteX43" fmla="*/ 878886 w 885825"/>
                  <a:gd name="connsiteY43" fmla="*/ 489313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85825" h="895350">
                    <a:moveTo>
                      <a:pt x="7348" y="452166"/>
                    </a:moveTo>
                    <a:cubicBezTo>
                      <a:pt x="7348" y="348343"/>
                      <a:pt x="41638" y="252141"/>
                      <a:pt x="101646" y="174988"/>
                    </a:cubicBezTo>
                    <a:cubicBezTo>
                      <a:pt x="180703" y="74023"/>
                      <a:pt x="303576" y="7348"/>
                      <a:pt x="442641" y="7348"/>
                    </a:cubicBezTo>
                    <a:cubicBezTo>
                      <a:pt x="683623" y="7348"/>
                      <a:pt x="877933" y="207373"/>
                      <a:pt x="877933" y="452166"/>
                    </a:cubicBezTo>
                    <a:cubicBezTo>
                      <a:pt x="877933" y="694101"/>
                      <a:pt x="683623" y="894126"/>
                      <a:pt x="442641" y="894126"/>
                    </a:cubicBezTo>
                    <a:cubicBezTo>
                      <a:pt x="201658" y="894126"/>
                      <a:pt x="7348" y="694101"/>
                      <a:pt x="7348" y="452166"/>
                    </a:cubicBezTo>
                    <a:lnTo>
                      <a:pt x="7348" y="452166"/>
                    </a:lnTo>
                    <a:close/>
                    <a:moveTo>
                      <a:pt x="240711" y="843643"/>
                    </a:moveTo>
                    <a:cubicBezTo>
                      <a:pt x="275001" y="803638"/>
                      <a:pt x="275001" y="803638"/>
                      <a:pt x="275001" y="803638"/>
                    </a:cubicBezTo>
                    <a:cubicBezTo>
                      <a:pt x="264523" y="732201"/>
                      <a:pt x="264523" y="732201"/>
                      <a:pt x="264523" y="732201"/>
                    </a:cubicBezTo>
                    <a:cubicBezTo>
                      <a:pt x="195943" y="686481"/>
                      <a:pt x="195943" y="686481"/>
                      <a:pt x="195943" y="686481"/>
                    </a:cubicBezTo>
                    <a:cubicBezTo>
                      <a:pt x="116886" y="662668"/>
                      <a:pt x="116886" y="662668"/>
                      <a:pt x="116886" y="662668"/>
                    </a:cubicBezTo>
                    <a:cubicBezTo>
                      <a:pt x="61641" y="585516"/>
                      <a:pt x="61641" y="585516"/>
                      <a:pt x="61641" y="585516"/>
                    </a:cubicBezTo>
                    <a:cubicBezTo>
                      <a:pt x="107361" y="455023"/>
                      <a:pt x="107361" y="455023"/>
                      <a:pt x="107361" y="455023"/>
                    </a:cubicBezTo>
                    <a:cubicBezTo>
                      <a:pt x="159748" y="452166"/>
                      <a:pt x="159748" y="452166"/>
                      <a:pt x="159748" y="452166"/>
                    </a:cubicBezTo>
                    <a:cubicBezTo>
                      <a:pt x="217851" y="521698"/>
                      <a:pt x="217851" y="521698"/>
                      <a:pt x="217851" y="521698"/>
                    </a:cubicBezTo>
                    <a:cubicBezTo>
                      <a:pt x="275953" y="492171"/>
                      <a:pt x="275953" y="492171"/>
                      <a:pt x="275953" y="492171"/>
                    </a:cubicBezTo>
                    <a:cubicBezTo>
                      <a:pt x="252141" y="422638"/>
                      <a:pt x="252141" y="422638"/>
                      <a:pt x="252141" y="422638"/>
                    </a:cubicBezTo>
                    <a:cubicBezTo>
                      <a:pt x="273096" y="337866"/>
                      <a:pt x="273096" y="337866"/>
                      <a:pt x="273096" y="337866"/>
                    </a:cubicBezTo>
                    <a:cubicBezTo>
                      <a:pt x="388348" y="220708"/>
                      <a:pt x="388348" y="220708"/>
                      <a:pt x="388348" y="220708"/>
                    </a:cubicBezTo>
                    <a:cubicBezTo>
                      <a:pt x="319768" y="133078"/>
                      <a:pt x="319768" y="133078"/>
                      <a:pt x="319768" y="133078"/>
                    </a:cubicBezTo>
                    <a:cubicBezTo>
                      <a:pt x="272143" y="189276"/>
                      <a:pt x="272143" y="189276"/>
                      <a:pt x="272143" y="189276"/>
                    </a:cubicBezTo>
                    <a:cubicBezTo>
                      <a:pt x="91168" y="189276"/>
                      <a:pt x="91168" y="189276"/>
                      <a:pt x="91168" y="189276"/>
                    </a:cubicBezTo>
                    <a:moveTo>
                      <a:pt x="665526" y="71166"/>
                    </a:moveTo>
                    <a:cubicBezTo>
                      <a:pt x="497886" y="156891"/>
                      <a:pt x="497886" y="156891"/>
                      <a:pt x="497886" y="156891"/>
                    </a:cubicBezTo>
                    <a:cubicBezTo>
                      <a:pt x="535033" y="253093"/>
                      <a:pt x="535033" y="253093"/>
                      <a:pt x="535033" y="253093"/>
                    </a:cubicBezTo>
                    <a:cubicBezTo>
                      <a:pt x="624568" y="253093"/>
                      <a:pt x="624568" y="253093"/>
                      <a:pt x="624568" y="253093"/>
                    </a:cubicBezTo>
                    <a:cubicBezTo>
                      <a:pt x="582658" y="314053"/>
                      <a:pt x="582658" y="314053"/>
                      <a:pt x="582658" y="314053"/>
                    </a:cubicBezTo>
                    <a:cubicBezTo>
                      <a:pt x="497886" y="354058"/>
                      <a:pt x="497886" y="354058"/>
                      <a:pt x="497886" y="354058"/>
                    </a:cubicBezTo>
                    <a:cubicBezTo>
                      <a:pt x="429306" y="455023"/>
                      <a:pt x="429306" y="455023"/>
                      <a:pt x="429306" y="455023"/>
                    </a:cubicBezTo>
                    <a:cubicBezTo>
                      <a:pt x="450261" y="550273"/>
                      <a:pt x="450261" y="550273"/>
                      <a:pt x="450261" y="550273"/>
                    </a:cubicBezTo>
                    <a:cubicBezTo>
                      <a:pt x="547416" y="606471"/>
                      <a:pt x="547416" y="606471"/>
                      <a:pt x="547416" y="606471"/>
                    </a:cubicBezTo>
                    <a:cubicBezTo>
                      <a:pt x="578848" y="572181"/>
                      <a:pt x="578848" y="572181"/>
                      <a:pt x="578848" y="572181"/>
                    </a:cubicBezTo>
                    <a:cubicBezTo>
                      <a:pt x="607423" y="656953"/>
                      <a:pt x="607423" y="656953"/>
                      <a:pt x="607423" y="656953"/>
                    </a:cubicBezTo>
                    <a:cubicBezTo>
                      <a:pt x="575991" y="776968"/>
                      <a:pt x="575991" y="776968"/>
                      <a:pt x="575991" y="776968"/>
                    </a:cubicBezTo>
                    <a:cubicBezTo>
                      <a:pt x="649333" y="742678"/>
                      <a:pt x="649333" y="742678"/>
                      <a:pt x="649333" y="742678"/>
                    </a:cubicBezTo>
                    <a:cubicBezTo>
                      <a:pt x="686481" y="689338"/>
                      <a:pt x="686481" y="689338"/>
                      <a:pt x="686481" y="689338"/>
                    </a:cubicBezTo>
                    <a:cubicBezTo>
                      <a:pt x="686481" y="455023"/>
                      <a:pt x="686481" y="455023"/>
                      <a:pt x="686481" y="455023"/>
                    </a:cubicBezTo>
                    <a:cubicBezTo>
                      <a:pt x="634093" y="372156"/>
                      <a:pt x="634093" y="372156"/>
                      <a:pt x="634093" y="372156"/>
                    </a:cubicBezTo>
                    <a:cubicBezTo>
                      <a:pt x="686481" y="337866"/>
                      <a:pt x="686481" y="337866"/>
                      <a:pt x="686481" y="337866"/>
                    </a:cubicBezTo>
                    <a:cubicBezTo>
                      <a:pt x="752203" y="372156"/>
                      <a:pt x="752203" y="372156"/>
                      <a:pt x="752203" y="372156"/>
                    </a:cubicBezTo>
                    <a:cubicBezTo>
                      <a:pt x="810306" y="459786"/>
                      <a:pt x="810306" y="459786"/>
                      <a:pt x="810306" y="459786"/>
                    </a:cubicBezTo>
                    <a:cubicBezTo>
                      <a:pt x="810306" y="502648"/>
                      <a:pt x="810306" y="502648"/>
                      <a:pt x="810306" y="502648"/>
                    </a:cubicBezTo>
                    <a:cubicBezTo>
                      <a:pt x="878886" y="489313"/>
                      <a:pt x="878886" y="489313"/>
                      <a:pt x="878886" y="489313"/>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Freeform: Shape 191">
                <a:extLst>
                  <a:ext uri="{FF2B5EF4-FFF2-40B4-BE49-F238E27FC236}">
                    <a16:creationId xmlns:a16="http://schemas.microsoft.com/office/drawing/2014/main" id="{CDED9F72-F87A-4CC9-B72F-141A3007AA1A}"/>
                  </a:ext>
                </a:extLst>
              </p:cNvPr>
              <p:cNvSpPr/>
              <p:nvPr/>
            </p:nvSpPr>
            <p:spPr>
              <a:xfrm>
                <a:off x="7813361" y="2382963"/>
                <a:ext cx="1106048" cy="1130090"/>
              </a:xfrm>
              <a:custGeom>
                <a:avLst/>
                <a:gdLst>
                  <a:gd name="connsiteX0" fmla="*/ 7144 w 876300"/>
                  <a:gd name="connsiteY0" fmla="*/ 451961 h 895350"/>
                  <a:gd name="connsiteX1" fmla="*/ 101441 w 876300"/>
                  <a:gd name="connsiteY1" fmla="*/ 174784 h 895350"/>
                  <a:gd name="connsiteX2" fmla="*/ 442436 w 876300"/>
                  <a:gd name="connsiteY2" fmla="*/ 7144 h 895350"/>
                  <a:gd name="connsiteX3" fmla="*/ 877729 w 876300"/>
                  <a:gd name="connsiteY3" fmla="*/ 451961 h 895350"/>
                  <a:gd name="connsiteX4" fmla="*/ 442436 w 876300"/>
                  <a:gd name="connsiteY4" fmla="*/ 893921 h 895350"/>
                  <a:gd name="connsiteX5" fmla="*/ 7144 w 876300"/>
                  <a:gd name="connsiteY5" fmla="*/ 451961 h 895350"/>
                  <a:gd name="connsiteX6" fmla="*/ 7144 w 876300"/>
                  <a:gd name="connsiteY6" fmla="*/ 451961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300" h="895350">
                    <a:moveTo>
                      <a:pt x="7144" y="451961"/>
                    </a:moveTo>
                    <a:cubicBezTo>
                      <a:pt x="7144" y="348139"/>
                      <a:pt x="41434" y="251936"/>
                      <a:pt x="101441" y="174784"/>
                    </a:cubicBezTo>
                    <a:cubicBezTo>
                      <a:pt x="180499" y="73819"/>
                      <a:pt x="303371" y="7144"/>
                      <a:pt x="442436" y="7144"/>
                    </a:cubicBezTo>
                    <a:cubicBezTo>
                      <a:pt x="683419" y="7144"/>
                      <a:pt x="877729" y="207169"/>
                      <a:pt x="877729" y="451961"/>
                    </a:cubicBezTo>
                    <a:cubicBezTo>
                      <a:pt x="877729" y="693896"/>
                      <a:pt x="683419" y="893921"/>
                      <a:pt x="442436" y="893921"/>
                    </a:cubicBezTo>
                    <a:cubicBezTo>
                      <a:pt x="201454" y="893921"/>
                      <a:pt x="7144" y="693896"/>
                      <a:pt x="7144" y="451961"/>
                    </a:cubicBezTo>
                    <a:lnTo>
                      <a:pt x="7144" y="451961"/>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6E629834-1206-4699-96BB-A39025E815CA}"/>
                  </a:ext>
                </a:extLst>
              </p:cNvPr>
              <p:cNvSpPr/>
              <p:nvPr/>
            </p:nvSpPr>
            <p:spPr>
              <a:xfrm>
                <a:off x="7813361" y="2382963"/>
                <a:ext cx="1118070" cy="1130090"/>
              </a:xfrm>
              <a:custGeom>
                <a:avLst/>
                <a:gdLst>
                  <a:gd name="connsiteX0" fmla="*/ 7144 w 885825"/>
                  <a:gd name="connsiteY0" fmla="*/ 451961 h 895350"/>
                  <a:gd name="connsiteX1" fmla="*/ 101441 w 885825"/>
                  <a:gd name="connsiteY1" fmla="*/ 174784 h 895350"/>
                  <a:gd name="connsiteX2" fmla="*/ 442436 w 885825"/>
                  <a:gd name="connsiteY2" fmla="*/ 7144 h 895350"/>
                  <a:gd name="connsiteX3" fmla="*/ 877729 w 885825"/>
                  <a:gd name="connsiteY3" fmla="*/ 451961 h 895350"/>
                  <a:gd name="connsiteX4" fmla="*/ 442436 w 885825"/>
                  <a:gd name="connsiteY4" fmla="*/ 893921 h 895350"/>
                  <a:gd name="connsiteX5" fmla="*/ 7144 w 885825"/>
                  <a:gd name="connsiteY5" fmla="*/ 451961 h 895350"/>
                  <a:gd name="connsiteX6" fmla="*/ 7144 w 885825"/>
                  <a:gd name="connsiteY6" fmla="*/ 451961 h 895350"/>
                  <a:gd name="connsiteX7" fmla="*/ 240506 w 885825"/>
                  <a:gd name="connsiteY7" fmla="*/ 843439 h 895350"/>
                  <a:gd name="connsiteX8" fmla="*/ 274796 w 885825"/>
                  <a:gd name="connsiteY8" fmla="*/ 803434 h 895350"/>
                  <a:gd name="connsiteX9" fmla="*/ 264319 w 885825"/>
                  <a:gd name="connsiteY9" fmla="*/ 731996 h 895350"/>
                  <a:gd name="connsiteX10" fmla="*/ 195739 w 885825"/>
                  <a:gd name="connsiteY10" fmla="*/ 686276 h 895350"/>
                  <a:gd name="connsiteX11" fmla="*/ 116681 w 885825"/>
                  <a:gd name="connsiteY11" fmla="*/ 662464 h 895350"/>
                  <a:gd name="connsiteX12" fmla="*/ 61436 w 885825"/>
                  <a:gd name="connsiteY12" fmla="*/ 585311 h 895350"/>
                  <a:gd name="connsiteX13" fmla="*/ 107156 w 885825"/>
                  <a:gd name="connsiteY13" fmla="*/ 454819 h 895350"/>
                  <a:gd name="connsiteX14" fmla="*/ 159544 w 885825"/>
                  <a:gd name="connsiteY14" fmla="*/ 451961 h 895350"/>
                  <a:gd name="connsiteX15" fmla="*/ 217646 w 885825"/>
                  <a:gd name="connsiteY15" fmla="*/ 521494 h 895350"/>
                  <a:gd name="connsiteX16" fmla="*/ 275749 w 885825"/>
                  <a:gd name="connsiteY16" fmla="*/ 491966 h 895350"/>
                  <a:gd name="connsiteX17" fmla="*/ 251936 w 885825"/>
                  <a:gd name="connsiteY17" fmla="*/ 422434 h 895350"/>
                  <a:gd name="connsiteX18" fmla="*/ 272891 w 885825"/>
                  <a:gd name="connsiteY18" fmla="*/ 337661 h 895350"/>
                  <a:gd name="connsiteX19" fmla="*/ 388144 w 885825"/>
                  <a:gd name="connsiteY19" fmla="*/ 220504 h 895350"/>
                  <a:gd name="connsiteX20" fmla="*/ 319564 w 885825"/>
                  <a:gd name="connsiteY20" fmla="*/ 132874 h 895350"/>
                  <a:gd name="connsiteX21" fmla="*/ 271939 w 885825"/>
                  <a:gd name="connsiteY21" fmla="*/ 189071 h 895350"/>
                  <a:gd name="connsiteX22" fmla="*/ 90964 w 885825"/>
                  <a:gd name="connsiteY22" fmla="*/ 189071 h 895350"/>
                  <a:gd name="connsiteX23" fmla="*/ 665321 w 885825"/>
                  <a:gd name="connsiteY23" fmla="*/ 70961 h 895350"/>
                  <a:gd name="connsiteX24" fmla="*/ 497681 w 885825"/>
                  <a:gd name="connsiteY24" fmla="*/ 156686 h 895350"/>
                  <a:gd name="connsiteX25" fmla="*/ 534829 w 885825"/>
                  <a:gd name="connsiteY25" fmla="*/ 252889 h 895350"/>
                  <a:gd name="connsiteX26" fmla="*/ 624364 w 885825"/>
                  <a:gd name="connsiteY26" fmla="*/ 252889 h 895350"/>
                  <a:gd name="connsiteX27" fmla="*/ 582454 w 885825"/>
                  <a:gd name="connsiteY27" fmla="*/ 313849 h 895350"/>
                  <a:gd name="connsiteX28" fmla="*/ 497681 w 885825"/>
                  <a:gd name="connsiteY28" fmla="*/ 353854 h 895350"/>
                  <a:gd name="connsiteX29" fmla="*/ 429101 w 885825"/>
                  <a:gd name="connsiteY29" fmla="*/ 454819 h 895350"/>
                  <a:gd name="connsiteX30" fmla="*/ 450056 w 885825"/>
                  <a:gd name="connsiteY30" fmla="*/ 550069 h 895350"/>
                  <a:gd name="connsiteX31" fmla="*/ 547211 w 885825"/>
                  <a:gd name="connsiteY31" fmla="*/ 606266 h 895350"/>
                  <a:gd name="connsiteX32" fmla="*/ 578644 w 885825"/>
                  <a:gd name="connsiteY32" fmla="*/ 571976 h 895350"/>
                  <a:gd name="connsiteX33" fmla="*/ 607219 w 885825"/>
                  <a:gd name="connsiteY33" fmla="*/ 656749 h 895350"/>
                  <a:gd name="connsiteX34" fmla="*/ 575786 w 885825"/>
                  <a:gd name="connsiteY34" fmla="*/ 776764 h 895350"/>
                  <a:gd name="connsiteX35" fmla="*/ 649129 w 885825"/>
                  <a:gd name="connsiteY35" fmla="*/ 742474 h 895350"/>
                  <a:gd name="connsiteX36" fmla="*/ 686276 w 885825"/>
                  <a:gd name="connsiteY36" fmla="*/ 689134 h 895350"/>
                  <a:gd name="connsiteX37" fmla="*/ 686276 w 885825"/>
                  <a:gd name="connsiteY37" fmla="*/ 454819 h 895350"/>
                  <a:gd name="connsiteX38" fmla="*/ 633889 w 885825"/>
                  <a:gd name="connsiteY38" fmla="*/ 371951 h 895350"/>
                  <a:gd name="connsiteX39" fmla="*/ 686276 w 885825"/>
                  <a:gd name="connsiteY39" fmla="*/ 337661 h 895350"/>
                  <a:gd name="connsiteX40" fmla="*/ 751999 w 885825"/>
                  <a:gd name="connsiteY40" fmla="*/ 371951 h 895350"/>
                  <a:gd name="connsiteX41" fmla="*/ 810101 w 885825"/>
                  <a:gd name="connsiteY41" fmla="*/ 459581 h 895350"/>
                  <a:gd name="connsiteX42" fmla="*/ 810101 w 885825"/>
                  <a:gd name="connsiteY42" fmla="*/ 502444 h 895350"/>
                  <a:gd name="connsiteX43" fmla="*/ 878681 w 885825"/>
                  <a:gd name="connsiteY43" fmla="*/ 489109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85825" h="895350">
                    <a:moveTo>
                      <a:pt x="7144" y="451961"/>
                    </a:moveTo>
                    <a:cubicBezTo>
                      <a:pt x="7144" y="348139"/>
                      <a:pt x="41434" y="251936"/>
                      <a:pt x="101441" y="174784"/>
                    </a:cubicBezTo>
                    <a:cubicBezTo>
                      <a:pt x="180499" y="73819"/>
                      <a:pt x="303371" y="7144"/>
                      <a:pt x="442436" y="7144"/>
                    </a:cubicBezTo>
                    <a:cubicBezTo>
                      <a:pt x="683419" y="7144"/>
                      <a:pt x="877729" y="207169"/>
                      <a:pt x="877729" y="451961"/>
                    </a:cubicBezTo>
                    <a:cubicBezTo>
                      <a:pt x="877729" y="693896"/>
                      <a:pt x="683419" y="893921"/>
                      <a:pt x="442436" y="893921"/>
                    </a:cubicBezTo>
                    <a:cubicBezTo>
                      <a:pt x="201454" y="893921"/>
                      <a:pt x="7144" y="693896"/>
                      <a:pt x="7144" y="451961"/>
                    </a:cubicBezTo>
                    <a:lnTo>
                      <a:pt x="7144" y="451961"/>
                    </a:lnTo>
                    <a:close/>
                    <a:moveTo>
                      <a:pt x="240506" y="843439"/>
                    </a:moveTo>
                    <a:cubicBezTo>
                      <a:pt x="274796" y="803434"/>
                      <a:pt x="274796" y="803434"/>
                      <a:pt x="274796" y="803434"/>
                    </a:cubicBezTo>
                    <a:cubicBezTo>
                      <a:pt x="264319" y="731996"/>
                      <a:pt x="264319" y="731996"/>
                      <a:pt x="264319" y="731996"/>
                    </a:cubicBezTo>
                    <a:cubicBezTo>
                      <a:pt x="195739" y="686276"/>
                      <a:pt x="195739" y="686276"/>
                      <a:pt x="195739" y="686276"/>
                    </a:cubicBezTo>
                    <a:cubicBezTo>
                      <a:pt x="116681" y="662464"/>
                      <a:pt x="116681" y="662464"/>
                      <a:pt x="116681" y="662464"/>
                    </a:cubicBezTo>
                    <a:cubicBezTo>
                      <a:pt x="61436" y="585311"/>
                      <a:pt x="61436" y="585311"/>
                      <a:pt x="61436" y="585311"/>
                    </a:cubicBezTo>
                    <a:cubicBezTo>
                      <a:pt x="107156" y="454819"/>
                      <a:pt x="107156" y="454819"/>
                      <a:pt x="107156" y="454819"/>
                    </a:cubicBezTo>
                    <a:cubicBezTo>
                      <a:pt x="159544" y="451961"/>
                      <a:pt x="159544" y="451961"/>
                      <a:pt x="159544" y="451961"/>
                    </a:cubicBezTo>
                    <a:cubicBezTo>
                      <a:pt x="217646" y="521494"/>
                      <a:pt x="217646" y="521494"/>
                      <a:pt x="217646" y="521494"/>
                    </a:cubicBezTo>
                    <a:cubicBezTo>
                      <a:pt x="275749" y="491966"/>
                      <a:pt x="275749" y="491966"/>
                      <a:pt x="275749" y="491966"/>
                    </a:cubicBezTo>
                    <a:cubicBezTo>
                      <a:pt x="251936" y="422434"/>
                      <a:pt x="251936" y="422434"/>
                      <a:pt x="251936" y="422434"/>
                    </a:cubicBezTo>
                    <a:cubicBezTo>
                      <a:pt x="272891" y="337661"/>
                      <a:pt x="272891" y="337661"/>
                      <a:pt x="272891" y="337661"/>
                    </a:cubicBezTo>
                    <a:cubicBezTo>
                      <a:pt x="388144" y="220504"/>
                      <a:pt x="388144" y="220504"/>
                      <a:pt x="388144" y="220504"/>
                    </a:cubicBezTo>
                    <a:cubicBezTo>
                      <a:pt x="319564" y="132874"/>
                      <a:pt x="319564" y="132874"/>
                      <a:pt x="319564" y="132874"/>
                    </a:cubicBezTo>
                    <a:cubicBezTo>
                      <a:pt x="271939" y="189071"/>
                      <a:pt x="271939" y="189071"/>
                      <a:pt x="271939" y="189071"/>
                    </a:cubicBezTo>
                    <a:cubicBezTo>
                      <a:pt x="90964" y="189071"/>
                      <a:pt x="90964" y="189071"/>
                      <a:pt x="90964" y="189071"/>
                    </a:cubicBezTo>
                    <a:moveTo>
                      <a:pt x="665321" y="70961"/>
                    </a:moveTo>
                    <a:cubicBezTo>
                      <a:pt x="497681" y="156686"/>
                      <a:pt x="497681" y="156686"/>
                      <a:pt x="497681" y="156686"/>
                    </a:cubicBezTo>
                    <a:cubicBezTo>
                      <a:pt x="534829" y="252889"/>
                      <a:pt x="534829" y="252889"/>
                      <a:pt x="534829" y="252889"/>
                    </a:cubicBezTo>
                    <a:cubicBezTo>
                      <a:pt x="624364" y="252889"/>
                      <a:pt x="624364" y="252889"/>
                      <a:pt x="624364" y="252889"/>
                    </a:cubicBezTo>
                    <a:cubicBezTo>
                      <a:pt x="582454" y="313849"/>
                      <a:pt x="582454" y="313849"/>
                      <a:pt x="582454" y="313849"/>
                    </a:cubicBezTo>
                    <a:cubicBezTo>
                      <a:pt x="497681" y="353854"/>
                      <a:pt x="497681" y="353854"/>
                      <a:pt x="497681" y="353854"/>
                    </a:cubicBezTo>
                    <a:cubicBezTo>
                      <a:pt x="429101" y="454819"/>
                      <a:pt x="429101" y="454819"/>
                      <a:pt x="429101" y="454819"/>
                    </a:cubicBezTo>
                    <a:cubicBezTo>
                      <a:pt x="450056" y="550069"/>
                      <a:pt x="450056" y="550069"/>
                      <a:pt x="450056" y="550069"/>
                    </a:cubicBezTo>
                    <a:cubicBezTo>
                      <a:pt x="547211" y="606266"/>
                      <a:pt x="547211" y="606266"/>
                      <a:pt x="547211" y="606266"/>
                    </a:cubicBezTo>
                    <a:cubicBezTo>
                      <a:pt x="578644" y="571976"/>
                      <a:pt x="578644" y="571976"/>
                      <a:pt x="578644" y="571976"/>
                    </a:cubicBezTo>
                    <a:cubicBezTo>
                      <a:pt x="607219" y="656749"/>
                      <a:pt x="607219" y="656749"/>
                      <a:pt x="607219" y="656749"/>
                    </a:cubicBezTo>
                    <a:cubicBezTo>
                      <a:pt x="575786" y="776764"/>
                      <a:pt x="575786" y="776764"/>
                      <a:pt x="575786" y="776764"/>
                    </a:cubicBezTo>
                    <a:cubicBezTo>
                      <a:pt x="649129" y="742474"/>
                      <a:pt x="649129" y="742474"/>
                      <a:pt x="649129" y="742474"/>
                    </a:cubicBezTo>
                    <a:cubicBezTo>
                      <a:pt x="686276" y="689134"/>
                      <a:pt x="686276" y="689134"/>
                      <a:pt x="686276" y="689134"/>
                    </a:cubicBezTo>
                    <a:cubicBezTo>
                      <a:pt x="686276" y="454819"/>
                      <a:pt x="686276" y="454819"/>
                      <a:pt x="686276" y="454819"/>
                    </a:cubicBezTo>
                    <a:cubicBezTo>
                      <a:pt x="633889" y="371951"/>
                      <a:pt x="633889" y="371951"/>
                      <a:pt x="633889" y="371951"/>
                    </a:cubicBezTo>
                    <a:cubicBezTo>
                      <a:pt x="686276" y="337661"/>
                      <a:pt x="686276" y="337661"/>
                      <a:pt x="686276" y="337661"/>
                    </a:cubicBezTo>
                    <a:cubicBezTo>
                      <a:pt x="751999" y="371951"/>
                      <a:pt x="751999" y="371951"/>
                      <a:pt x="751999" y="371951"/>
                    </a:cubicBezTo>
                    <a:cubicBezTo>
                      <a:pt x="810101" y="459581"/>
                      <a:pt x="810101" y="459581"/>
                      <a:pt x="810101" y="459581"/>
                    </a:cubicBezTo>
                    <a:cubicBezTo>
                      <a:pt x="810101" y="502444"/>
                      <a:pt x="810101" y="502444"/>
                      <a:pt x="810101" y="502444"/>
                    </a:cubicBezTo>
                    <a:cubicBezTo>
                      <a:pt x="878681" y="489109"/>
                      <a:pt x="878681" y="489109"/>
                      <a:pt x="878681" y="489109"/>
                    </a:cubicBezTo>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Tree>
    <p:extLst>
      <p:ext uri="{BB962C8B-B14F-4D97-AF65-F5344CB8AC3E}">
        <p14:creationId xmlns:p14="http://schemas.microsoft.com/office/powerpoint/2010/main" val="156670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85"/>
                                        </p:tgtEl>
                                        <p:attrNameLst>
                                          <p:attrName>style.visibility</p:attrName>
                                        </p:attrNameLst>
                                      </p:cBhvr>
                                      <p:to>
                                        <p:strVal val="visible"/>
                                      </p:to>
                                    </p:set>
                                    <p:animEffect transition="in" filter="fade">
                                      <p:cBhvr>
                                        <p:cTn id="15" dur="250"/>
                                        <p:tgtEl>
                                          <p:spTgt spid="185"/>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250"/>
                                        <p:tgtEl>
                                          <p:spTgt spid="97"/>
                                        </p:tgtEl>
                                      </p:cBhvr>
                                    </p:animEffect>
                                  </p:childTnLst>
                                </p:cTn>
                              </p:par>
                            </p:childTnLst>
                          </p:cTn>
                        </p:par>
                        <p:par>
                          <p:cTn id="29" fill="hold">
                            <p:stCondLst>
                              <p:cond delay="750"/>
                            </p:stCondLst>
                            <p:childTnLst>
                              <p:par>
                                <p:cTn id="30" presetID="10" presetClass="entr" presetSubtype="0" fill="hold" grpId="0" nodeType="afterEffect">
                                  <p:stCondLst>
                                    <p:cond delay="0"/>
                                  </p:stCondLst>
                                  <p:childTnLst>
                                    <p:set>
                                      <p:cBhvr>
                                        <p:cTn id="31" dur="1" fill="hold">
                                          <p:stCondLst>
                                            <p:cond delay="0"/>
                                          </p:stCondLst>
                                        </p:cTn>
                                        <p:tgtEl>
                                          <p:spTgt spid="100"/>
                                        </p:tgtEl>
                                        <p:attrNameLst>
                                          <p:attrName>style.visibility</p:attrName>
                                        </p:attrNameLst>
                                      </p:cBhvr>
                                      <p:to>
                                        <p:strVal val="visible"/>
                                      </p:to>
                                    </p:set>
                                    <p:animEffect transition="in" filter="fade">
                                      <p:cBhvr>
                                        <p:cTn id="32" dur="250"/>
                                        <p:tgtEl>
                                          <p:spTgt spid="100"/>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01"/>
                                        </p:tgtEl>
                                        <p:attrNameLst>
                                          <p:attrName>style.visibility</p:attrName>
                                        </p:attrNameLst>
                                      </p:cBhvr>
                                      <p:to>
                                        <p:strVal val="visible"/>
                                      </p:to>
                                    </p:set>
                                    <p:animEffect transition="in" filter="fade">
                                      <p:cBhvr>
                                        <p:cTn id="36" dur="250"/>
                                        <p:tgtEl>
                                          <p:spTgt spid="101"/>
                                        </p:tgtEl>
                                      </p:cBhvr>
                                    </p:animEffect>
                                  </p:childTnLst>
                                </p:cTn>
                              </p:par>
                            </p:childTnLst>
                          </p:cTn>
                        </p:par>
                        <p:par>
                          <p:cTn id="37" fill="hold">
                            <p:stCondLst>
                              <p:cond delay="1250"/>
                            </p:stCondLst>
                            <p:childTnLst>
                              <p:par>
                                <p:cTn id="38" presetID="10" presetClass="entr" presetSubtype="0" fill="hold" grpId="0" nodeType="afterEffect">
                                  <p:stCondLst>
                                    <p:cond delay="0"/>
                                  </p:stCondLst>
                                  <p:childTnLst>
                                    <p:set>
                                      <p:cBhvr>
                                        <p:cTn id="39" dur="1" fill="hold">
                                          <p:stCondLst>
                                            <p:cond delay="0"/>
                                          </p:stCondLst>
                                        </p:cTn>
                                        <p:tgtEl>
                                          <p:spTgt spid="99"/>
                                        </p:tgtEl>
                                        <p:attrNameLst>
                                          <p:attrName>style.visibility</p:attrName>
                                        </p:attrNameLst>
                                      </p:cBhvr>
                                      <p:to>
                                        <p:strVal val="visible"/>
                                      </p:to>
                                    </p:set>
                                    <p:animEffect transition="in" filter="fade">
                                      <p:cBhvr>
                                        <p:cTn id="40" dur="250"/>
                                        <p:tgtEl>
                                          <p:spTgt spid="99"/>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98"/>
                                        </p:tgtEl>
                                        <p:attrNameLst>
                                          <p:attrName>style.visibility</p:attrName>
                                        </p:attrNameLst>
                                      </p:cBhvr>
                                      <p:to>
                                        <p:strVal val="visible"/>
                                      </p:to>
                                    </p:set>
                                    <p:animEffect transition="in" filter="fade">
                                      <p:cBhvr>
                                        <p:cTn id="44" dur="25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97" grpId="0"/>
      <p:bldP spid="98" grpId="0"/>
      <p:bldP spid="99" grpId="0"/>
      <p:bldP spid="100" grpId="0"/>
      <p:bldP spid="10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6031E9E-10B4-4039-ABCA-F0E63B9B6E25}"/>
              </a:ext>
            </a:extLst>
          </p:cNvPr>
          <p:cNvSpPr>
            <a:spLocks noGrp="1"/>
          </p:cNvSpPr>
          <p:nvPr>
            <p:ph type="title"/>
          </p:nvPr>
        </p:nvSpPr>
        <p:spPr/>
        <p:txBody>
          <a:bodyPr anchor="ctr"/>
          <a:lstStyle/>
          <a:p>
            <a:r>
              <a:rPr lang="en-IN" dirty="0"/>
              <a:t>It’s all on </a:t>
            </a:r>
            <a:r>
              <a:rPr lang="en-US" sz="5400" spc="-400" dirty="0">
                <a:latin typeface="Segoe UI Semibold" panose="020B0702040204020203" pitchFamily="34" charset="0"/>
                <a:ea typeface="Segoe UI" pitchFamily="34" charset="0"/>
                <a:cs typeface="Segoe UI Semibold" panose="020B0702040204020203" pitchFamily="34" charset="0"/>
              </a:rPr>
              <a:t>Microso</a:t>
            </a:r>
            <a:r>
              <a:rPr lang="en-US" sz="5400" spc="-500" dirty="0">
                <a:latin typeface="Segoe UI Semibold" panose="020B0702040204020203" pitchFamily="34" charset="0"/>
                <a:ea typeface="Segoe UI" pitchFamily="34" charset="0"/>
                <a:cs typeface="Segoe UI Semibold" panose="020B0702040204020203" pitchFamily="34" charset="0"/>
              </a:rPr>
              <a:t>ft</a:t>
            </a:r>
            <a:r>
              <a:rPr lang="en-US" sz="5400" spc="-400" dirty="0">
                <a:latin typeface="Segoe UI Semibold" panose="020B0702040204020203" pitchFamily="34" charset="0"/>
                <a:ea typeface="Segoe UI" pitchFamily="34" charset="0"/>
                <a:cs typeface="Segoe UI Semibold" panose="020B0702040204020203" pitchFamily="34" charset="0"/>
              </a:rPr>
              <a:t> </a:t>
            </a:r>
            <a:r>
              <a:rPr lang="en-US" sz="5400" dirty="0">
                <a:latin typeface="Segoe UI Semibold" panose="020B0702040204020203" pitchFamily="34" charset="0"/>
                <a:ea typeface="Segoe UI" pitchFamily="34" charset="0"/>
                <a:cs typeface="Segoe UI Semibold" panose="020B0702040204020203" pitchFamily="34" charset="0"/>
              </a:rPr>
              <a:t>Az</a:t>
            </a:r>
            <a:r>
              <a:rPr lang="en-US" sz="5400" spc="-400" dirty="0">
                <a:latin typeface="Segoe UI Semibold" panose="020B0702040204020203" pitchFamily="34" charset="0"/>
                <a:ea typeface="Segoe UI" pitchFamily="34" charset="0"/>
                <a:cs typeface="Segoe UI Semibold" panose="020B0702040204020203" pitchFamily="34" charset="0"/>
              </a:rPr>
              <a:t>ure</a:t>
            </a:r>
            <a:endParaRPr lang="en-IN" dirty="0"/>
          </a:p>
        </p:txBody>
      </p:sp>
      <p:sp>
        <p:nvSpPr>
          <p:cNvPr id="48" name="Title 1">
            <a:extLst>
              <a:ext uri="{FF2B5EF4-FFF2-40B4-BE49-F238E27FC236}">
                <a16:creationId xmlns:a16="http://schemas.microsoft.com/office/drawing/2014/main" id="{DBEA2C01-E832-4B86-9F07-32A21F8C62CB}"/>
              </a:ext>
            </a:extLst>
          </p:cNvPr>
          <p:cNvSpPr txBox="1">
            <a:spLocks/>
          </p:cNvSpPr>
          <p:nvPr/>
        </p:nvSpPr>
        <p:spPr>
          <a:xfrm>
            <a:off x="4613985" y="1589389"/>
            <a:ext cx="3232712"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fontAlgn="auto">
              <a:spcBef>
                <a:spcPts val="2400"/>
              </a:spcBef>
              <a:spcAft>
                <a:spcPts val="0"/>
              </a:spcAft>
              <a:buClrTx/>
              <a:buSzTx/>
              <a:tabLst/>
              <a:defRPr/>
            </a:pPr>
            <a:endParaRPr lang="en-US" sz="4400" spc="-98" dirty="0">
              <a:solidFill>
                <a:schemeClr val="bg1"/>
              </a:solidFill>
            </a:endParaRPr>
          </a:p>
        </p:txBody>
      </p:sp>
      <p:sp>
        <p:nvSpPr>
          <p:cNvPr id="3" name="Rectangle 2">
            <a:extLst>
              <a:ext uri="{FF2B5EF4-FFF2-40B4-BE49-F238E27FC236}">
                <a16:creationId xmlns:a16="http://schemas.microsoft.com/office/drawing/2014/main" id="{8A74AB29-6A49-4AAE-A815-A4E50175BB96}"/>
              </a:ext>
            </a:extLst>
          </p:cNvPr>
          <p:cNvSpPr/>
          <p:nvPr/>
        </p:nvSpPr>
        <p:spPr bwMode="auto">
          <a:xfrm>
            <a:off x="3551876" y="2831319"/>
            <a:ext cx="6376837" cy="12400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7200" spc="-4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104610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4CFC61-81A0-45CB-B9FB-0BE62F9AE44D}"/>
              </a:ext>
            </a:extLst>
          </p:cNvPr>
          <p:cNvSpPr>
            <a:spLocks noGrp="1"/>
          </p:cNvSpPr>
          <p:nvPr>
            <p:ph type="title"/>
          </p:nvPr>
        </p:nvSpPr>
        <p:spPr/>
        <p:txBody>
          <a:bodyPr/>
          <a:lstStyle/>
          <a:p>
            <a:r>
              <a:rPr lang="en-IN" spc="-150" dirty="0"/>
              <a:t>Microsoft Azure</a:t>
            </a:r>
            <a:br>
              <a:rPr lang="en-IN" spc="-150" dirty="0"/>
            </a:br>
            <a:endParaRPr lang="en-IN" spc="-150" dirty="0"/>
          </a:p>
        </p:txBody>
      </p:sp>
      <p:grpSp>
        <p:nvGrpSpPr>
          <p:cNvPr id="5" name="Group 4">
            <a:extLst>
              <a:ext uri="{FF2B5EF4-FFF2-40B4-BE49-F238E27FC236}">
                <a16:creationId xmlns:a16="http://schemas.microsoft.com/office/drawing/2014/main" id="{D72BBD6A-9E95-E645-AD4A-A613B1B6D29C}"/>
              </a:ext>
            </a:extLst>
          </p:cNvPr>
          <p:cNvGrpSpPr/>
          <p:nvPr/>
        </p:nvGrpSpPr>
        <p:grpSpPr>
          <a:xfrm>
            <a:off x="473294" y="2523280"/>
            <a:ext cx="2651760" cy="2241259"/>
            <a:chOff x="473294" y="2523280"/>
            <a:chExt cx="2651760" cy="2241259"/>
          </a:xfrm>
        </p:grpSpPr>
        <p:sp>
          <p:nvSpPr>
            <p:cNvPr id="51" name="Rectangle 50">
              <a:extLst>
                <a:ext uri="{FF2B5EF4-FFF2-40B4-BE49-F238E27FC236}">
                  <a16:creationId xmlns:a16="http://schemas.microsoft.com/office/drawing/2014/main" id="{0F0CC701-F05C-47F3-AF36-032D370BFA26}"/>
                </a:ext>
              </a:extLst>
            </p:cNvPr>
            <p:cNvSpPr/>
            <p:nvPr/>
          </p:nvSpPr>
          <p:spPr>
            <a:xfrm>
              <a:off x="473294"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ccelerate time to market </a:t>
              </a:r>
            </a:p>
          </p:txBody>
        </p:sp>
        <p:sp>
          <p:nvSpPr>
            <p:cNvPr id="52" name="Rectangle 51">
              <a:extLst>
                <a:ext uri="{FF2B5EF4-FFF2-40B4-BE49-F238E27FC236}">
                  <a16:creationId xmlns:a16="http://schemas.microsoft.com/office/drawing/2014/main" id="{E71CCF35-DAAD-419B-95F9-EDB6FBB3D4BE}"/>
                </a:ext>
              </a:extLst>
            </p:cNvPr>
            <p:cNvSpPr/>
            <p:nvPr/>
          </p:nvSpPr>
          <p:spPr>
            <a:xfrm>
              <a:off x="473294"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2"/>
                  </a:solidFill>
                  <a:effectLst/>
                  <a:uLnTx/>
                  <a:uFillTx/>
                  <a:latin typeface="+mj-lt"/>
                  <a:ea typeface="+mn-ea"/>
                  <a:cs typeface="Segoe UI Semibold" panose="020B0702040204020203" pitchFamily="34" charset="0"/>
                </a:rPr>
                <a:t>Productive </a:t>
              </a:r>
            </a:p>
          </p:txBody>
        </p:sp>
        <p:sp>
          <p:nvSpPr>
            <p:cNvPr id="83" name="speedometer_2" title="Icon of a spedometer showing fast speed">
              <a:extLst>
                <a:ext uri="{FF2B5EF4-FFF2-40B4-BE49-F238E27FC236}">
                  <a16:creationId xmlns:a16="http://schemas.microsoft.com/office/drawing/2014/main" id="{61605576-81FE-4482-BEF3-3835830B8647}"/>
                </a:ext>
              </a:extLst>
            </p:cNvPr>
            <p:cNvSpPr>
              <a:spLocks noChangeAspect="1" noEditPoints="1"/>
            </p:cNvSpPr>
            <p:nvPr/>
          </p:nvSpPr>
          <p:spPr bwMode="auto">
            <a:xfrm>
              <a:off x="508842" y="2523280"/>
              <a:ext cx="1018569" cy="101856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13EBD9C7-64EC-F44F-A422-44B87A8FEFA2}"/>
              </a:ext>
            </a:extLst>
          </p:cNvPr>
          <p:cNvGrpSpPr/>
          <p:nvPr/>
        </p:nvGrpSpPr>
        <p:grpSpPr>
          <a:xfrm>
            <a:off x="3293798" y="2621037"/>
            <a:ext cx="2761719" cy="2143502"/>
            <a:chOff x="3293798" y="2621037"/>
            <a:chExt cx="2761719" cy="2143502"/>
          </a:xfrm>
        </p:grpSpPr>
        <p:sp>
          <p:nvSpPr>
            <p:cNvPr id="68" name="Rectangle 67">
              <a:extLst>
                <a:ext uri="{FF2B5EF4-FFF2-40B4-BE49-F238E27FC236}">
                  <a16:creationId xmlns:a16="http://schemas.microsoft.com/office/drawing/2014/main" id="{6AAB3066-D642-4E4C-94C2-8F1D9BD75338}"/>
                </a:ext>
              </a:extLst>
            </p:cNvPr>
            <p:cNvSpPr/>
            <p:nvPr/>
          </p:nvSpPr>
          <p:spPr>
            <a:xfrm>
              <a:off x="3293798" y="4425985"/>
              <a:ext cx="276171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Optimize your infrastructure</a:t>
              </a:r>
            </a:p>
          </p:txBody>
        </p:sp>
        <p:sp>
          <p:nvSpPr>
            <p:cNvPr id="69" name="Rectangle 68">
              <a:extLst>
                <a:ext uri="{FF2B5EF4-FFF2-40B4-BE49-F238E27FC236}">
                  <a16:creationId xmlns:a16="http://schemas.microsoft.com/office/drawing/2014/main" id="{BA74C096-480B-4D0F-9F93-4F60992BD7BB}"/>
                </a:ext>
              </a:extLst>
            </p:cNvPr>
            <p:cNvSpPr/>
            <p:nvPr/>
          </p:nvSpPr>
          <p:spPr>
            <a:xfrm>
              <a:off x="3293798"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Hybrid</a:t>
              </a:r>
            </a:p>
          </p:txBody>
        </p:sp>
        <p:grpSp>
          <p:nvGrpSpPr>
            <p:cNvPr id="84" name="Group 83">
              <a:extLst>
                <a:ext uri="{FF2B5EF4-FFF2-40B4-BE49-F238E27FC236}">
                  <a16:creationId xmlns:a16="http://schemas.microsoft.com/office/drawing/2014/main" id="{295EC22E-1484-4800-BA17-4143B06B2972}"/>
                </a:ext>
              </a:extLst>
            </p:cNvPr>
            <p:cNvGrpSpPr/>
            <p:nvPr/>
          </p:nvGrpSpPr>
          <p:grpSpPr>
            <a:xfrm>
              <a:off x="3361504" y="2621037"/>
              <a:ext cx="942739" cy="920813"/>
              <a:chOff x="2432772" y="2598340"/>
              <a:chExt cx="579443" cy="565967"/>
            </a:xfrm>
          </p:grpSpPr>
          <p:sp>
            <p:nvSpPr>
              <p:cNvPr id="85" name="Rectangle 84">
                <a:extLst>
                  <a:ext uri="{FF2B5EF4-FFF2-40B4-BE49-F238E27FC236}">
                    <a16:creationId xmlns:a16="http://schemas.microsoft.com/office/drawing/2014/main" id="{0DDE787E-57A8-4E9E-A1F2-8C351AF94F83}"/>
                  </a:ext>
                </a:extLst>
              </p:cNvPr>
              <p:cNvSpPr/>
              <p:nvPr/>
            </p:nvSpPr>
            <p:spPr bwMode="auto">
              <a:xfrm>
                <a:off x="2601210" y="2598340"/>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1091536-5090-4AB1-80B0-365112551B2C}"/>
                  </a:ext>
                </a:extLst>
              </p:cNvPr>
              <p:cNvSpPr/>
              <p:nvPr/>
            </p:nvSpPr>
            <p:spPr bwMode="auto">
              <a:xfrm>
                <a:off x="2432772" y="2753308"/>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7" name="Group 6">
            <a:extLst>
              <a:ext uri="{FF2B5EF4-FFF2-40B4-BE49-F238E27FC236}">
                <a16:creationId xmlns:a16="http://schemas.microsoft.com/office/drawing/2014/main" id="{F8A2F7DF-8D41-0B49-AB3D-0EAF4612CEC0}"/>
              </a:ext>
            </a:extLst>
          </p:cNvPr>
          <p:cNvGrpSpPr/>
          <p:nvPr/>
        </p:nvGrpSpPr>
        <p:grpSpPr>
          <a:xfrm>
            <a:off x="6496183" y="2531959"/>
            <a:ext cx="2651760" cy="2232580"/>
            <a:chOff x="6209747" y="2531959"/>
            <a:chExt cx="2651760" cy="2232580"/>
          </a:xfrm>
        </p:grpSpPr>
        <p:sp>
          <p:nvSpPr>
            <p:cNvPr id="60" name="Rectangle 59">
              <a:extLst>
                <a:ext uri="{FF2B5EF4-FFF2-40B4-BE49-F238E27FC236}">
                  <a16:creationId xmlns:a16="http://schemas.microsoft.com/office/drawing/2014/main" id="{D9EC07CB-33E6-47CB-A18F-E2BE0C44AD2E}"/>
                </a:ext>
              </a:extLst>
            </p:cNvPr>
            <p:cNvSpPr/>
            <p:nvPr/>
          </p:nvSpPr>
          <p:spPr>
            <a:xfrm>
              <a:off x="6209747"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Intelligent</a:t>
              </a:r>
            </a:p>
          </p:txBody>
        </p:sp>
        <p:sp>
          <p:nvSpPr>
            <p:cNvPr id="62" name="Rectangle 61">
              <a:extLst>
                <a:ext uri="{FF2B5EF4-FFF2-40B4-BE49-F238E27FC236}">
                  <a16:creationId xmlns:a16="http://schemas.microsoft.com/office/drawing/2014/main" id="{2925BEDA-95F8-4A57-9A6D-4669BC15C50B}"/>
                </a:ext>
              </a:extLst>
            </p:cNvPr>
            <p:cNvSpPr/>
            <p:nvPr/>
          </p:nvSpPr>
          <p:spPr>
            <a:xfrm>
              <a:off x="6209747"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Innovate at scale</a:t>
              </a:r>
            </a:p>
          </p:txBody>
        </p:sp>
        <p:sp>
          <p:nvSpPr>
            <p:cNvPr id="87" name="light">
              <a:extLst>
                <a:ext uri="{FF2B5EF4-FFF2-40B4-BE49-F238E27FC236}">
                  <a16:creationId xmlns:a16="http://schemas.microsoft.com/office/drawing/2014/main" id="{B314E59F-A0EE-4EB4-B13C-F2C473093A8E}"/>
                </a:ext>
              </a:extLst>
            </p:cNvPr>
            <p:cNvSpPr>
              <a:spLocks noChangeAspect="1" noEditPoints="1"/>
            </p:cNvSpPr>
            <p:nvPr/>
          </p:nvSpPr>
          <p:spPr bwMode="auto">
            <a:xfrm>
              <a:off x="6232882" y="2531959"/>
              <a:ext cx="680225" cy="100989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8" name="Group 7">
            <a:extLst>
              <a:ext uri="{FF2B5EF4-FFF2-40B4-BE49-F238E27FC236}">
                <a16:creationId xmlns:a16="http://schemas.microsoft.com/office/drawing/2014/main" id="{1F994E5D-2ADF-1B46-BEC2-5EC569B1C672}"/>
              </a:ext>
            </a:extLst>
          </p:cNvPr>
          <p:cNvGrpSpPr/>
          <p:nvPr/>
        </p:nvGrpSpPr>
        <p:grpSpPr>
          <a:xfrm>
            <a:off x="9316687" y="2546427"/>
            <a:ext cx="2651760" cy="2218112"/>
            <a:chOff x="9088308" y="2546427"/>
            <a:chExt cx="2651760" cy="2218112"/>
          </a:xfrm>
        </p:grpSpPr>
        <p:sp>
          <p:nvSpPr>
            <p:cNvPr id="46" name="Rectangle 45">
              <a:extLst>
                <a:ext uri="{FF2B5EF4-FFF2-40B4-BE49-F238E27FC236}">
                  <a16:creationId xmlns:a16="http://schemas.microsoft.com/office/drawing/2014/main" id="{797E54DF-55BA-42DA-83F0-E354CDC72C84}"/>
                </a:ext>
              </a:extLst>
            </p:cNvPr>
            <p:cNvSpPr/>
            <p:nvPr/>
          </p:nvSpPr>
          <p:spPr>
            <a:xfrm>
              <a:off x="9088308"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Develop with confidence </a:t>
              </a:r>
            </a:p>
          </p:txBody>
        </p:sp>
        <p:sp>
          <p:nvSpPr>
            <p:cNvPr id="47" name="Rectangle 46">
              <a:extLst>
                <a:ext uri="{FF2B5EF4-FFF2-40B4-BE49-F238E27FC236}">
                  <a16:creationId xmlns:a16="http://schemas.microsoft.com/office/drawing/2014/main" id="{08912E95-8F24-4D19-AE66-FB3D92FCD00A}"/>
                </a:ext>
              </a:extLst>
            </p:cNvPr>
            <p:cNvSpPr/>
            <p:nvPr/>
          </p:nvSpPr>
          <p:spPr>
            <a:xfrm>
              <a:off x="9088308" y="4043120"/>
              <a:ext cx="156911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Trusted </a:t>
              </a:r>
            </a:p>
          </p:txBody>
        </p:sp>
        <p:sp>
          <p:nvSpPr>
            <p:cNvPr id="89" name="Freeform 100">
              <a:extLst>
                <a:ext uri="{FF2B5EF4-FFF2-40B4-BE49-F238E27FC236}">
                  <a16:creationId xmlns:a16="http://schemas.microsoft.com/office/drawing/2014/main" id="{0C099E3C-CC25-42AD-998A-79E9F238A2A4}"/>
                </a:ext>
              </a:extLst>
            </p:cNvPr>
            <p:cNvSpPr>
              <a:spLocks noChangeArrowheads="1"/>
            </p:cNvSpPr>
            <p:nvPr/>
          </p:nvSpPr>
          <p:spPr bwMode="auto">
            <a:xfrm>
              <a:off x="9110658" y="2546427"/>
              <a:ext cx="1005994" cy="9954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39D7BBAE-F08C-4B55-83DE-666F8CB06779}"/>
              </a:ext>
            </a:extLst>
          </p:cNvPr>
          <p:cNvGrpSpPr/>
          <p:nvPr/>
        </p:nvGrpSpPr>
        <p:grpSpPr>
          <a:xfrm>
            <a:off x="4051970" y="529100"/>
            <a:ext cx="5554627" cy="921398"/>
            <a:chOff x="1163484" y="3900669"/>
            <a:chExt cx="10397713" cy="1724766"/>
          </a:xfrm>
        </p:grpSpPr>
        <p:grpSp>
          <p:nvGrpSpPr>
            <p:cNvPr id="92" name="Group 91">
              <a:extLst>
                <a:ext uri="{FF2B5EF4-FFF2-40B4-BE49-F238E27FC236}">
                  <a16:creationId xmlns:a16="http://schemas.microsoft.com/office/drawing/2014/main" id="{01EBB38E-9F7B-4462-A77F-63B4D1E36560}"/>
                </a:ext>
              </a:extLst>
            </p:cNvPr>
            <p:cNvGrpSpPr/>
            <p:nvPr userDrawn="1"/>
          </p:nvGrpSpPr>
          <p:grpSpPr>
            <a:xfrm>
              <a:off x="1163484" y="4035822"/>
              <a:ext cx="1456418" cy="1454461"/>
              <a:chOff x="864491" y="3668201"/>
              <a:chExt cx="818390" cy="817172"/>
            </a:xfrm>
            <a:solidFill>
              <a:schemeClr val="bg1"/>
            </a:solidFill>
          </p:grpSpPr>
          <p:sp>
            <p:nvSpPr>
              <p:cNvPr id="94" name="Rectangle 14">
                <a:extLst>
                  <a:ext uri="{FF2B5EF4-FFF2-40B4-BE49-F238E27FC236}">
                    <a16:creationId xmlns:a16="http://schemas.microsoft.com/office/drawing/2014/main" id="{96111F2C-0F88-4B66-8CCF-B4E7E97AE985}"/>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5" name="Rectangle 15">
                <a:extLst>
                  <a:ext uri="{FF2B5EF4-FFF2-40B4-BE49-F238E27FC236}">
                    <a16:creationId xmlns:a16="http://schemas.microsoft.com/office/drawing/2014/main" id="{EA957E37-BA44-4013-A4DF-370D42F2F93C}"/>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6" name="Rectangle 16">
                <a:extLst>
                  <a:ext uri="{FF2B5EF4-FFF2-40B4-BE49-F238E27FC236}">
                    <a16:creationId xmlns:a16="http://schemas.microsoft.com/office/drawing/2014/main" id="{2202CEF9-651D-431B-9CBF-4B204F0B69D7}"/>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7" name="Rectangle 17">
                <a:extLst>
                  <a:ext uri="{FF2B5EF4-FFF2-40B4-BE49-F238E27FC236}">
                    <a16:creationId xmlns:a16="http://schemas.microsoft.com/office/drawing/2014/main" id="{14E20934-E601-4C10-BC9F-F2BE6FB501C3}"/>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grpSp>
        <p:sp>
          <p:nvSpPr>
            <p:cNvPr id="93" name="Rectangle 92">
              <a:extLst>
                <a:ext uri="{FF2B5EF4-FFF2-40B4-BE49-F238E27FC236}">
                  <a16:creationId xmlns:a16="http://schemas.microsoft.com/office/drawing/2014/main" id="{2873A885-8E92-4B31-99A1-6E63E61D914D}"/>
                </a:ext>
              </a:extLst>
            </p:cNvPr>
            <p:cNvSpPr/>
            <p:nvPr/>
          </p:nvSpPr>
          <p:spPr bwMode="auto">
            <a:xfrm>
              <a:off x="2691421" y="3900669"/>
              <a:ext cx="8869776" cy="17247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r>
                <a:rPr lang="en-US" sz="4000" spc="-200" dirty="0">
                  <a:solidFill>
                    <a:schemeClr val="bg1"/>
                  </a:solidFill>
                  <a:latin typeface="Segoe UI Semibold" panose="020B0702040204020203" pitchFamily="34" charset="0"/>
                  <a:ea typeface="Segoe UI" pitchFamily="34" charset="0"/>
                  <a:cs typeface="Segoe UI Semibold" panose="020B0702040204020203" pitchFamily="34" charset="0"/>
                </a:rPr>
                <a:t>Microsoft </a:t>
              </a:r>
              <a:r>
                <a:rPr lang="en-US" sz="4000" dirty="0">
                  <a:solidFill>
                    <a:schemeClr val="bg1"/>
                  </a:solidFill>
                  <a:latin typeface="Segoe UI Semibold" panose="020B0702040204020203" pitchFamily="34" charset="0"/>
                  <a:ea typeface="Segoe UI" pitchFamily="34" charset="0"/>
                  <a:cs typeface="Segoe UI Semibold" panose="020B0702040204020203" pitchFamily="34" charset="0"/>
                </a:rPr>
                <a:t>A</a:t>
              </a:r>
              <a:r>
                <a:rPr lang="en-US" sz="4000" spc="-200" dirty="0">
                  <a:solidFill>
                    <a:schemeClr val="bg1"/>
                  </a:solidFill>
                  <a:latin typeface="Segoe UI Semibold" panose="020B0702040204020203" pitchFamily="34" charset="0"/>
                  <a:ea typeface="Segoe UI" pitchFamily="34" charset="0"/>
                  <a:cs typeface="Segoe UI Semibold" panose="020B0702040204020203" pitchFamily="34" charset="0"/>
                </a:rPr>
                <a:t>zure</a:t>
              </a:r>
            </a:p>
          </p:txBody>
        </p:sp>
      </p:grpSp>
    </p:spTree>
    <p:extLst>
      <p:ext uri="{BB962C8B-B14F-4D97-AF65-F5344CB8AC3E}">
        <p14:creationId xmlns:p14="http://schemas.microsoft.com/office/powerpoint/2010/main" val="225468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accel="50000" decel="50000" fill="hold"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accel="50000" decel="50000" fill="hold"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accel="50000" decel="50000" fill="hold"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pc="-150" dirty="0">
                <a:solidFill>
                  <a:schemeClr val="tx2"/>
                </a:solidFill>
              </a:rPr>
              <a:t>Companies using Azure for ML and AI</a:t>
            </a:r>
          </a:p>
        </p:txBody>
      </p:sp>
      <p:pic>
        <p:nvPicPr>
          <p:cNvPr id="16" name="Picture 15">
            <a:extLst>
              <a:ext uri="{FF2B5EF4-FFF2-40B4-BE49-F238E27FC236}">
                <a16:creationId xmlns:a16="http://schemas.microsoft.com/office/drawing/2014/main" id="{6CCF752D-9BDA-4848-AE9F-CA558240205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311722" y="3199931"/>
            <a:ext cx="1365463" cy="243523"/>
          </a:xfrm>
          <a:prstGeom prst="rect">
            <a:avLst/>
          </a:prstGeom>
        </p:spPr>
      </p:pic>
      <p:pic>
        <p:nvPicPr>
          <p:cNvPr id="9232" name="Picture 16" descr="Image result for piccollage logo">
            <a:extLst>
              <a:ext uri="{FF2B5EF4-FFF2-40B4-BE49-F238E27FC236}">
                <a16:creationId xmlns:a16="http://schemas.microsoft.com/office/drawing/2014/main" id="{E959FE07-C2E5-474F-ABE1-7A63CB399FD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78677" y="4521214"/>
            <a:ext cx="998508" cy="19892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48EB56A6-78AE-4AE7-BE2E-37CE9E8C0A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33655" y="3093298"/>
            <a:ext cx="1096002" cy="320580"/>
          </a:xfrm>
          <a:prstGeom prst="rect">
            <a:avLst/>
          </a:prstGeom>
        </p:spPr>
      </p:pic>
      <p:pic>
        <p:nvPicPr>
          <p:cNvPr id="86" name="Picture 85">
            <a:extLst>
              <a:ext uri="{FF2B5EF4-FFF2-40B4-BE49-F238E27FC236}">
                <a16:creationId xmlns:a16="http://schemas.microsoft.com/office/drawing/2014/main" id="{B8872899-900D-4DBC-A70A-F378E92C3B3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9239" y="1877617"/>
            <a:ext cx="1015640" cy="201518"/>
          </a:xfrm>
          <a:prstGeom prst="rect">
            <a:avLst/>
          </a:prstGeom>
        </p:spPr>
      </p:pic>
      <p:pic>
        <p:nvPicPr>
          <p:cNvPr id="87" name="Picture 86">
            <a:extLst>
              <a:ext uri="{FF2B5EF4-FFF2-40B4-BE49-F238E27FC236}">
                <a16:creationId xmlns:a16="http://schemas.microsoft.com/office/drawing/2014/main" id="{6303ED59-7F14-4AC0-A5B2-EEB4FC9E80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48858" y="1881565"/>
            <a:ext cx="947598" cy="197570"/>
          </a:xfrm>
          <a:prstGeom prst="rect">
            <a:avLst/>
          </a:prstGeom>
        </p:spPr>
      </p:pic>
      <p:pic>
        <p:nvPicPr>
          <p:cNvPr id="88" name="Picture 87">
            <a:extLst>
              <a:ext uri="{FF2B5EF4-FFF2-40B4-BE49-F238E27FC236}">
                <a16:creationId xmlns:a16="http://schemas.microsoft.com/office/drawing/2014/main" id="{37694898-D2B3-4539-973E-CD92559D4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435" y="1862069"/>
            <a:ext cx="719960" cy="217066"/>
          </a:xfrm>
          <a:prstGeom prst="rect">
            <a:avLst/>
          </a:prstGeom>
        </p:spPr>
      </p:pic>
      <p:pic>
        <p:nvPicPr>
          <p:cNvPr id="89" name="Picture 88">
            <a:extLst>
              <a:ext uri="{FF2B5EF4-FFF2-40B4-BE49-F238E27FC236}">
                <a16:creationId xmlns:a16="http://schemas.microsoft.com/office/drawing/2014/main" id="{9F59A950-F5F8-49FC-833B-1DAD038D6A3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44374" y="1856635"/>
            <a:ext cx="643994" cy="222500"/>
          </a:xfrm>
          <a:prstGeom prst="rect">
            <a:avLst/>
          </a:prstGeom>
        </p:spPr>
      </p:pic>
      <p:pic>
        <p:nvPicPr>
          <p:cNvPr id="90" name="Picture 89">
            <a:extLst>
              <a:ext uri="{FF2B5EF4-FFF2-40B4-BE49-F238E27FC236}">
                <a16:creationId xmlns:a16="http://schemas.microsoft.com/office/drawing/2014/main" id="{4F701FB6-DE20-430B-9AE9-3F54CACED07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252347" y="1492345"/>
            <a:ext cx="687464" cy="586790"/>
          </a:xfrm>
          <a:prstGeom prst="rect">
            <a:avLst/>
          </a:prstGeom>
        </p:spPr>
      </p:pic>
      <p:pic>
        <p:nvPicPr>
          <p:cNvPr id="91" name="Picture 14" descr="Image result for BT logo png">
            <a:extLst>
              <a:ext uri="{FF2B5EF4-FFF2-40B4-BE49-F238E27FC236}">
                <a16:creationId xmlns:a16="http://schemas.microsoft.com/office/drawing/2014/main" id="{8DBECCAE-82C6-417F-B355-B62A961983D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503790" y="1687991"/>
            <a:ext cx="827546" cy="39114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a:extLst>
              <a:ext uri="{FF2B5EF4-FFF2-40B4-BE49-F238E27FC236}">
                <a16:creationId xmlns:a16="http://schemas.microsoft.com/office/drawing/2014/main" id="{EDA0E3DF-45B5-4A11-BA3A-785324BBCEC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895315" y="1818640"/>
            <a:ext cx="1133104" cy="172230"/>
          </a:xfrm>
          <a:prstGeom prst="rect">
            <a:avLst/>
          </a:prstGeom>
        </p:spPr>
      </p:pic>
      <p:pic>
        <p:nvPicPr>
          <p:cNvPr id="93" name="Picture 18" descr="Image result for Jabil logo png">
            <a:extLst>
              <a:ext uri="{FF2B5EF4-FFF2-40B4-BE49-F238E27FC236}">
                <a16:creationId xmlns:a16="http://schemas.microsoft.com/office/drawing/2014/main" id="{18259F85-EAC4-4D8F-9A53-E4AB10897DB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592396" y="1814135"/>
            <a:ext cx="904832" cy="15375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Image result for NBA logo png">
            <a:extLst>
              <a:ext uri="{FF2B5EF4-FFF2-40B4-BE49-F238E27FC236}">
                <a16:creationId xmlns:a16="http://schemas.microsoft.com/office/drawing/2014/main" id="{55977064-1F34-416E-A50F-F67202B05503}"/>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72121" y="3051594"/>
            <a:ext cx="594106" cy="40398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45014C7F-ECDE-4A42-BF35-C8A5F55EEBE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774050" y="3126267"/>
            <a:ext cx="931054" cy="254642"/>
          </a:xfrm>
          <a:prstGeom prst="rect">
            <a:avLst/>
          </a:prstGeom>
        </p:spPr>
      </p:pic>
      <p:pic>
        <p:nvPicPr>
          <p:cNvPr id="96" name="Picture 95">
            <a:extLst>
              <a:ext uri="{FF2B5EF4-FFF2-40B4-BE49-F238E27FC236}">
                <a16:creationId xmlns:a16="http://schemas.microsoft.com/office/drawing/2014/main" id="{329F0614-1A9A-4D14-8EFB-BAA06B19ADE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863846" y="3167055"/>
            <a:ext cx="1134848" cy="173066"/>
          </a:xfrm>
          <a:prstGeom prst="rect">
            <a:avLst/>
          </a:prstGeom>
        </p:spPr>
      </p:pic>
      <p:pic>
        <p:nvPicPr>
          <p:cNvPr id="97" name="Picture 96">
            <a:extLst>
              <a:ext uri="{FF2B5EF4-FFF2-40B4-BE49-F238E27FC236}">
                <a16:creationId xmlns:a16="http://schemas.microsoft.com/office/drawing/2014/main" id="{16C7BDA5-0633-4E39-A499-CDB327F88F2E}"/>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8764618" y="3077276"/>
            <a:ext cx="1212146" cy="352624"/>
          </a:xfrm>
          <a:custGeom>
            <a:avLst/>
            <a:gdLst>
              <a:gd name="connsiteX0" fmla="*/ 0 w 1909824"/>
              <a:gd name="connsiteY0" fmla="*/ 0 h 555585"/>
              <a:gd name="connsiteX1" fmla="*/ 1909824 w 1909824"/>
              <a:gd name="connsiteY1" fmla="*/ 0 h 555585"/>
              <a:gd name="connsiteX2" fmla="*/ 1909824 w 1909824"/>
              <a:gd name="connsiteY2" fmla="*/ 555585 h 555585"/>
              <a:gd name="connsiteX3" fmla="*/ 0 w 1909824"/>
              <a:gd name="connsiteY3" fmla="*/ 555585 h 555585"/>
            </a:gdLst>
            <a:ahLst/>
            <a:cxnLst>
              <a:cxn ang="0">
                <a:pos x="connsiteX0" y="connsiteY0"/>
              </a:cxn>
              <a:cxn ang="0">
                <a:pos x="connsiteX1" y="connsiteY1"/>
              </a:cxn>
              <a:cxn ang="0">
                <a:pos x="connsiteX2" y="connsiteY2"/>
              </a:cxn>
              <a:cxn ang="0">
                <a:pos x="connsiteX3" y="connsiteY3"/>
              </a:cxn>
            </a:cxnLst>
            <a:rect l="l" t="t" r="r" b="b"/>
            <a:pathLst>
              <a:path w="1909824" h="555585">
                <a:moveTo>
                  <a:pt x="0" y="0"/>
                </a:moveTo>
                <a:lnTo>
                  <a:pt x="1909824" y="0"/>
                </a:lnTo>
                <a:lnTo>
                  <a:pt x="1909824" y="555585"/>
                </a:lnTo>
                <a:lnTo>
                  <a:pt x="0" y="555585"/>
                </a:lnTo>
                <a:close/>
              </a:path>
            </a:pathLst>
          </a:custGeom>
        </p:spPr>
      </p:pic>
      <p:pic>
        <p:nvPicPr>
          <p:cNvPr id="98" name="Picture 40" descr="Image result for nedbank logo png">
            <a:extLst>
              <a:ext uri="{FF2B5EF4-FFF2-40B4-BE49-F238E27FC236}">
                <a16:creationId xmlns:a16="http://schemas.microsoft.com/office/drawing/2014/main" id="{428FEFC9-FC21-47C9-987A-C7F226549783}"/>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080911" y="4372523"/>
            <a:ext cx="663334" cy="29628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2" descr="Image result for La liga logo png">
            <a:extLst>
              <a:ext uri="{FF2B5EF4-FFF2-40B4-BE49-F238E27FC236}">
                <a16:creationId xmlns:a16="http://schemas.microsoft.com/office/drawing/2014/main" id="{95B0D221-362A-4FFF-8856-ADCFB7FC624A}"/>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4162301" y="4401312"/>
            <a:ext cx="1060154" cy="41992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A63201BC-8BBF-430B-A19C-B988CDB1417E}"/>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601188" y="3062375"/>
            <a:ext cx="968168" cy="382426"/>
          </a:xfrm>
          <a:prstGeom prst="rect">
            <a:avLst/>
          </a:prstGeom>
        </p:spPr>
      </p:pic>
      <p:pic>
        <p:nvPicPr>
          <p:cNvPr id="105" name="Picture 104">
            <a:extLst>
              <a:ext uri="{FF2B5EF4-FFF2-40B4-BE49-F238E27FC236}">
                <a16:creationId xmlns:a16="http://schemas.microsoft.com/office/drawing/2014/main" id="{96B2F53E-4897-4353-810B-AAF03F7B4811}"/>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957145" y="4547683"/>
            <a:ext cx="985018" cy="162850"/>
          </a:xfrm>
          <a:prstGeom prst="rect">
            <a:avLst/>
          </a:prstGeom>
        </p:spPr>
      </p:pic>
      <p:pic>
        <p:nvPicPr>
          <p:cNvPr id="109" name="Picture 2" descr="Image result for ups logo vector">
            <a:extLst>
              <a:ext uri="{FF2B5EF4-FFF2-40B4-BE49-F238E27FC236}">
                <a16:creationId xmlns:a16="http://schemas.microsoft.com/office/drawing/2014/main" id="{3465AB0E-EAB9-48A4-9CA0-AA63EE2F9A97}"/>
              </a:ext>
            </a:extLst>
          </p:cNvPr>
          <p:cNvPicPr>
            <a:picLocks noChangeAspect="1" noChangeArrowheads="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4205" y="4372314"/>
            <a:ext cx="429348" cy="42934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Image result for snow leopard trust logo vector">
            <a:extLst>
              <a:ext uri="{FF2B5EF4-FFF2-40B4-BE49-F238E27FC236}">
                <a16:creationId xmlns:a16="http://schemas.microsoft.com/office/drawing/2014/main" id="{FAA3C0F9-275B-42C7-98CD-74DED3568663}"/>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904317" y="2986202"/>
            <a:ext cx="534772" cy="53477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8" descr="Image result for ignition ai logo">
            <a:extLst>
              <a:ext uri="{FF2B5EF4-FFF2-40B4-BE49-F238E27FC236}">
                <a16:creationId xmlns:a16="http://schemas.microsoft.com/office/drawing/2014/main" id="{B6CFC5FF-497A-4D48-8CF7-82F002851D8A}"/>
              </a:ext>
            </a:extLst>
          </p:cNvPr>
          <p:cNvPicPr>
            <a:picLocks noChangeAspect="1" noChangeArrowheads="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40065" y="3009178"/>
            <a:ext cx="488820" cy="48882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0" descr="Image result for chavarri logo">
            <a:extLst>
              <a:ext uri="{FF2B5EF4-FFF2-40B4-BE49-F238E27FC236}">
                <a16:creationId xmlns:a16="http://schemas.microsoft.com/office/drawing/2014/main" id="{0A1ABF1C-27E8-4F67-9618-EDBBEF53F190}"/>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9343835" y="4528745"/>
            <a:ext cx="916788" cy="21086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8" descr="Image result for plexure logo">
            <a:extLst>
              <a:ext uri="{FF2B5EF4-FFF2-40B4-BE49-F238E27FC236}">
                <a16:creationId xmlns:a16="http://schemas.microsoft.com/office/drawing/2014/main" id="{615CAAE5-59FF-4AEC-98FB-15263471399D}"/>
              </a:ext>
            </a:extLst>
          </p:cNvPr>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1561609" y="4375230"/>
            <a:ext cx="1101246" cy="34490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a:extLst>
              <a:ext uri="{FF2B5EF4-FFF2-40B4-BE49-F238E27FC236}">
                <a16:creationId xmlns:a16="http://schemas.microsoft.com/office/drawing/2014/main" id="{127DE598-4D8C-4658-B7B7-40A1EDD79AF4}"/>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725052" y="5755402"/>
            <a:ext cx="763796" cy="231430"/>
          </a:xfrm>
          <a:prstGeom prst="rect">
            <a:avLst/>
          </a:prstGeom>
        </p:spPr>
      </p:pic>
      <p:pic>
        <p:nvPicPr>
          <p:cNvPr id="118" name="Picture 117">
            <a:extLst>
              <a:ext uri="{FF2B5EF4-FFF2-40B4-BE49-F238E27FC236}">
                <a16:creationId xmlns:a16="http://schemas.microsoft.com/office/drawing/2014/main" id="{67102D4D-AE4E-4FC4-B46F-D35AE5FF55DF}"/>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125344" y="5790413"/>
            <a:ext cx="540734" cy="161408"/>
          </a:xfrm>
          <a:prstGeom prst="rect">
            <a:avLst/>
          </a:prstGeom>
        </p:spPr>
      </p:pic>
      <p:pic>
        <p:nvPicPr>
          <p:cNvPr id="119" name="Picture 118">
            <a:extLst>
              <a:ext uri="{FF2B5EF4-FFF2-40B4-BE49-F238E27FC236}">
                <a16:creationId xmlns:a16="http://schemas.microsoft.com/office/drawing/2014/main" id="{D2FE73CB-9F24-400D-B51F-729FEA1FEF8E}"/>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175841" y="5488230"/>
            <a:ext cx="1039448" cy="584692"/>
          </a:xfrm>
          <a:prstGeom prst="rect">
            <a:avLst/>
          </a:prstGeom>
        </p:spPr>
      </p:pic>
      <p:pic>
        <p:nvPicPr>
          <p:cNvPr id="120" name="Picture 119">
            <a:extLst>
              <a:ext uri="{FF2B5EF4-FFF2-40B4-BE49-F238E27FC236}">
                <a16:creationId xmlns:a16="http://schemas.microsoft.com/office/drawing/2014/main" id="{2B14634A-DFBF-48AC-913E-8C63E3E87698}"/>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998611" y="5737188"/>
            <a:ext cx="788416" cy="267858"/>
          </a:xfrm>
          <a:prstGeom prst="rect">
            <a:avLst/>
          </a:prstGeom>
        </p:spPr>
      </p:pic>
      <p:pic>
        <p:nvPicPr>
          <p:cNvPr id="121" name="Picture 120">
            <a:extLst>
              <a:ext uri="{FF2B5EF4-FFF2-40B4-BE49-F238E27FC236}">
                <a16:creationId xmlns:a16="http://schemas.microsoft.com/office/drawing/2014/main" id="{FB264939-0BA2-4C0A-8CE5-CC1D13D612B8}"/>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9168183" y="5748794"/>
            <a:ext cx="870592" cy="244646"/>
          </a:xfrm>
          <a:prstGeom prst="rect">
            <a:avLst/>
          </a:prstGeom>
        </p:spPr>
      </p:pic>
      <p:pic>
        <p:nvPicPr>
          <p:cNvPr id="123" name="Picture 14" descr="Image result for farmers edge logo">
            <a:extLst>
              <a:ext uri="{FF2B5EF4-FFF2-40B4-BE49-F238E27FC236}">
                <a16:creationId xmlns:a16="http://schemas.microsoft.com/office/drawing/2014/main" id="{F55D637F-AA82-41C8-8BF9-DC8454BC4AB5}"/>
              </a:ext>
            </a:extLst>
          </p:cNvPr>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0548539" y="5782631"/>
            <a:ext cx="992546" cy="17697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1E5B8CB-9057-4BA3-9E40-F3AB382439FC}"/>
              </a:ext>
            </a:extLst>
          </p:cNvPr>
          <p:cNvPicPr>
            <a:picLocks noChangeAspect="1"/>
          </p:cNvPicPr>
          <p:nvPr/>
        </p:nvPicPr>
        <p:blipFill rotWithShape="1">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40511" y="4221480"/>
            <a:ext cx="898578" cy="691384"/>
          </a:xfrm>
          <a:prstGeom prst="rect">
            <a:avLst/>
          </a:prstGeom>
        </p:spPr>
      </p:pic>
      <p:pic>
        <p:nvPicPr>
          <p:cNvPr id="1026" name="Picture 2" descr="Image result for Devon logo Png">
            <a:extLst>
              <a:ext uri="{FF2B5EF4-FFF2-40B4-BE49-F238E27FC236}">
                <a16:creationId xmlns:a16="http://schemas.microsoft.com/office/drawing/2014/main" id="{03EBCA2B-4CC9-4247-90AA-DCBD2ADFF2A4}"/>
              </a:ext>
            </a:extLst>
          </p:cNvPr>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687377" y="5599519"/>
            <a:ext cx="928204" cy="4168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FA4BFF5-B025-44F4-8460-FEF9BE220A1C}"/>
              </a:ext>
            </a:extLst>
          </p:cNvPr>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7296790" y="5729110"/>
            <a:ext cx="1361630" cy="343812"/>
          </a:xfrm>
          <a:prstGeom prst="rect">
            <a:avLst/>
          </a:prstGeom>
        </p:spPr>
      </p:pic>
      <p:pic>
        <p:nvPicPr>
          <p:cNvPr id="1030" name="Picture 6" descr="Image result for royal dutch shell logo">
            <a:extLst>
              <a:ext uri="{FF2B5EF4-FFF2-40B4-BE49-F238E27FC236}">
                <a16:creationId xmlns:a16="http://schemas.microsoft.com/office/drawing/2014/main" id="{E74F196B-E9E9-4FA6-9ECC-5694261F6B2F}"/>
              </a:ext>
            </a:extLst>
          </p:cNvPr>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8360219" y="4358640"/>
            <a:ext cx="565560" cy="524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370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pc="-150" dirty="0">
                <a:solidFill>
                  <a:srgbClr val="0078D7"/>
                </a:solidFill>
              </a:rPr>
              <a:t>Rich partner network</a:t>
            </a:r>
          </a:p>
        </p:txBody>
      </p:sp>
      <p:sp>
        <p:nvSpPr>
          <p:cNvPr id="35" name="TextBox 34">
            <a:extLst>
              <a:ext uri="{FF2B5EF4-FFF2-40B4-BE49-F238E27FC236}">
                <a16:creationId xmlns:a16="http://schemas.microsoft.com/office/drawing/2014/main" id="{1A21A8D1-A0D1-4120-B995-F935FB64BD9E}"/>
              </a:ext>
            </a:extLst>
          </p:cNvPr>
          <p:cNvSpPr txBox="1"/>
          <p:nvPr/>
        </p:nvSpPr>
        <p:spPr>
          <a:xfrm>
            <a:off x="4847006"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System integration</a:t>
            </a:r>
          </a:p>
        </p:txBody>
      </p:sp>
      <p:sp>
        <p:nvSpPr>
          <p:cNvPr id="36" name="TextBox 35">
            <a:extLst>
              <a:ext uri="{FF2B5EF4-FFF2-40B4-BE49-F238E27FC236}">
                <a16:creationId xmlns:a16="http://schemas.microsoft.com/office/drawing/2014/main" id="{F9AAB129-F235-4451-9810-1C750143237D}"/>
              </a:ext>
            </a:extLst>
          </p:cNvPr>
          <p:cNvSpPr txBox="1"/>
          <p:nvPr/>
        </p:nvSpPr>
        <p:spPr>
          <a:xfrm>
            <a:off x="664174"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Data integration</a:t>
            </a:r>
          </a:p>
        </p:txBody>
      </p:sp>
      <p:pic>
        <p:nvPicPr>
          <p:cNvPr id="38" name="Picture 37">
            <a:extLst>
              <a:ext uri="{FF2B5EF4-FFF2-40B4-BE49-F238E27FC236}">
                <a16:creationId xmlns:a16="http://schemas.microsoft.com/office/drawing/2014/main" id="{A017100F-9506-4F80-8B8F-12CC00813D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6392" y="2582252"/>
            <a:ext cx="1416524" cy="340064"/>
          </a:xfrm>
          <a:prstGeom prst="rect">
            <a:avLst/>
          </a:prstGeom>
        </p:spPr>
      </p:pic>
      <p:pic>
        <p:nvPicPr>
          <p:cNvPr id="39" name="Picture 38">
            <a:extLst>
              <a:ext uri="{FF2B5EF4-FFF2-40B4-BE49-F238E27FC236}">
                <a16:creationId xmlns:a16="http://schemas.microsoft.com/office/drawing/2014/main" id="{1385B0B0-2906-4A98-99C8-DD84C5FEF3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03949" y="3346626"/>
            <a:ext cx="981411" cy="236059"/>
          </a:xfrm>
          <a:prstGeom prst="rect">
            <a:avLst/>
          </a:prstGeom>
        </p:spPr>
      </p:pic>
      <p:pic>
        <p:nvPicPr>
          <p:cNvPr id="40" name="Picture 39">
            <a:extLst>
              <a:ext uri="{FF2B5EF4-FFF2-40B4-BE49-F238E27FC236}">
                <a16:creationId xmlns:a16="http://schemas.microsoft.com/office/drawing/2014/main" id="{BB112F56-34B5-4677-B4C2-4B078A0AF25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444" y="4095844"/>
            <a:ext cx="1308421" cy="261033"/>
          </a:xfrm>
          <a:prstGeom prst="rect">
            <a:avLst/>
          </a:prstGeom>
        </p:spPr>
      </p:pic>
      <p:pic>
        <p:nvPicPr>
          <p:cNvPr id="41" name="Picture 40">
            <a:extLst>
              <a:ext uri="{FF2B5EF4-FFF2-40B4-BE49-F238E27FC236}">
                <a16:creationId xmlns:a16="http://schemas.microsoft.com/office/drawing/2014/main" id="{88392C09-7BF2-4F8C-8A3C-E4237F0EF88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17598" y="4774787"/>
            <a:ext cx="1154113" cy="280124"/>
          </a:xfrm>
          <a:prstGeom prst="rect">
            <a:avLst/>
          </a:prstGeom>
        </p:spPr>
      </p:pic>
      <p:pic>
        <p:nvPicPr>
          <p:cNvPr id="42" name="Picture 41">
            <a:extLst>
              <a:ext uri="{FF2B5EF4-FFF2-40B4-BE49-F238E27FC236}">
                <a16:creationId xmlns:a16="http://schemas.microsoft.com/office/drawing/2014/main" id="{D11CAC76-AF56-4BE8-ABDE-B28BF741096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7367" y="4764365"/>
            <a:ext cx="916095" cy="203259"/>
          </a:xfrm>
          <a:prstGeom prst="rect">
            <a:avLst/>
          </a:prstGeom>
        </p:spPr>
      </p:pic>
      <p:pic>
        <p:nvPicPr>
          <p:cNvPr id="43" name="Picture 42">
            <a:extLst>
              <a:ext uri="{FF2B5EF4-FFF2-40B4-BE49-F238E27FC236}">
                <a16:creationId xmlns:a16="http://schemas.microsoft.com/office/drawing/2014/main" id="{A8689A26-AC9A-4BFE-B035-C282578B6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21275" y="5262221"/>
            <a:ext cx="428278" cy="342137"/>
          </a:xfrm>
          <a:prstGeom prst="rect">
            <a:avLst/>
          </a:prstGeom>
        </p:spPr>
      </p:pic>
      <p:pic>
        <p:nvPicPr>
          <p:cNvPr id="44" name="Picture 43">
            <a:extLst>
              <a:ext uri="{FF2B5EF4-FFF2-40B4-BE49-F238E27FC236}">
                <a16:creationId xmlns:a16="http://schemas.microsoft.com/office/drawing/2014/main" id="{A7704781-4E1D-488A-99E6-5629CD81BC9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11613" y="4706001"/>
            <a:ext cx="684918" cy="319986"/>
          </a:xfrm>
          <a:prstGeom prst="rect">
            <a:avLst/>
          </a:prstGeom>
        </p:spPr>
      </p:pic>
      <p:pic>
        <p:nvPicPr>
          <p:cNvPr id="45" name="Picture 44">
            <a:extLst>
              <a:ext uri="{FF2B5EF4-FFF2-40B4-BE49-F238E27FC236}">
                <a16:creationId xmlns:a16="http://schemas.microsoft.com/office/drawing/2014/main" id="{375D8F9D-84C4-438E-A43B-174E142F79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22098" y="4067940"/>
            <a:ext cx="863948" cy="219131"/>
          </a:xfrm>
          <a:prstGeom prst="rect">
            <a:avLst/>
          </a:prstGeom>
        </p:spPr>
      </p:pic>
      <p:cxnSp>
        <p:nvCxnSpPr>
          <p:cNvPr id="46" name="Straight Connector 45">
            <a:extLst>
              <a:ext uri="{FF2B5EF4-FFF2-40B4-BE49-F238E27FC236}">
                <a16:creationId xmlns:a16="http://schemas.microsoft.com/office/drawing/2014/main" id="{0BDB4405-5172-4739-ACB6-72669E3C7299}"/>
              </a:ext>
            </a:extLst>
          </p:cNvPr>
          <p:cNvCxnSpPr/>
          <p:nvPr/>
        </p:nvCxnSpPr>
        <p:spPr>
          <a:xfrm>
            <a:off x="3278305" y="2415146"/>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F24350E7-013F-4E0B-9FDC-9925A7F592F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724289" y="3301915"/>
            <a:ext cx="859566" cy="227771"/>
          </a:xfrm>
          <a:prstGeom prst="rect">
            <a:avLst/>
          </a:prstGeom>
        </p:spPr>
      </p:pic>
      <p:pic>
        <p:nvPicPr>
          <p:cNvPr id="48" name="Picture 47">
            <a:extLst>
              <a:ext uri="{FF2B5EF4-FFF2-40B4-BE49-F238E27FC236}">
                <a16:creationId xmlns:a16="http://schemas.microsoft.com/office/drawing/2014/main" id="{E61CC729-2D8F-47A9-8AB6-EFB273C2C9F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18079" y="2568922"/>
            <a:ext cx="1034670" cy="269014"/>
          </a:xfrm>
          <a:prstGeom prst="rect">
            <a:avLst/>
          </a:prstGeom>
        </p:spPr>
      </p:pic>
      <p:pic>
        <p:nvPicPr>
          <p:cNvPr id="49" name="Picture 48">
            <a:extLst>
              <a:ext uri="{FF2B5EF4-FFF2-40B4-BE49-F238E27FC236}">
                <a16:creationId xmlns:a16="http://schemas.microsoft.com/office/drawing/2014/main" id="{2BD4434A-2384-4CE3-B09D-A2637105A0F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70442" y="3288124"/>
            <a:ext cx="929944" cy="255353"/>
          </a:xfrm>
          <a:prstGeom prst="rect">
            <a:avLst/>
          </a:prstGeom>
        </p:spPr>
      </p:pic>
      <p:pic>
        <p:nvPicPr>
          <p:cNvPr id="50" name="Picture 49">
            <a:extLst>
              <a:ext uri="{FF2B5EF4-FFF2-40B4-BE49-F238E27FC236}">
                <a16:creationId xmlns:a16="http://schemas.microsoft.com/office/drawing/2014/main" id="{0FBC8CB4-004B-46A3-BAE5-AD16DBC8C1C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709592" y="2602810"/>
            <a:ext cx="888960" cy="201238"/>
          </a:xfrm>
          <a:prstGeom prst="rect">
            <a:avLst/>
          </a:prstGeom>
        </p:spPr>
      </p:pic>
      <p:pic>
        <p:nvPicPr>
          <p:cNvPr id="51" name="Picture 50">
            <a:extLst>
              <a:ext uri="{FF2B5EF4-FFF2-40B4-BE49-F238E27FC236}">
                <a16:creationId xmlns:a16="http://schemas.microsoft.com/office/drawing/2014/main" id="{5104797A-1D51-43FD-B801-C768CA317C5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036712" y="4024415"/>
            <a:ext cx="997405" cy="306180"/>
          </a:xfrm>
          <a:prstGeom prst="rect">
            <a:avLst/>
          </a:prstGeom>
        </p:spPr>
      </p:pic>
      <p:pic>
        <p:nvPicPr>
          <p:cNvPr id="52" name="Picture 51">
            <a:extLst>
              <a:ext uri="{FF2B5EF4-FFF2-40B4-BE49-F238E27FC236}">
                <a16:creationId xmlns:a16="http://schemas.microsoft.com/office/drawing/2014/main" id="{8C7DB7C8-6B79-4BB9-B6B1-C01C622F70A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46528" y="5244931"/>
            <a:ext cx="815089" cy="341293"/>
          </a:xfrm>
          <a:prstGeom prst="rect">
            <a:avLst/>
          </a:prstGeom>
        </p:spPr>
      </p:pic>
      <p:pic>
        <p:nvPicPr>
          <p:cNvPr id="53" name="Picture 52">
            <a:extLst>
              <a:ext uri="{FF2B5EF4-FFF2-40B4-BE49-F238E27FC236}">
                <a16:creationId xmlns:a16="http://schemas.microsoft.com/office/drawing/2014/main" id="{70545D15-F152-41AF-92A5-83A7B7B85AB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194754" y="2576910"/>
            <a:ext cx="881553" cy="253038"/>
          </a:xfrm>
          <a:prstGeom prst="rect">
            <a:avLst/>
          </a:prstGeom>
        </p:spPr>
      </p:pic>
      <p:pic>
        <p:nvPicPr>
          <p:cNvPr id="54" name="Picture 53">
            <a:extLst>
              <a:ext uri="{FF2B5EF4-FFF2-40B4-BE49-F238E27FC236}">
                <a16:creationId xmlns:a16="http://schemas.microsoft.com/office/drawing/2014/main" id="{C5E03FF0-93A0-4CDC-B733-1F1711257A4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197366" y="3185997"/>
            <a:ext cx="876328" cy="459607"/>
          </a:xfrm>
          <a:prstGeom prst="rect">
            <a:avLst/>
          </a:prstGeom>
        </p:spPr>
      </p:pic>
      <p:pic>
        <p:nvPicPr>
          <p:cNvPr id="55" name="Picture 54">
            <a:extLst>
              <a:ext uri="{FF2B5EF4-FFF2-40B4-BE49-F238E27FC236}">
                <a16:creationId xmlns:a16="http://schemas.microsoft.com/office/drawing/2014/main" id="{76E790DC-0858-4E0E-A1C9-36BEF75B334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274669" y="4074118"/>
            <a:ext cx="721723" cy="206774"/>
          </a:xfrm>
          <a:prstGeom prst="rect">
            <a:avLst/>
          </a:prstGeom>
        </p:spPr>
      </p:pic>
      <p:pic>
        <p:nvPicPr>
          <p:cNvPr id="56" name="Picture 55">
            <a:extLst>
              <a:ext uri="{FF2B5EF4-FFF2-40B4-BE49-F238E27FC236}">
                <a16:creationId xmlns:a16="http://schemas.microsoft.com/office/drawing/2014/main" id="{F258A189-6EC0-43F7-AB1B-43B8770105E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300833" y="4761132"/>
            <a:ext cx="669395" cy="209725"/>
          </a:xfrm>
          <a:prstGeom prst="rect">
            <a:avLst/>
          </a:prstGeom>
        </p:spPr>
      </p:pic>
      <p:sp>
        <p:nvSpPr>
          <p:cNvPr id="57" name="TextBox 56">
            <a:extLst>
              <a:ext uri="{FF2B5EF4-FFF2-40B4-BE49-F238E27FC236}">
                <a16:creationId xmlns:a16="http://schemas.microsoft.com/office/drawing/2014/main" id="{7149747B-D34A-4FEE-B1F8-538798D102BD}"/>
              </a:ext>
            </a:extLst>
          </p:cNvPr>
          <p:cNvSpPr txBox="1"/>
          <p:nvPr/>
        </p:nvSpPr>
        <p:spPr>
          <a:xfrm>
            <a:off x="9029838"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BI and analytics</a:t>
            </a:r>
          </a:p>
        </p:txBody>
      </p:sp>
      <p:pic>
        <p:nvPicPr>
          <p:cNvPr id="58" name="Picture 57">
            <a:extLst>
              <a:ext uri="{FF2B5EF4-FFF2-40B4-BE49-F238E27FC236}">
                <a16:creationId xmlns:a16="http://schemas.microsoft.com/office/drawing/2014/main" id="{A1B58AD4-8E8D-44FB-A3A4-7D737EAA8EAD}"/>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565425" y="2678792"/>
            <a:ext cx="1389786" cy="271708"/>
          </a:xfrm>
          <a:prstGeom prst="rect">
            <a:avLst/>
          </a:prstGeom>
        </p:spPr>
      </p:pic>
      <p:pic>
        <p:nvPicPr>
          <p:cNvPr id="59" name="Picture 58">
            <a:extLst>
              <a:ext uri="{FF2B5EF4-FFF2-40B4-BE49-F238E27FC236}">
                <a16:creationId xmlns:a16="http://schemas.microsoft.com/office/drawing/2014/main" id="{E634C4D5-D256-4781-852C-201E91F04D97}"/>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826400" y="5403850"/>
            <a:ext cx="867837" cy="245887"/>
          </a:xfrm>
          <a:prstGeom prst="rect">
            <a:avLst/>
          </a:prstGeom>
        </p:spPr>
      </p:pic>
      <p:pic>
        <p:nvPicPr>
          <p:cNvPr id="60" name="Picture 59">
            <a:extLst>
              <a:ext uri="{FF2B5EF4-FFF2-40B4-BE49-F238E27FC236}">
                <a16:creationId xmlns:a16="http://schemas.microsoft.com/office/drawing/2014/main" id="{091C6ACE-4C41-4FBF-8E5C-01605FBD310C}"/>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875483" y="3408034"/>
            <a:ext cx="769670" cy="237966"/>
          </a:xfrm>
          <a:prstGeom prst="rect">
            <a:avLst/>
          </a:prstGeom>
        </p:spPr>
      </p:pic>
      <p:pic>
        <p:nvPicPr>
          <p:cNvPr id="61" name="Picture 60">
            <a:extLst>
              <a:ext uri="{FF2B5EF4-FFF2-40B4-BE49-F238E27FC236}">
                <a16:creationId xmlns:a16="http://schemas.microsoft.com/office/drawing/2014/main" id="{D8BA07AC-FACE-418C-AB84-5F54DC007677}"/>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52057" y="4173434"/>
            <a:ext cx="1416523" cy="230577"/>
          </a:xfrm>
          <a:prstGeom prst="rect">
            <a:avLst/>
          </a:prstGeom>
        </p:spPr>
      </p:pic>
      <p:pic>
        <p:nvPicPr>
          <p:cNvPr id="62" name="Picture 61">
            <a:extLst>
              <a:ext uri="{FF2B5EF4-FFF2-40B4-BE49-F238E27FC236}">
                <a16:creationId xmlns:a16="http://schemas.microsoft.com/office/drawing/2014/main" id="{C51CA082-9BE2-4E90-B8F1-78787258D6E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882935" y="4859182"/>
            <a:ext cx="754766" cy="236059"/>
          </a:xfrm>
          <a:prstGeom prst="rect">
            <a:avLst/>
          </a:prstGeom>
        </p:spPr>
      </p:pic>
      <p:cxnSp>
        <p:nvCxnSpPr>
          <p:cNvPr id="63" name="Straight Connector 62">
            <a:extLst>
              <a:ext uri="{FF2B5EF4-FFF2-40B4-BE49-F238E27FC236}">
                <a16:creationId xmlns:a16="http://schemas.microsoft.com/office/drawing/2014/main" id="{21BD2AD8-4E84-4996-B4AB-58AF189FF518}"/>
              </a:ext>
            </a:extLst>
          </p:cNvPr>
          <p:cNvCxnSpPr/>
          <p:nvPr/>
        </p:nvCxnSpPr>
        <p:spPr>
          <a:xfrm>
            <a:off x="8822603" y="2477508"/>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660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DEE53-5CC6-4B63-BB1D-EF4418912184}"/>
              </a:ext>
            </a:extLst>
          </p:cNvPr>
          <p:cNvSpPr>
            <a:spLocks noGrp="1"/>
          </p:cNvSpPr>
          <p:nvPr>
            <p:ph type="title"/>
          </p:nvPr>
        </p:nvSpPr>
        <p:spPr/>
        <p:txBody>
          <a:bodyPr anchor="ctr"/>
          <a:lstStyle/>
          <a:p>
            <a:r>
              <a:rPr lang="en-IN" spc="-150" dirty="0" err="1"/>
              <a:t>QnA</a:t>
            </a:r>
            <a:endParaRPr lang="en-IN" spc="-150" dirty="0"/>
          </a:p>
        </p:txBody>
      </p:sp>
      <p:sp>
        <p:nvSpPr>
          <p:cNvPr id="48" name="Title 1">
            <a:extLst>
              <a:ext uri="{FF2B5EF4-FFF2-40B4-BE49-F238E27FC236}">
                <a16:creationId xmlns:a16="http://schemas.microsoft.com/office/drawing/2014/main" id="{DBEA2C01-E832-4B86-9F07-32A21F8C62CB}"/>
              </a:ext>
            </a:extLst>
          </p:cNvPr>
          <p:cNvSpPr txBox="1">
            <a:spLocks/>
          </p:cNvSpPr>
          <p:nvPr/>
        </p:nvSpPr>
        <p:spPr>
          <a:xfrm>
            <a:off x="-160239" y="2979167"/>
            <a:ext cx="3232712"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fontAlgn="auto">
              <a:spcBef>
                <a:spcPts val="2400"/>
              </a:spcBef>
              <a:spcAft>
                <a:spcPts val="0"/>
              </a:spcAft>
              <a:buClrTx/>
              <a:buSzTx/>
              <a:tabLst/>
              <a:defRPr/>
            </a:pPr>
            <a:endParaRPr lang="en-US" sz="4400" spc="-98" dirty="0">
              <a:solidFill>
                <a:schemeClr val="bg1"/>
              </a:solidFill>
            </a:endParaRPr>
          </a:p>
        </p:txBody>
      </p:sp>
    </p:spTree>
    <p:extLst>
      <p:ext uri="{BB962C8B-B14F-4D97-AF65-F5344CB8AC3E}">
        <p14:creationId xmlns:p14="http://schemas.microsoft.com/office/powerpoint/2010/main" val="18115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7342BA3-5A2A-4CDB-B99B-7F167BAC428C}"/>
              </a:ext>
            </a:extLst>
          </p:cNvPr>
          <p:cNvSpPr txBox="1"/>
          <p:nvPr/>
        </p:nvSpPr>
        <p:spPr>
          <a:xfrm>
            <a:off x="1374353" y="2890222"/>
            <a:ext cx="9443294" cy="69711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Advanced analytics </a:t>
            </a:r>
          </a:p>
          <a:p>
            <a:pPr lvl="0" algn="ctr">
              <a:lnSpc>
                <a:spcPct val="90000"/>
              </a:lnSpc>
              <a:spcBef>
                <a:spcPts val="600"/>
              </a:spcBef>
              <a:defRPr/>
            </a:pPr>
            <a:r>
              <a:rPr kumimoji="0" lang="en-US" sz="1600" b="0" i="0" u="none" strike="noStrike" kern="1200" cap="none" spc="0" normalizeH="0" baseline="0" noProof="0" dirty="0">
                <a:ln>
                  <a:noFill/>
                </a:ln>
                <a:effectLst/>
                <a:uLnTx/>
                <a:uFillTx/>
              </a:rPr>
              <a:t>An intelligent examination of data or content to unlock deeper insights, make predictions, and generate recommendations using sophisticated techniques such as </a:t>
            </a:r>
            <a:r>
              <a:rPr kumimoji="0" lang="en-US" sz="16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machine learning </a:t>
            </a:r>
            <a:r>
              <a:rPr kumimoji="0" lang="en-US" sz="1600" b="0" i="0" u="none" strike="noStrike" kern="1200" cap="none" spc="0" normalizeH="0" baseline="0" noProof="0" dirty="0">
                <a:ln>
                  <a:noFill/>
                </a:ln>
                <a:effectLst/>
                <a:uLnTx/>
                <a:uFillTx/>
              </a:rPr>
              <a:t>and</a:t>
            </a:r>
            <a:r>
              <a:rPr kumimoji="0" lang="en-US" sz="1600" b="1" i="0" u="none" strike="noStrike" kern="1200" cap="none" spc="0" normalizeH="0" baseline="0" noProof="0" dirty="0">
                <a:ln>
                  <a:noFill/>
                </a:ln>
                <a:effectLst/>
                <a:uLnTx/>
                <a:uFillTx/>
              </a:rPr>
              <a:t> </a:t>
            </a:r>
            <a:r>
              <a:rPr kumimoji="0" lang="en-US" sz="1600" b="1" i="0" u="none" strike="noStrike" kern="1200" cap="none" spc="0" normalizeH="0" baseline="0" noProof="0" dirty="0">
                <a:ln>
                  <a:noFill/>
                </a:ln>
                <a:effectLst/>
                <a:uLnTx/>
                <a:uFillTx/>
                <a:cs typeface="Segoe UI Semibold" panose="020B0702040204020203" pitchFamily="34" charset="0"/>
              </a:rPr>
              <a:t>artificial intelligence. </a:t>
            </a:r>
            <a:endParaRPr kumimoji="0" lang="en-US" sz="1800" b="1" i="0" u="none" strike="noStrike" kern="1200" cap="none" spc="0" normalizeH="0" baseline="0" noProof="0" dirty="0">
              <a:ln>
                <a:noFill/>
              </a:ln>
              <a:effectLst/>
              <a:uLnTx/>
              <a:uFillTx/>
              <a:cs typeface="Segoe UI Semibold" panose="020B0702040204020203" pitchFamily="34" charset="0"/>
            </a:endParaRPr>
          </a:p>
        </p:txBody>
      </p:sp>
      <p:cxnSp>
        <p:nvCxnSpPr>
          <p:cNvPr id="567" name="Straight Connector 566">
            <a:extLst>
              <a:ext uri="{FF2B5EF4-FFF2-40B4-BE49-F238E27FC236}">
                <a16:creationId xmlns:a16="http://schemas.microsoft.com/office/drawing/2014/main" id="{26BF7CBC-C991-41D6-94AE-4396E7177EE9}"/>
              </a:ext>
            </a:extLst>
          </p:cNvPr>
          <p:cNvCxnSpPr>
            <a:cxnSpLocks/>
          </p:cNvCxnSpPr>
          <p:nvPr/>
        </p:nvCxnSpPr>
        <p:spPr>
          <a:xfrm rot="5400000">
            <a:off x="6096000" y="2109809"/>
            <a:ext cx="0" cy="1133942"/>
          </a:xfrm>
          <a:prstGeom prst="line">
            <a:avLst/>
          </a:prstGeom>
          <a:noFill/>
          <a:ln w="19050" cap="flat" cmpd="sng" algn="ctr">
            <a:solidFill>
              <a:schemeClr val="bg1">
                <a:lumMod val="75000"/>
              </a:schemeClr>
            </a:solidFill>
            <a:prstDash val="solid"/>
            <a:headEnd type="none" w="sm" len="sm"/>
            <a:tailEnd type="none" w="med" len="sm"/>
          </a:ln>
          <a:effectLst/>
        </p:spPr>
      </p:cxnSp>
      <p:grpSp>
        <p:nvGrpSpPr>
          <p:cNvPr id="177" name="Group 176">
            <a:extLst>
              <a:ext uri="{FF2B5EF4-FFF2-40B4-BE49-F238E27FC236}">
                <a16:creationId xmlns:a16="http://schemas.microsoft.com/office/drawing/2014/main" id="{9F3FCC62-4C5B-43B0-B3AD-1060BBA988C5}"/>
              </a:ext>
            </a:extLst>
          </p:cNvPr>
          <p:cNvGrpSpPr/>
          <p:nvPr/>
        </p:nvGrpSpPr>
        <p:grpSpPr>
          <a:xfrm>
            <a:off x="4133228" y="471539"/>
            <a:ext cx="3925544" cy="1992317"/>
            <a:chOff x="4133228" y="606449"/>
            <a:chExt cx="3925544" cy="1992317"/>
          </a:xfrm>
        </p:grpSpPr>
        <p:sp>
          <p:nvSpPr>
            <p:cNvPr id="178" name="Graphic 19">
              <a:extLst>
                <a:ext uri="{FF2B5EF4-FFF2-40B4-BE49-F238E27FC236}">
                  <a16:creationId xmlns:a16="http://schemas.microsoft.com/office/drawing/2014/main" id="{6597EF80-2340-4A58-A21E-64EAB1D452A6}"/>
                </a:ext>
              </a:extLst>
            </p:cNvPr>
            <p:cNvSpPr/>
            <p:nvPr/>
          </p:nvSpPr>
          <p:spPr>
            <a:xfrm rot="20717288">
              <a:off x="6691641" y="1340713"/>
              <a:ext cx="437273" cy="437271"/>
            </a:xfrm>
            <a:custGeom>
              <a:avLst/>
              <a:gdLst>
                <a:gd name="connsiteX0" fmla="*/ 301395 w 508040"/>
                <a:gd name="connsiteY0" fmla="*/ 79704 h 508040"/>
                <a:gd name="connsiteX1" fmla="*/ 264446 w 508040"/>
                <a:gd name="connsiteY1" fmla="*/ 116653 h 508040"/>
                <a:gd name="connsiteX2" fmla="*/ 227498 w 508040"/>
                <a:gd name="connsiteY2" fmla="*/ 79704 h 508040"/>
                <a:gd name="connsiteX3" fmla="*/ 264446 w 508040"/>
                <a:gd name="connsiteY3" fmla="*/ 42756 h 508040"/>
                <a:gd name="connsiteX4" fmla="*/ 301395 w 508040"/>
                <a:gd name="connsiteY4" fmla="*/ 79704 h 508040"/>
                <a:gd name="connsiteX5" fmla="*/ 301395 w 508040"/>
                <a:gd name="connsiteY5" fmla="*/ 79704 h 508040"/>
                <a:gd name="connsiteX6" fmla="*/ 412240 w 508040"/>
                <a:gd name="connsiteY6" fmla="*/ 347580 h 508040"/>
                <a:gd name="connsiteX7" fmla="*/ 412240 w 508040"/>
                <a:gd name="connsiteY7" fmla="*/ 215951 h 508040"/>
                <a:gd name="connsiteX8" fmla="*/ 386838 w 508040"/>
                <a:gd name="connsiteY8" fmla="*/ 190549 h 508040"/>
                <a:gd name="connsiteX9" fmla="*/ 142055 w 508040"/>
                <a:gd name="connsiteY9" fmla="*/ 190549 h 508040"/>
                <a:gd name="connsiteX10" fmla="*/ 114343 w 508040"/>
                <a:gd name="connsiteY10" fmla="*/ 215951 h 508040"/>
                <a:gd name="connsiteX11" fmla="*/ 114343 w 508040"/>
                <a:gd name="connsiteY11" fmla="*/ 347580 h 508040"/>
                <a:gd name="connsiteX12" fmla="*/ 139745 w 508040"/>
                <a:gd name="connsiteY12" fmla="*/ 372982 h 508040"/>
                <a:gd name="connsiteX13" fmla="*/ 384528 w 508040"/>
                <a:gd name="connsiteY13" fmla="*/ 372982 h 508040"/>
                <a:gd name="connsiteX14" fmla="*/ 412240 w 508040"/>
                <a:gd name="connsiteY14" fmla="*/ 347580 h 508040"/>
                <a:gd name="connsiteX15" fmla="*/ 412240 w 508040"/>
                <a:gd name="connsiteY15" fmla="*/ 347580 h 508040"/>
                <a:gd name="connsiteX16" fmla="*/ 486137 w 508040"/>
                <a:gd name="connsiteY16" fmla="*/ 479209 h 508040"/>
                <a:gd name="connsiteX17" fmla="*/ 456116 w 508040"/>
                <a:gd name="connsiteY17" fmla="*/ 449188 h 508040"/>
                <a:gd name="connsiteX18" fmla="*/ 72776 w 508040"/>
                <a:gd name="connsiteY18" fmla="*/ 446879 h 508040"/>
                <a:gd name="connsiteX19" fmla="*/ 42756 w 508040"/>
                <a:gd name="connsiteY19" fmla="*/ 476899 h 508040"/>
                <a:gd name="connsiteX20" fmla="*/ 188240 w 508040"/>
                <a:gd name="connsiteY20" fmla="*/ 372982 h 508040"/>
                <a:gd name="connsiteX21" fmla="*/ 188240 w 508040"/>
                <a:gd name="connsiteY21" fmla="*/ 446879 h 508040"/>
                <a:gd name="connsiteX22" fmla="*/ 264446 w 508040"/>
                <a:gd name="connsiteY22" fmla="*/ 116653 h 508040"/>
                <a:gd name="connsiteX23" fmla="*/ 264446 w 508040"/>
                <a:gd name="connsiteY23" fmla="*/ 190549 h 508040"/>
                <a:gd name="connsiteX24" fmla="*/ 338343 w 508040"/>
                <a:gd name="connsiteY24" fmla="*/ 372982 h 508040"/>
                <a:gd name="connsiteX25" fmla="*/ 338343 w 508040"/>
                <a:gd name="connsiteY25" fmla="*/ 446879 h 508040"/>
                <a:gd name="connsiteX26" fmla="*/ 169766 w 508040"/>
                <a:gd name="connsiteY26" fmla="*/ 264446 h 508040"/>
                <a:gd name="connsiteX27" fmla="*/ 206714 w 508040"/>
                <a:gd name="connsiteY27" fmla="*/ 264446 h 508040"/>
                <a:gd name="connsiteX28" fmla="*/ 319869 w 508040"/>
                <a:gd name="connsiteY28" fmla="*/ 264446 h 508040"/>
                <a:gd name="connsiteX29" fmla="*/ 356817 w 508040"/>
                <a:gd name="connsiteY29" fmla="*/ 264446 h 5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040" h="508040">
                  <a:moveTo>
                    <a:pt x="301395" y="79704"/>
                  </a:moveTo>
                  <a:cubicBezTo>
                    <a:pt x="301395" y="100488"/>
                    <a:pt x="285230" y="116653"/>
                    <a:pt x="264446" y="116653"/>
                  </a:cubicBezTo>
                  <a:cubicBezTo>
                    <a:pt x="243663" y="116653"/>
                    <a:pt x="227498" y="100488"/>
                    <a:pt x="227498" y="79704"/>
                  </a:cubicBezTo>
                  <a:cubicBezTo>
                    <a:pt x="227498" y="58921"/>
                    <a:pt x="243663" y="42756"/>
                    <a:pt x="264446" y="42756"/>
                  </a:cubicBezTo>
                  <a:cubicBezTo>
                    <a:pt x="285230" y="42756"/>
                    <a:pt x="301395" y="58921"/>
                    <a:pt x="301395" y="79704"/>
                  </a:cubicBezTo>
                  <a:lnTo>
                    <a:pt x="301395" y="79704"/>
                  </a:lnTo>
                  <a:close/>
                  <a:moveTo>
                    <a:pt x="412240" y="347580"/>
                  </a:moveTo>
                  <a:cubicBezTo>
                    <a:pt x="412240" y="215951"/>
                    <a:pt x="412240" y="215951"/>
                    <a:pt x="412240" y="215951"/>
                  </a:cubicBezTo>
                  <a:cubicBezTo>
                    <a:pt x="412240" y="202096"/>
                    <a:pt x="400693" y="190549"/>
                    <a:pt x="386838" y="190549"/>
                  </a:cubicBezTo>
                  <a:cubicBezTo>
                    <a:pt x="142055" y="190549"/>
                    <a:pt x="142055" y="190549"/>
                    <a:pt x="142055" y="190549"/>
                  </a:cubicBezTo>
                  <a:cubicBezTo>
                    <a:pt x="125890" y="190549"/>
                    <a:pt x="114343" y="202096"/>
                    <a:pt x="114343" y="215951"/>
                  </a:cubicBezTo>
                  <a:cubicBezTo>
                    <a:pt x="114343" y="347580"/>
                    <a:pt x="114343" y="347580"/>
                    <a:pt x="114343" y="347580"/>
                  </a:cubicBezTo>
                  <a:cubicBezTo>
                    <a:pt x="114343" y="361436"/>
                    <a:pt x="125890" y="372982"/>
                    <a:pt x="139745" y="372982"/>
                  </a:cubicBezTo>
                  <a:cubicBezTo>
                    <a:pt x="384528" y="372982"/>
                    <a:pt x="384528" y="372982"/>
                    <a:pt x="384528" y="372982"/>
                  </a:cubicBezTo>
                  <a:cubicBezTo>
                    <a:pt x="400693" y="372982"/>
                    <a:pt x="412240" y="361436"/>
                    <a:pt x="412240" y="347580"/>
                  </a:cubicBezTo>
                  <a:lnTo>
                    <a:pt x="412240" y="347580"/>
                  </a:lnTo>
                  <a:close/>
                  <a:moveTo>
                    <a:pt x="486137" y="479209"/>
                  </a:moveTo>
                  <a:cubicBezTo>
                    <a:pt x="486137" y="463044"/>
                    <a:pt x="472281" y="449188"/>
                    <a:pt x="456116" y="449188"/>
                  </a:cubicBezTo>
                  <a:cubicBezTo>
                    <a:pt x="72776" y="446879"/>
                    <a:pt x="72776" y="446879"/>
                    <a:pt x="72776" y="446879"/>
                  </a:cubicBezTo>
                  <a:cubicBezTo>
                    <a:pt x="56611" y="446879"/>
                    <a:pt x="42756" y="460735"/>
                    <a:pt x="42756" y="476899"/>
                  </a:cubicBezTo>
                  <a:moveTo>
                    <a:pt x="188240" y="372982"/>
                  </a:moveTo>
                  <a:cubicBezTo>
                    <a:pt x="188240" y="446879"/>
                    <a:pt x="188240" y="446879"/>
                    <a:pt x="188240" y="446879"/>
                  </a:cubicBezTo>
                  <a:moveTo>
                    <a:pt x="264446" y="116653"/>
                  </a:moveTo>
                  <a:cubicBezTo>
                    <a:pt x="264446" y="190549"/>
                    <a:pt x="264446" y="190549"/>
                    <a:pt x="264446" y="190549"/>
                  </a:cubicBezTo>
                  <a:moveTo>
                    <a:pt x="338343" y="372982"/>
                  </a:moveTo>
                  <a:cubicBezTo>
                    <a:pt x="338343" y="446879"/>
                    <a:pt x="338343" y="446879"/>
                    <a:pt x="338343" y="446879"/>
                  </a:cubicBezTo>
                  <a:moveTo>
                    <a:pt x="169766" y="264446"/>
                  </a:moveTo>
                  <a:cubicBezTo>
                    <a:pt x="206714" y="264446"/>
                    <a:pt x="206714" y="264446"/>
                    <a:pt x="206714" y="264446"/>
                  </a:cubicBezTo>
                  <a:moveTo>
                    <a:pt x="319869" y="264446"/>
                  </a:moveTo>
                  <a:cubicBezTo>
                    <a:pt x="356817" y="264446"/>
                    <a:pt x="356817" y="264446"/>
                    <a:pt x="356817" y="264446"/>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9" name="Telemarketer_E7B9" title="Icon of a person wearing a headset">
              <a:extLst>
                <a:ext uri="{FF2B5EF4-FFF2-40B4-BE49-F238E27FC236}">
                  <a16:creationId xmlns:a16="http://schemas.microsoft.com/office/drawing/2014/main" id="{786C2F1A-FAAD-4927-A990-EEA28DF76635}"/>
                </a:ext>
              </a:extLst>
            </p:cNvPr>
            <p:cNvSpPr>
              <a:spLocks noChangeAspect="1" noEditPoints="1"/>
            </p:cNvSpPr>
            <p:nvPr/>
          </p:nvSpPr>
          <p:spPr bwMode="auto">
            <a:xfrm>
              <a:off x="7204761" y="1523402"/>
              <a:ext cx="295800" cy="35277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86" name="Group 185">
              <a:extLst>
                <a:ext uri="{FF2B5EF4-FFF2-40B4-BE49-F238E27FC236}">
                  <a16:creationId xmlns:a16="http://schemas.microsoft.com/office/drawing/2014/main" id="{7453C65F-737D-4DEC-8D5E-28EDB571DF57}"/>
                </a:ext>
              </a:extLst>
            </p:cNvPr>
            <p:cNvGrpSpPr/>
            <p:nvPr/>
          </p:nvGrpSpPr>
          <p:grpSpPr>
            <a:xfrm>
              <a:off x="4408474" y="1745578"/>
              <a:ext cx="1451306" cy="789147"/>
              <a:chOff x="4679284" y="1723655"/>
              <a:chExt cx="1451306" cy="789148"/>
            </a:xfrm>
          </p:grpSpPr>
          <p:grpSp>
            <p:nvGrpSpPr>
              <p:cNvPr id="267" name="Group 266">
                <a:extLst>
                  <a:ext uri="{FF2B5EF4-FFF2-40B4-BE49-F238E27FC236}">
                    <a16:creationId xmlns:a16="http://schemas.microsoft.com/office/drawing/2014/main" id="{A399E500-200A-4C13-9CE4-5AD4EF5F4B0C}"/>
                  </a:ext>
                </a:extLst>
              </p:cNvPr>
              <p:cNvGrpSpPr/>
              <p:nvPr/>
            </p:nvGrpSpPr>
            <p:grpSpPr>
              <a:xfrm>
                <a:off x="4768574" y="1916859"/>
                <a:ext cx="873106" cy="512350"/>
                <a:chOff x="1103522" y="-201889"/>
                <a:chExt cx="960417" cy="563585"/>
              </a:xfrm>
            </p:grpSpPr>
            <p:grpSp>
              <p:nvGrpSpPr>
                <p:cNvPr id="271" name="Group 270">
                  <a:extLst>
                    <a:ext uri="{FF2B5EF4-FFF2-40B4-BE49-F238E27FC236}">
                      <a16:creationId xmlns:a16="http://schemas.microsoft.com/office/drawing/2014/main" id="{8025DE97-62C4-44C9-91D8-B24689218CD1}"/>
                    </a:ext>
                  </a:extLst>
                </p:cNvPr>
                <p:cNvGrpSpPr/>
                <p:nvPr/>
              </p:nvGrpSpPr>
              <p:grpSpPr>
                <a:xfrm>
                  <a:off x="1103522" y="-160936"/>
                  <a:ext cx="447905" cy="481678"/>
                  <a:chOff x="3490606" y="-2988280"/>
                  <a:chExt cx="785571" cy="844805"/>
                </a:xfrm>
              </p:grpSpPr>
              <p:sp>
                <p:nvSpPr>
                  <p:cNvPr id="279" name="Oval 278">
                    <a:extLst>
                      <a:ext uri="{FF2B5EF4-FFF2-40B4-BE49-F238E27FC236}">
                        <a16:creationId xmlns:a16="http://schemas.microsoft.com/office/drawing/2014/main" id="{96F53BE8-B086-4E54-9F48-773529FE9F01}"/>
                      </a:ext>
                    </a:extLst>
                  </p:cNvPr>
                  <p:cNvSpPr/>
                  <p:nvPr/>
                </p:nvSpPr>
                <p:spPr bwMode="auto">
                  <a:xfrm>
                    <a:off x="3491154" y="-2988280"/>
                    <a:ext cx="784233" cy="33329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0" name="Freeform: Shape 279">
                    <a:extLst>
                      <a:ext uri="{FF2B5EF4-FFF2-40B4-BE49-F238E27FC236}">
                        <a16:creationId xmlns:a16="http://schemas.microsoft.com/office/drawing/2014/main" id="{61EF1653-D7D0-441F-943B-43EE6B3281E7}"/>
                      </a:ext>
                    </a:extLst>
                  </p:cNvPr>
                  <p:cNvSpPr/>
                  <p:nvPr/>
                </p:nvSpPr>
                <p:spPr bwMode="auto">
                  <a:xfrm>
                    <a:off x="3491944" y="-2291113"/>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281" name="Straight Connector 280">
                    <a:extLst>
                      <a:ext uri="{FF2B5EF4-FFF2-40B4-BE49-F238E27FC236}">
                        <a16:creationId xmlns:a16="http://schemas.microsoft.com/office/drawing/2014/main" id="{520CD756-FB4C-433A-9206-3AC969BF87C5}"/>
                      </a:ext>
                    </a:extLst>
                  </p:cNvPr>
                  <p:cNvCxnSpPr>
                    <a:cxnSpLocks/>
                  </p:cNvCxnSpPr>
                  <p:nvPr/>
                </p:nvCxnSpPr>
                <p:spPr>
                  <a:xfrm>
                    <a:off x="3490606" y="-2815533"/>
                    <a:ext cx="0" cy="528232"/>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82" name="Straight Connector 281">
                    <a:extLst>
                      <a:ext uri="{FF2B5EF4-FFF2-40B4-BE49-F238E27FC236}">
                        <a16:creationId xmlns:a16="http://schemas.microsoft.com/office/drawing/2014/main" id="{6F9F6ED7-3253-47B9-A346-047AED87B245}"/>
                      </a:ext>
                    </a:extLst>
                  </p:cNvPr>
                  <p:cNvCxnSpPr>
                    <a:cxnSpLocks/>
                  </p:cNvCxnSpPr>
                  <p:nvPr/>
                </p:nvCxnSpPr>
                <p:spPr>
                  <a:xfrm>
                    <a:off x="4273796" y="-2815533"/>
                    <a:ext cx="0" cy="528232"/>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83" name="Freeform: Shape 282">
                    <a:extLst>
                      <a:ext uri="{FF2B5EF4-FFF2-40B4-BE49-F238E27FC236}">
                        <a16:creationId xmlns:a16="http://schemas.microsoft.com/office/drawing/2014/main" id="{DC56A99E-E4D9-440A-8E86-D31946B147C7}"/>
                      </a:ext>
                    </a:extLst>
                  </p:cNvPr>
                  <p:cNvSpPr/>
                  <p:nvPr/>
                </p:nvSpPr>
                <p:spPr bwMode="auto">
                  <a:xfrm>
                    <a:off x="3491944" y="-2451305"/>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4" name="Freeform: Shape 283">
                    <a:extLst>
                      <a:ext uri="{FF2B5EF4-FFF2-40B4-BE49-F238E27FC236}">
                        <a16:creationId xmlns:a16="http://schemas.microsoft.com/office/drawing/2014/main" id="{3F9EB494-ACF7-4865-A099-C31B93A08120}"/>
                      </a:ext>
                    </a:extLst>
                  </p:cNvPr>
                  <p:cNvSpPr/>
                  <p:nvPr/>
                </p:nvSpPr>
                <p:spPr bwMode="auto">
                  <a:xfrm>
                    <a:off x="3491944" y="-2625236"/>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2" name="Group 271">
                  <a:extLst>
                    <a:ext uri="{FF2B5EF4-FFF2-40B4-BE49-F238E27FC236}">
                      <a16:creationId xmlns:a16="http://schemas.microsoft.com/office/drawing/2014/main" id="{63080106-E18C-4ED0-8021-799AD07B9605}"/>
                    </a:ext>
                  </a:extLst>
                </p:cNvPr>
                <p:cNvGrpSpPr/>
                <p:nvPr/>
              </p:nvGrpSpPr>
              <p:grpSpPr>
                <a:xfrm>
                  <a:off x="1634436" y="-201889"/>
                  <a:ext cx="429503" cy="563585"/>
                  <a:chOff x="3234585" y="-1014800"/>
                  <a:chExt cx="429503" cy="563585"/>
                </a:xfrm>
              </p:grpSpPr>
              <p:sp>
                <p:nvSpPr>
                  <p:cNvPr id="273" name="Freeform 13">
                    <a:extLst>
                      <a:ext uri="{FF2B5EF4-FFF2-40B4-BE49-F238E27FC236}">
                        <a16:creationId xmlns:a16="http://schemas.microsoft.com/office/drawing/2014/main" id="{668AD7D6-6291-4BE1-9497-903A3CFFC91D}"/>
                      </a:ext>
                    </a:extLst>
                  </p:cNvPr>
                  <p:cNvSpPr>
                    <a:spLocks/>
                  </p:cNvSpPr>
                  <p:nvPr/>
                </p:nvSpPr>
                <p:spPr bwMode="auto">
                  <a:xfrm>
                    <a:off x="3523156" y="-1014800"/>
                    <a:ext cx="140932" cy="563585"/>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4" name="Freeform 14">
                    <a:extLst>
                      <a:ext uri="{FF2B5EF4-FFF2-40B4-BE49-F238E27FC236}">
                        <a16:creationId xmlns:a16="http://schemas.microsoft.com/office/drawing/2014/main" id="{82B8F299-20C7-4A83-AB80-3F87EFE7325D}"/>
                      </a:ext>
                    </a:extLst>
                  </p:cNvPr>
                  <p:cNvSpPr>
                    <a:spLocks/>
                  </p:cNvSpPr>
                  <p:nvPr/>
                </p:nvSpPr>
                <p:spPr bwMode="auto">
                  <a:xfrm>
                    <a:off x="3234585" y="-1014800"/>
                    <a:ext cx="313635" cy="563585"/>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5" name="Freeform 15">
                    <a:extLst>
                      <a:ext uri="{FF2B5EF4-FFF2-40B4-BE49-F238E27FC236}">
                        <a16:creationId xmlns:a16="http://schemas.microsoft.com/office/drawing/2014/main" id="{73EA1016-E69D-4849-8205-7B8573884378}"/>
                      </a:ext>
                    </a:extLst>
                  </p:cNvPr>
                  <p:cNvSpPr>
                    <a:spLocks/>
                  </p:cNvSpPr>
                  <p:nvPr/>
                </p:nvSpPr>
                <p:spPr bwMode="auto">
                  <a:xfrm>
                    <a:off x="3269241" y="-974068"/>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6" name="Freeform 17">
                    <a:extLst>
                      <a:ext uri="{FF2B5EF4-FFF2-40B4-BE49-F238E27FC236}">
                        <a16:creationId xmlns:a16="http://schemas.microsoft.com/office/drawing/2014/main" id="{279182E4-6789-4CDF-8F8B-4A64AF9BB621}"/>
                      </a:ext>
                    </a:extLst>
                  </p:cNvPr>
                  <p:cNvSpPr>
                    <a:spLocks/>
                  </p:cNvSpPr>
                  <p:nvPr/>
                </p:nvSpPr>
                <p:spPr bwMode="auto">
                  <a:xfrm>
                    <a:off x="3269241" y="-873707"/>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7" name="Freeform 19">
                    <a:extLst>
                      <a:ext uri="{FF2B5EF4-FFF2-40B4-BE49-F238E27FC236}">
                        <a16:creationId xmlns:a16="http://schemas.microsoft.com/office/drawing/2014/main" id="{A17C6B80-3F08-4DA3-9072-4387724856CC}"/>
                      </a:ext>
                    </a:extLst>
                  </p:cNvPr>
                  <p:cNvSpPr>
                    <a:spLocks/>
                  </p:cNvSpPr>
                  <p:nvPr/>
                </p:nvSpPr>
                <p:spPr bwMode="auto">
                  <a:xfrm>
                    <a:off x="3269241" y="-773346"/>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8" name="Freeform 21">
                    <a:extLst>
                      <a:ext uri="{FF2B5EF4-FFF2-40B4-BE49-F238E27FC236}">
                        <a16:creationId xmlns:a16="http://schemas.microsoft.com/office/drawing/2014/main" id="{66959F48-5C38-4AB7-A6F9-7A4F824047EB}"/>
                      </a:ext>
                    </a:extLst>
                  </p:cNvPr>
                  <p:cNvSpPr>
                    <a:spLocks/>
                  </p:cNvSpPr>
                  <p:nvPr/>
                </p:nvSpPr>
                <p:spPr bwMode="auto">
                  <a:xfrm>
                    <a:off x="3269241" y="-672986"/>
                    <a:ext cx="243568" cy="59469"/>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268" name="Freeform: Shape 267">
                <a:extLst>
                  <a:ext uri="{FF2B5EF4-FFF2-40B4-BE49-F238E27FC236}">
                    <a16:creationId xmlns:a16="http://schemas.microsoft.com/office/drawing/2014/main" id="{1D26A300-122A-4990-A500-0D27FFC2773F}"/>
                  </a:ext>
                </a:extLst>
              </p:cNvPr>
              <p:cNvSpPr/>
              <p:nvPr/>
            </p:nvSpPr>
            <p:spPr bwMode="auto">
              <a:xfrm>
                <a:off x="4679284" y="1723655"/>
                <a:ext cx="1066565" cy="789148"/>
              </a:xfrm>
              <a:custGeom>
                <a:avLst/>
                <a:gdLst>
                  <a:gd name="connsiteX0" fmla="*/ 421178 w 986443"/>
                  <a:gd name="connsiteY0" fmla="*/ 0 h 631767"/>
                  <a:gd name="connsiteX1" fmla="*/ 0 w 986443"/>
                  <a:gd name="connsiteY1" fmla="*/ 5542 h 631767"/>
                  <a:gd name="connsiteX2" fmla="*/ 0 w 986443"/>
                  <a:gd name="connsiteY2" fmla="*/ 631767 h 631767"/>
                  <a:gd name="connsiteX3" fmla="*/ 986443 w 986443"/>
                  <a:gd name="connsiteY3" fmla="*/ 626225 h 631767"/>
                  <a:gd name="connsiteX4" fmla="*/ 975360 w 986443"/>
                  <a:gd name="connsiteY4" fmla="*/ 5542 h 631767"/>
                  <a:gd name="connsiteX5" fmla="*/ 554182 w 986443"/>
                  <a:gd name="connsiteY5" fmla="*/ 5542 h 631767"/>
                  <a:gd name="connsiteX0" fmla="*/ 421178 w 981681"/>
                  <a:gd name="connsiteY0" fmla="*/ 0 h 631767"/>
                  <a:gd name="connsiteX1" fmla="*/ 0 w 981681"/>
                  <a:gd name="connsiteY1" fmla="*/ 5542 h 631767"/>
                  <a:gd name="connsiteX2" fmla="*/ 0 w 981681"/>
                  <a:gd name="connsiteY2" fmla="*/ 631767 h 631767"/>
                  <a:gd name="connsiteX3" fmla="*/ 981681 w 981681"/>
                  <a:gd name="connsiteY3" fmla="*/ 626225 h 631767"/>
                  <a:gd name="connsiteX4" fmla="*/ 975360 w 981681"/>
                  <a:gd name="connsiteY4" fmla="*/ 5542 h 631767"/>
                  <a:gd name="connsiteX5" fmla="*/ 554182 w 981681"/>
                  <a:gd name="connsiteY5" fmla="*/ 5542 h 631767"/>
                  <a:gd name="connsiteX0" fmla="*/ 421178 w 979300"/>
                  <a:gd name="connsiteY0" fmla="*/ 0 h 631767"/>
                  <a:gd name="connsiteX1" fmla="*/ 0 w 979300"/>
                  <a:gd name="connsiteY1" fmla="*/ 5542 h 631767"/>
                  <a:gd name="connsiteX2" fmla="*/ 0 w 979300"/>
                  <a:gd name="connsiteY2" fmla="*/ 631767 h 631767"/>
                  <a:gd name="connsiteX3" fmla="*/ 979300 w 979300"/>
                  <a:gd name="connsiteY3" fmla="*/ 626225 h 631767"/>
                  <a:gd name="connsiteX4" fmla="*/ 975360 w 979300"/>
                  <a:gd name="connsiteY4" fmla="*/ 5542 h 631767"/>
                  <a:gd name="connsiteX5" fmla="*/ 554182 w 979300"/>
                  <a:gd name="connsiteY5" fmla="*/ 5542 h 631767"/>
                  <a:gd name="connsiteX0" fmla="*/ 425941 w 979300"/>
                  <a:gd name="connsiteY0" fmla="*/ 0 h 629386"/>
                  <a:gd name="connsiteX1" fmla="*/ 0 w 979300"/>
                  <a:gd name="connsiteY1" fmla="*/ 3161 h 629386"/>
                  <a:gd name="connsiteX2" fmla="*/ 0 w 979300"/>
                  <a:gd name="connsiteY2" fmla="*/ 629386 h 629386"/>
                  <a:gd name="connsiteX3" fmla="*/ 979300 w 979300"/>
                  <a:gd name="connsiteY3" fmla="*/ 623844 h 629386"/>
                  <a:gd name="connsiteX4" fmla="*/ 975360 w 979300"/>
                  <a:gd name="connsiteY4" fmla="*/ 3161 h 629386"/>
                  <a:gd name="connsiteX5" fmla="*/ 554182 w 979300"/>
                  <a:gd name="connsiteY5" fmla="*/ 3161 h 629386"/>
                  <a:gd name="connsiteX0" fmla="*/ 425941 w 979300"/>
                  <a:gd name="connsiteY0" fmla="*/ 0 h 627005"/>
                  <a:gd name="connsiteX1" fmla="*/ 0 w 979300"/>
                  <a:gd name="connsiteY1" fmla="*/ 780 h 627005"/>
                  <a:gd name="connsiteX2" fmla="*/ 0 w 979300"/>
                  <a:gd name="connsiteY2" fmla="*/ 627005 h 627005"/>
                  <a:gd name="connsiteX3" fmla="*/ 979300 w 979300"/>
                  <a:gd name="connsiteY3" fmla="*/ 621463 h 627005"/>
                  <a:gd name="connsiteX4" fmla="*/ 975360 w 979300"/>
                  <a:gd name="connsiteY4" fmla="*/ 780 h 627005"/>
                  <a:gd name="connsiteX5" fmla="*/ 554182 w 979300"/>
                  <a:gd name="connsiteY5" fmla="*/ 780 h 627005"/>
                  <a:gd name="connsiteX0" fmla="*/ 425941 w 979300"/>
                  <a:gd name="connsiteY0" fmla="*/ 0 h 627005"/>
                  <a:gd name="connsiteX1" fmla="*/ 426581 w 979300"/>
                  <a:gd name="connsiteY1" fmla="*/ 2091 h 627005"/>
                  <a:gd name="connsiteX2" fmla="*/ 0 w 979300"/>
                  <a:gd name="connsiteY2" fmla="*/ 780 h 627005"/>
                  <a:gd name="connsiteX3" fmla="*/ 0 w 979300"/>
                  <a:gd name="connsiteY3" fmla="*/ 627005 h 627005"/>
                  <a:gd name="connsiteX4" fmla="*/ 979300 w 979300"/>
                  <a:gd name="connsiteY4" fmla="*/ 621463 h 627005"/>
                  <a:gd name="connsiteX5" fmla="*/ 975360 w 979300"/>
                  <a:gd name="connsiteY5" fmla="*/ 780 h 627005"/>
                  <a:gd name="connsiteX6" fmla="*/ 554182 w 979300"/>
                  <a:gd name="connsiteY6" fmla="*/ 780 h 627005"/>
                  <a:gd name="connsiteX0" fmla="*/ 425941 w 979300"/>
                  <a:gd name="connsiteY0" fmla="*/ 0 h 627005"/>
                  <a:gd name="connsiteX1" fmla="*/ 397720 w 979300"/>
                  <a:gd name="connsiteY1" fmla="*/ 2091 h 627005"/>
                  <a:gd name="connsiteX2" fmla="*/ 0 w 979300"/>
                  <a:gd name="connsiteY2" fmla="*/ 780 h 627005"/>
                  <a:gd name="connsiteX3" fmla="*/ 0 w 979300"/>
                  <a:gd name="connsiteY3" fmla="*/ 627005 h 627005"/>
                  <a:gd name="connsiteX4" fmla="*/ 979300 w 979300"/>
                  <a:gd name="connsiteY4" fmla="*/ 621463 h 627005"/>
                  <a:gd name="connsiteX5" fmla="*/ 975360 w 979300"/>
                  <a:gd name="connsiteY5" fmla="*/ 780 h 627005"/>
                  <a:gd name="connsiteX6" fmla="*/ 554182 w 979300"/>
                  <a:gd name="connsiteY6" fmla="*/ 780 h 627005"/>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551897 w 979300"/>
                  <a:gd name="connsiteY7" fmla="*/ 85811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3290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7229 h 715111"/>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21645 w 979300"/>
                  <a:gd name="connsiteY7" fmla="*/ 0 h 717407"/>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21645 w 979300"/>
                  <a:gd name="connsiteY7" fmla="*/ 0 h 717407"/>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3670 w 979300"/>
                  <a:gd name="connsiteY7" fmla="*/ 4848 h 715111"/>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40885 w 979300"/>
                  <a:gd name="connsiteY7" fmla="*/ 0 h 71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300" h="717407">
                    <a:moveTo>
                      <a:pt x="341764" y="2296"/>
                    </a:moveTo>
                    <a:lnTo>
                      <a:pt x="397720" y="92493"/>
                    </a:lnTo>
                    <a:lnTo>
                      <a:pt x="0" y="91182"/>
                    </a:lnTo>
                    <a:lnTo>
                      <a:pt x="0" y="717407"/>
                    </a:lnTo>
                    <a:lnTo>
                      <a:pt x="979300" y="711865"/>
                    </a:lnTo>
                    <a:cubicBezTo>
                      <a:pt x="977987" y="504971"/>
                      <a:pt x="976673" y="298076"/>
                      <a:pt x="975360" y="91182"/>
                    </a:cubicBezTo>
                    <a:lnTo>
                      <a:pt x="580637" y="91182"/>
                    </a:lnTo>
                    <a:lnTo>
                      <a:pt x="640885"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9" name="Rectangle: Rounded Corners 268">
                <a:extLst>
                  <a:ext uri="{FF2B5EF4-FFF2-40B4-BE49-F238E27FC236}">
                    <a16:creationId xmlns:a16="http://schemas.microsoft.com/office/drawing/2014/main" id="{61FDF266-FD41-418A-8219-CAE89257EFCD}"/>
                  </a:ext>
                </a:extLst>
              </p:cNvPr>
              <p:cNvSpPr/>
              <p:nvPr/>
            </p:nvSpPr>
            <p:spPr bwMode="auto">
              <a:xfrm>
                <a:off x="5746764" y="1955156"/>
                <a:ext cx="55305" cy="435756"/>
              </a:xfrm>
              <a:prstGeom prst="round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0" name="Rectangle 269">
                <a:extLst>
                  <a:ext uri="{FF2B5EF4-FFF2-40B4-BE49-F238E27FC236}">
                    <a16:creationId xmlns:a16="http://schemas.microsoft.com/office/drawing/2014/main" id="{6E328267-6979-43BC-8F2C-56D0E07D6515}"/>
                  </a:ext>
                </a:extLst>
              </p:cNvPr>
              <p:cNvSpPr/>
              <p:nvPr/>
            </p:nvSpPr>
            <p:spPr bwMode="auto">
              <a:xfrm>
                <a:off x="5799028" y="1974961"/>
                <a:ext cx="331562" cy="39614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87" name="Group 186">
              <a:extLst>
                <a:ext uri="{FF2B5EF4-FFF2-40B4-BE49-F238E27FC236}">
                  <a16:creationId xmlns:a16="http://schemas.microsoft.com/office/drawing/2014/main" id="{5212C874-7985-4D19-98C7-487616281C2D}"/>
                </a:ext>
              </a:extLst>
            </p:cNvPr>
            <p:cNvGrpSpPr/>
            <p:nvPr/>
          </p:nvGrpSpPr>
          <p:grpSpPr>
            <a:xfrm>
              <a:off x="4133228" y="606449"/>
              <a:ext cx="1625708" cy="1092221"/>
              <a:chOff x="4477325" y="617383"/>
              <a:chExt cx="1477916" cy="992928"/>
            </a:xfrm>
          </p:grpSpPr>
          <p:grpSp>
            <p:nvGrpSpPr>
              <p:cNvPr id="252" name="Group 251">
                <a:extLst>
                  <a:ext uri="{FF2B5EF4-FFF2-40B4-BE49-F238E27FC236}">
                    <a16:creationId xmlns:a16="http://schemas.microsoft.com/office/drawing/2014/main" id="{D80BD7A7-EAB4-4E28-9088-74C56E43AFA1}"/>
                  </a:ext>
                </a:extLst>
              </p:cNvPr>
              <p:cNvGrpSpPr/>
              <p:nvPr/>
            </p:nvGrpSpPr>
            <p:grpSpPr>
              <a:xfrm>
                <a:off x="4605523" y="617383"/>
                <a:ext cx="1224228" cy="992928"/>
                <a:chOff x="5538240" y="2836520"/>
                <a:chExt cx="1112934" cy="902662"/>
              </a:xfrm>
            </p:grpSpPr>
            <p:grpSp>
              <p:nvGrpSpPr>
                <p:cNvPr id="255" name="Group 254">
                  <a:extLst>
                    <a:ext uri="{FF2B5EF4-FFF2-40B4-BE49-F238E27FC236}">
                      <a16:creationId xmlns:a16="http://schemas.microsoft.com/office/drawing/2014/main" id="{BE57A9DB-B01C-4CB7-9BBB-A04188E062EF}"/>
                    </a:ext>
                  </a:extLst>
                </p:cNvPr>
                <p:cNvGrpSpPr/>
                <p:nvPr/>
              </p:nvGrpSpPr>
              <p:grpSpPr>
                <a:xfrm>
                  <a:off x="5705269" y="2836520"/>
                  <a:ext cx="945905" cy="902662"/>
                  <a:chOff x="5705269" y="2836520"/>
                  <a:chExt cx="945905" cy="902662"/>
                </a:xfrm>
              </p:grpSpPr>
              <p:sp>
                <p:nvSpPr>
                  <p:cNvPr id="257" name="hand_3" title="Icon of a hand giving a thumbs-up">
                    <a:extLst>
                      <a:ext uri="{FF2B5EF4-FFF2-40B4-BE49-F238E27FC236}">
                        <a16:creationId xmlns:a16="http://schemas.microsoft.com/office/drawing/2014/main" id="{404693EC-6D39-438B-A06B-5864A93610A7}"/>
                      </a:ext>
                    </a:extLst>
                  </p:cNvPr>
                  <p:cNvSpPr>
                    <a:spLocks noChangeAspect="1"/>
                  </p:cNvSpPr>
                  <p:nvPr/>
                </p:nvSpPr>
                <p:spPr bwMode="auto">
                  <a:xfrm>
                    <a:off x="5705269" y="3091390"/>
                    <a:ext cx="186136" cy="163026"/>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58" name="ShoppingCart_E7BF" title="Icon of a shopping cart">
                    <a:extLst>
                      <a:ext uri="{FF2B5EF4-FFF2-40B4-BE49-F238E27FC236}">
                        <a16:creationId xmlns:a16="http://schemas.microsoft.com/office/drawing/2014/main" id="{2195A344-A094-491A-85BF-A4D627C411D5}"/>
                      </a:ext>
                    </a:extLst>
                  </p:cNvPr>
                  <p:cNvSpPr>
                    <a:spLocks noChangeAspect="1" noEditPoints="1"/>
                  </p:cNvSpPr>
                  <p:nvPr/>
                </p:nvSpPr>
                <p:spPr bwMode="auto">
                  <a:xfrm>
                    <a:off x="6012552" y="2845145"/>
                    <a:ext cx="208973" cy="17770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9" name="POI_ECAF" title="Icon of a map location marker">
                    <a:extLst>
                      <a:ext uri="{FF2B5EF4-FFF2-40B4-BE49-F238E27FC236}">
                        <a16:creationId xmlns:a16="http://schemas.microsoft.com/office/drawing/2014/main" id="{F8AC7464-B36E-4724-B006-9CE11DF3BCFC}"/>
                      </a:ext>
                    </a:extLst>
                  </p:cNvPr>
                  <p:cNvSpPr>
                    <a:spLocks noChangeAspect="1" noEditPoints="1"/>
                  </p:cNvSpPr>
                  <p:nvPr/>
                </p:nvSpPr>
                <p:spPr bwMode="auto">
                  <a:xfrm>
                    <a:off x="6292280" y="2836520"/>
                    <a:ext cx="122428" cy="19590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0" name="target_2" title="Icon of a target with an arrow hitting the bullseye">
                    <a:extLst>
                      <a:ext uri="{FF2B5EF4-FFF2-40B4-BE49-F238E27FC236}">
                        <a16:creationId xmlns:a16="http://schemas.microsoft.com/office/drawing/2014/main" id="{0C4F0F3D-817B-4894-8079-3AD1C5E6D901}"/>
                      </a:ext>
                    </a:extLst>
                  </p:cNvPr>
                  <p:cNvSpPr>
                    <a:spLocks noChangeAspect="1" noEditPoints="1"/>
                  </p:cNvSpPr>
                  <p:nvPr/>
                </p:nvSpPr>
                <p:spPr bwMode="auto">
                  <a:xfrm>
                    <a:off x="6262418" y="3091856"/>
                    <a:ext cx="182222" cy="18149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1" name="magnify" title="Icon of a magnifying glass">
                    <a:extLst>
                      <a:ext uri="{FF2B5EF4-FFF2-40B4-BE49-F238E27FC236}">
                        <a16:creationId xmlns:a16="http://schemas.microsoft.com/office/drawing/2014/main" id="{59ABC8F4-CBB7-4F42-AB05-8312CD235B5D}"/>
                      </a:ext>
                    </a:extLst>
                  </p:cNvPr>
                  <p:cNvSpPr>
                    <a:spLocks noChangeAspect="1" noEditPoints="1"/>
                  </p:cNvSpPr>
                  <p:nvPr/>
                </p:nvSpPr>
                <p:spPr bwMode="auto">
                  <a:xfrm>
                    <a:off x="5808409" y="2857097"/>
                    <a:ext cx="183765" cy="18025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2" name="video_2" title="Icon of a video camera">
                    <a:extLst>
                      <a:ext uri="{FF2B5EF4-FFF2-40B4-BE49-F238E27FC236}">
                        <a16:creationId xmlns:a16="http://schemas.microsoft.com/office/drawing/2014/main" id="{A4F460C3-882C-4505-A200-5FA9DE976A31}"/>
                      </a:ext>
                    </a:extLst>
                  </p:cNvPr>
                  <p:cNvSpPr>
                    <a:spLocks noChangeAspect="1" noEditPoints="1"/>
                  </p:cNvSpPr>
                  <p:nvPr/>
                </p:nvSpPr>
                <p:spPr bwMode="auto">
                  <a:xfrm rot="20801349">
                    <a:off x="5970977" y="3125982"/>
                    <a:ext cx="225385" cy="103952"/>
                  </a:xfrm>
                  <a:custGeom>
                    <a:avLst/>
                    <a:gdLst>
                      <a:gd name="T0" fmla="*/ 0 w 245"/>
                      <a:gd name="T1" fmla="*/ 62 h 113"/>
                      <a:gd name="T2" fmla="*/ 0 w 245"/>
                      <a:gd name="T3" fmla="*/ 0 h 113"/>
                      <a:gd name="T4" fmla="*/ 178 w 245"/>
                      <a:gd name="T5" fmla="*/ 0 h 113"/>
                      <a:gd name="T6" fmla="*/ 178 w 245"/>
                      <a:gd name="T7" fmla="*/ 113 h 113"/>
                      <a:gd name="T8" fmla="*/ 0 w 245"/>
                      <a:gd name="T9" fmla="*/ 113 h 113"/>
                      <a:gd name="T10" fmla="*/ 0 w 245"/>
                      <a:gd name="T11" fmla="*/ 62 h 113"/>
                      <a:gd name="T12" fmla="*/ 178 w 245"/>
                      <a:gd name="T13" fmla="*/ 73 h 113"/>
                      <a:gd name="T14" fmla="*/ 245 w 245"/>
                      <a:gd name="T15" fmla="*/ 108 h 113"/>
                      <a:gd name="T16" fmla="*/ 245 w 245"/>
                      <a:gd name="T17" fmla="*/ 0 h 113"/>
                      <a:gd name="T18" fmla="*/ 178 w 245"/>
                      <a:gd name="T19" fmla="*/ 3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113">
                        <a:moveTo>
                          <a:pt x="0" y="62"/>
                        </a:moveTo>
                        <a:lnTo>
                          <a:pt x="0" y="0"/>
                        </a:lnTo>
                        <a:lnTo>
                          <a:pt x="178" y="0"/>
                        </a:lnTo>
                        <a:lnTo>
                          <a:pt x="178" y="113"/>
                        </a:lnTo>
                        <a:lnTo>
                          <a:pt x="0" y="113"/>
                        </a:lnTo>
                        <a:lnTo>
                          <a:pt x="0" y="62"/>
                        </a:lnTo>
                        <a:moveTo>
                          <a:pt x="178" y="73"/>
                        </a:moveTo>
                        <a:lnTo>
                          <a:pt x="245" y="108"/>
                        </a:lnTo>
                        <a:lnTo>
                          <a:pt x="245" y="0"/>
                        </a:lnTo>
                        <a:lnTo>
                          <a:pt x="178" y="3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3" name="Calendar_4" title="Icon of an empty calendar">
                    <a:extLst>
                      <a:ext uri="{FF2B5EF4-FFF2-40B4-BE49-F238E27FC236}">
                        <a16:creationId xmlns:a16="http://schemas.microsoft.com/office/drawing/2014/main" id="{C8357E5C-6AE0-497C-8682-F6AB14D48C5C}"/>
                      </a:ext>
                    </a:extLst>
                  </p:cNvPr>
                  <p:cNvSpPr>
                    <a:spLocks noChangeAspect="1" noEditPoints="1"/>
                  </p:cNvSpPr>
                  <p:nvPr/>
                </p:nvSpPr>
                <p:spPr bwMode="auto">
                  <a:xfrm rot="897200">
                    <a:off x="6494130" y="2923213"/>
                    <a:ext cx="157044" cy="150479"/>
                  </a:xfrm>
                  <a:custGeom>
                    <a:avLst/>
                    <a:gdLst>
                      <a:gd name="T0" fmla="*/ 598 w 598"/>
                      <a:gd name="T1" fmla="*/ 330 h 573"/>
                      <a:gd name="T2" fmla="*/ 598 w 598"/>
                      <a:gd name="T3" fmla="*/ 573 h 573"/>
                      <a:gd name="T4" fmla="*/ 0 w 598"/>
                      <a:gd name="T5" fmla="*/ 573 h 573"/>
                      <a:gd name="T6" fmla="*/ 0 w 598"/>
                      <a:gd name="T7" fmla="*/ 59 h 573"/>
                      <a:gd name="T8" fmla="*/ 598 w 598"/>
                      <a:gd name="T9" fmla="*/ 59 h 573"/>
                      <a:gd name="T10" fmla="*/ 598 w 598"/>
                      <a:gd name="T11" fmla="*/ 330 h 573"/>
                      <a:gd name="T12" fmla="*/ 0 w 598"/>
                      <a:gd name="T13" fmla="*/ 176 h 573"/>
                      <a:gd name="T14" fmla="*/ 598 w 598"/>
                      <a:gd name="T15" fmla="*/ 176 h 573"/>
                      <a:gd name="T16" fmla="*/ 120 w 598"/>
                      <a:gd name="T17" fmla="*/ 0 h 573"/>
                      <a:gd name="T18" fmla="*/ 120 w 598"/>
                      <a:gd name="T19" fmla="*/ 121 h 573"/>
                      <a:gd name="T20" fmla="*/ 477 w 598"/>
                      <a:gd name="T21" fmla="*/ 0 h 573"/>
                      <a:gd name="T22" fmla="*/ 477 w 598"/>
                      <a:gd name="T23" fmla="*/ 121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8" h="573">
                        <a:moveTo>
                          <a:pt x="598" y="330"/>
                        </a:moveTo>
                        <a:lnTo>
                          <a:pt x="598" y="573"/>
                        </a:lnTo>
                        <a:lnTo>
                          <a:pt x="0" y="573"/>
                        </a:lnTo>
                        <a:lnTo>
                          <a:pt x="0" y="59"/>
                        </a:lnTo>
                        <a:lnTo>
                          <a:pt x="598" y="59"/>
                        </a:lnTo>
                        <a:lnTo>
                          <a:pt x="598" y="330"/>
                        </a:lnTo>
                        <a:moveTo>
                          <a:pt x="0" y="176"/>
                        </a:moveTo>
                        <a:lnTo>
                          <a:pt x="598" y="176"/>
                        </a:lnTo>
                        <a:moveTo>
                          <a:pt x="120" y="0"/>
                        </a:moveTo>
                        <a:lnTo>
                          <a:pt x="120" y="121"/>
                        </a:lnTo>
                        <a:moveTo>
                          <a:pt x="477" y="0"/>
                        </a:moveTo>
                        <a:lnTo>
                          <a:pt x="477" y="12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4" name="Funnel" title="Icon of a funnel">
                    <a:extLst>
                      <a:ext uri="{FF2B5EF4-FFF2-40B4-BE49-F238E27FC236}">
                        <a16:creationId xmlns:a16="http://schemas.microsoft.com/office/drawing/2014/main" id="{B0CC4732-CD68-44C9-B512-8E63ABAEB4DE}"/>
                      </a:ext>
                    </a:extLst>
                  </p:cNvPr>
                  <p:cNvSpPr>
                    <a:spLocks noChangeAspect="1"/>
                  </p:cNvSpPr>
                  <p:nvPr/>
                </p:nvSpPr>
                <p:spPr bwMode="auto">
                  <a:xfrm>
                    <a:off x="5714928" y="3330166"/>
                    <a:ext cx="750337" cy="409016"/>
                  </a:xfrm>
                  <a:custGeom>
                    <a:avLst/>
                    <a:gdLst>
                      <a:gd name="T0" fmla="*/ 0 w 598"/>
                      <a:gd name="T1" fmla="*/ 0 h 517"/>
                      <a:gd name="T2" fmla="*/ 598 w 598"/>
                      <a:gd name="T3" fmla="*/ 0 h 517"/>
                      <a:gd name="T4" fmla="*/ 598 w 598"/>
                      <a:gd name="T5" fmla="*/ 40 h 517"/>
                      <a:gd name="T6" fmla="*/ 358 w 598"/>
                      <a:gd name="T7" fmla="*/ 276 h 517"/>
                      <a:gd name="T8" fmla="*/ 358 w 598"/>
                      <a:gd name="T9" fmla="*/ 517 h 517"/>
                      <a:gd name="T10" fmla="*/ 236 w 598"/>
                      <a:gd name="T11" fmla="*/ 517 h 517"/>
                      <a:gd name="T12" fmla="*/ 236 w 598"/>
                      <a:gd name="T13" fmla="*/ 274 h 517"/>
                      <a:gd name="T14" fmla="*/ 0 w 598"/>
                      <a:gd name="T15" fmla="*/ 43 h 517"/>
                      <a:gd name="T16" fmla="*/ 0 w 598"/>
                      <a:gd name="T17" fmla="*/ 0 h 517"/>
                      <a:gd name="connsiteX0" fmla="*/ 5987 w 10000"/>
                      <a:gd name="connsiteY0" fmla="*/ 10000 h 11747"/>
                      <a:gd name="connsiteX1" fmla="*/ 3946 w 10000"/>
                      <a:gd name="connsiteY1" fmla="*/ 10000 h 11747"/>
                      <a:gd name="connsiteX2" fmla="*/ 3946 w 10000"/>
                      <a:gd name="connsiteY2" fmla="*/ 5300 h 11747"/>
                      <a:gd name="connsiteX3" fmla="*/ 0 w 10000"/>
                      <a:gd name="connsiteY3" fmla="*/ 832 h 11747"/>
                      <a:gd name="connsiteX4" fmla="*/ 0 w 10000"/>
                      <a:gd name="connsiteY4" fmla="*/ 0 h 11747"/>
                      <a:gd name="connsiteX5" fmla="*/ 10000 w 10000"/>
                      <a:gd name="connsiteY5" fmla="*/ 0 h 11747"/>
                      <a:gd name="connsiteX6" fmla="*/ 10000 w 10000"/>
                      <a:gd name="connsiteY6" fmla="*/ 774 h 11747"/>
                      <a:gd name="connsiteX7" fmla="*/ 5987 w 10000"/>
                      <a:gd name="connsiteY7" fmla="*/ 5338 h 11747"/>
                      <a:gd name="connsiteX8" fmla="*/ 7498 w 10000"/>
                      <a:gd name="connsiteY8" fmla="*/ 11747 h 11747"/>
                      <a:gd name="connsiteX0" fmla="*/ 3946 w 10000"/>
                      <a:gd name="connsiteY0" fmla="*/ 10000 h 11747"/>
                      <a:gd name="connsiteX1" fmla="*/ 3946 w 10000"/>
                      <a:gd name="connsiteY1" fmla="*/ 5300 h 11747"/>
                      <a:gd name="connsiteX2" fmla="*/ 0 w 10000"/>
                      <a:gd name="connsiteY2" fmla="*/ 832 h 11747"/>
                      <a:gd name="connsiteX3" fmla="*/ 0 w 10000"/>
                      <a:gd name="connsiteY3" fmla="*/ 0 h 11747"/>
                      <a:gd name="connsiteX4" fmla="*/ 10000 w 10000"/>
                      <a:gd name="connsiteY4" fmla="*/ 0 h 11747"/>
                      <a:gd name="connsiteX5" fmla="*/ 10000 w 10000"/>
                      <a:gd name="connsiteY5" fmla="*/ 774 h 11747"/>
                      <a:gd name="connsiteX6" fmla="*/ 5987 w 10000"/>
                      <a:gd name="connsiteY6" fmla="*/ 5338 h 11747"/>
                      <a:gd name="connsiteX7" fmla="*/ 7498 w 10000"/>
                      <a:gd name="connsiteY7" fmla="*/ 11747 h 11747"/>
                      <a:gd name="connsiteX0" fmla="*/ 3946 w 10000"/>
                      <a:gd name="connsiteY0" fmla="*/ 1000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8739"/>
                      <a:gd name="connsiteX1" fmla="*/ 3946 w 10000"/>
                      <a:gd name="connsiteY1" fmla="*/ 5300 h 8739"/>
                      <a:gd name="connsiteX2" fmla="*/ 0 w 10000"/>
                      <a:gd name="connsiteY2" fmla="*/ 832 h 8739"/>
                      <a:gd name="connsiteX3" fmla="*/ 0 w 10000"/>
                      <a:gd name="connsiteY3" fmla="*/ 0 h 8739"/>
                      <a:gd name="connsiteX4" fmla="*/ 10000 w 10000"/>
                      <a:gd name="connsiteY4" fmla="*/ 0 h 8739"/>
                      <a:gd name="connsiteX5" fmla="*/ 10000 w 10000"/>
                      <a:gd name="connsiteY5" fmla="*/ 774 h 8739"/>
                      <a:gd name="connsiteX6" fmla="*/ 5987 w 10000"/>
                      <a:gd name="connsiteY6" fmla="*/ 5338 h 8739"/>
                      <a:gd name="connsiteX7" fmla="*/ 6004 w 10000"/>
                      <a:gd name="connsiteY7" fmla="*/ 8739 h 8739"/>
                      <a:gd name="connsiteX0" fmla="*/ 3946 w 10000"/>
                      <a:gd name="connsiteY0" fmla="*/ 9978 h 9978"/>
                      <a:gd name="connsiteX1" fmla="*/ 3946 w 10000"/>
                      <a:gd name="connsiteY1" fmla="*/ 6065 h 9978"/>
                      <a:gd name="connsiteX2" fmla="*/ 0 w 10000"/>
                      <a:gd name="connsiteY2" fmla="*/ 952 h 9978"/>
                      <a:gd name="connsiteX3" fmla="*/ 0 w 10000"/>
                      <a:gd name="connsiteY3" fmla="*/ 0 h 9978"/>
                      <a:gd name="connsiteX4" fmla="*/ 10000 w 10000"/>
                      <a:gd name="connsiteY4" fmla="*/ 0 h 9978"/>
                      <a:gd name="connsiteX5" fmla="*/ 10000 w 10000"/>
                      <a:gd name="connsiteY5" fmla="*/ 886 h 9978"/>
                      <a:gd name="connsiteX6" fmla="*/ 5987 w 10000"/>
                      <a:gd name="connsiteY6" fmla="*/ 6108 h 9978"/>
                      <a:gd name="connsiteX7" fmla="*/ 6057 w 10000"/>
                      <a:gd name="connsiteY7" fmla="*/ 9052 h 9978"/>
                      <a:gd name="connsiteX0" fmla="*/ 3946 w 10000"/>
                      <a:gd name="connsiteY0" fmla="*/ 10000 h 10000"/>
                      <a:gd name="connsiteX1" fmla="*/ 3946 w 10000"/>
                      <a:gd name="connsiteY1" fmla="*/ 6078 h 10000"/>
                      <a:gd name="connsiteX2" fmla="*/ 0 w 10000"/>
                      <a:gd name="connsiteY2" fmla="*/ 954 h 10000"/>
                      <a:gd name="connsiteX3" fmla="*/ 0 w 10000"/>
                      <a:gd name="connsiteY3" fmla="*/ 0 h 10000"/>
                      <a:gd name="connsiteX4" fmla="*/ 10000 w 10000"/>
                      <a:gd name="connsiteY4" fmla="*/ 0 h 10000"/>
                      <a:gd name="connsiteX5" fmla="*/ 10000 w 10000"/>
                      <a:gd name="connsiteY5" fmla="*/ 888 h 10000"/>
                      <a:gd name="connsiteX6" fmla="*/ 5987 w 10000"/>
                      <a:gd name="connsiteY6" fmla="*/ 6121 h 10000"/>
                      <a:gd name="connsiteX7" fmla="*/ 6004 w 10000"/>
                      <a:gd name="connsiteY7" fmla="*/ 9072 h 10000"/>
                      <a:gd name="connsiteX0" fmla="*/ 3946 w 10000"/>
                      <a:gd name="connsiteY0" fmla="*/ 8964 h 9072"/>
                      <a:gd name="connsiteX1" fmla="*/ 3946 w 10000"/>
                      <a:gd name="connsiteY1" fmla="*/ 6078 h 9072"/>
                      <a:gd name="connsiteX2" fmla="*/ 0 w 10000"/>
                      <a:gd name="connsiteY2" fmla="*/ 954 h 9072"/>
                      <a:gd name="connsiteX3" fmla="*/ 0 w 10000"/>
                      <a:gd name="connsiteY3" fmla="*/ 0 h 9072"/>
                      <a:gd name="connsiteX4" fmla="*/ 10000 w 10000"/>
                      <a:gd name="connsiteY4" fmla="*/ 0 h 9072"/>
                      <a:gd name="connsiteX5" fmla="*/ 10000 w 10000"/>
                      <a:gd name="connsiteY5" fmla="*/ 888 h 9072"/>
                      <a:gd name="connsiteX6" fmla="*/ 5987 w 10000"/>
                      <a:gd name="connsiteY6" fmla="*/ 6121 h 9072"/>
                      <a:gd name="connsiteX7" fmla="*/ 6004 w 10000"/>
                      <a:gd name="connsiteY7" fmla="*/ 9072 h 9072"/>
                      <a:gd name="connsiteX0" fmla="*/ 3946 w 10000"/>
                      <a:gd name="connsiteY0" fmla="*/ 9881 h 9881"/>
                      <a:gd name="connsiteX1" fmla="*/ 3946 w 10000"/>
                      <a:gd name="connsiteY1" fmla="*/ 6700 h 9881"/>
                      <a:gd name="connsiteX2" fmla="*/ 0 w 10000"/>
                      <a:gd name="connsiteY2" fmla="*/ 1052 h 9881"/>
                      <a:gd name="connsiteX3" fmla="*/ 0 w 10000"/>
                      <a:gd name="connsiteY3" fmla="*/ 0 h 9881"/>
                      <a:gd name="connsiteX4" fmla="*/ 10000 w 10000"/>
                      <a:gd name="connsiteY4" fmla="*/ 0 h 9881"/>
                      <a:gd name="connsiteX5" fmla="*/ 10000 w 10000"/>
                      <a:gd name="connsiteY5" fmla="*/ 979 h 9881"/>
                      <a:gd name="connsiteX6" fmla="*/ 5987 w 10000"/>
                      <a:gd name="connsiteY6" fmla="*/ 6747 h 9881"/>
                      <a:gd name="connsiteX7" fmla="*/ 6004 w 10000"/>
                      <a:gd name="connsiteY7" fmla="*/ 9810 h 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881">
                        <a:moveTo>
                          <a:pt x="3946" y="9881"/>
                        </a:moveTo>
                        <a:lnTo>
                          <a:pt x="3946" y="6700"/>
                        </a:lnTo>
                        <a:lnTo>
                          <a:pt x="0" y="1052"/>
                        </a:lnTo>
                        <a:lnTo>
                          <a:pt x="0" y="0"/>
                        </a:lnTo>
                        <a:lnTo>
                          <a:pt x="10000" y="0"/>
                        </a:lnTo>
                        <a:lnTo>
                          <a:pt x="10000" y="979"/>
                        </a:lnTo>
                        <a:lnTo>
                          <a:pt x="5987" y="6747"/>
                        </a:lnTo>
                        <a:cubicBezTo>
                          <a:pt x="5987" y="8711"/>
                          <a:pt x="6004" y="9810"/>
                          <a:pt x="6004" y="981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5" name="Freeform 31">
                    <a:extLst>
                      <a:ext uri="{FF2B5EF4-FFF2-40B4-BE49-F238E27FC236}">
                        <a16:creationId xmlns:a16="http://schemas.microsoft.com/office/drawing/2014/main" id="{BC54DFBA-E5A6-4165-85DF-CD62F9D68406}"/>
                      </a:ext>
                    </a:extLst>
                  </p:cNvPr>
                  <p:cNvSpPr>
                    <a:spLocks/>
                  </p:cNvSpPr>
                  <p:nvPr/>
                </p:nvSpPr>
                <p:spPr bwMode="auto">
                  <a:xfrm flipV="1">
                    <a:off x="5974127" y="3464151"/>
                    <a:ext cx="238455" cy="91464"/>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6" name="Line 32">
                    <a:extLst>
                      <a:ext uri="{FF2B5EF4-FFF2-40B4-BE49-F238E27FC236}">
                        <a16:creationId xmlns:a16="http://schemas.microsoft.com/office/drawing/2014/main" id="{482399D8-978D-47CE-B05A-7E97B7A25A72}"/>
                      </a:ext>
                    </a:extLst>
                  </p:cNvPr>
                  <p:cNvSpPr>
                    <a:spLocks noChangeShapeType="1"/>
                  </p:cNvSpPr>
                  <p:nvPr/>
                </p:nvSpPr>
                <p:spPr bwMode="auto">
                  <a:xfrm flipV="1">
                    <a:off x="6093354" y="3331796"/>
                    <a:ext cx="0" cy="223818"/>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56" name="speech_5" title="Icon of two overlapping chat bubbles">
                  <a:extLst>
                    <a:ext uri="{FF2B5EF4-FFF2-40B4-BE49-F238E27FC236}">
                      <a16:creationId xmlns:a16="http://schemas.microsoft.com/office/drawing/2014/main" id="{410794C5-2F5D-4854-B858-6504431A0FCC}"/>
                    </a:ext>
                  </a:extLst>
                </p:cNvPr>
                <p:cNvSpPr>
                  <a:spLocks noChangeAspect="1" noEditPoints="1"/>
                </p:cNvSpPr>
                <p:nvPr/>
              </p:nvSpPr>
              <p:spPr bwMode="auto">
                <a:xfrm rot="20292417">
                  <a:off x="5538240" y="2923818"/>
                  <a:ext cx="202664" cy="158461"/>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cxnSp>
            <p:nvCxnSpPr>
              <p:cNvPr id="253" name="Straight Connector 252">
                <a:extLst>
                  <a:ext uri="{FF2B5EF4-FFF2-40B4-BE49-F238E27FC236}">
                    <a16:creationId xmlns:a16="http://schemas.microsoft.com/office/drawing/2014/main" id="{40CB1905-8191-4A3E-8BCC-6D3A6EF19939}"/>
                  </a:ext>
                </a:extLst>
              </p:cNvPr>
              <p:cNvCxnSpPr>
                <a:cxnSpLocks/>
              </p:cNvCxnSpPr>
              <p:nvPr/>
            </p:nvCxnSpPr>
            <p:spPr>
              <a:xfrm>
                <a:off x="4477325" y="907497"/>
                <a:ext cx="325691" cy="25718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F4A1A67E-73BF-47D8-B039-B977C7A23A35}"/>
                  </a:ext>
                </a:extLst>
              </p:cNvPr>
              <p:cNvCxnSpPr>
                <a:cxnSpLocks/>
              </p:cNvCxnSpPr>
              <p:nvPr/>
            </p:nvCxnSpPr>
            <p:spPr>
              <a:xfrm flipH="1">
                <a:off x="5629550" y="907497"/>
                <a:ext cx="325691" cy="25718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1" name="Group 190">
              <a:extLst>
                <a:ext uri="{FF2B5EF4-FFF2-40B4-BE49-F238E27FC236}">
                  <a16:creationId xmlns:a16="http://schemas.microsoft.com/office/drawing/2014/main" id="{0104794A-6BD1-4F44-8DF8-0C4AA6B942F4}"/>
                </a:ext>
              </a:extLst>
            </p:cNvPr>
            <p:cNvGrpSpPr/>
            <p:nvPr/>
          </p:nvGrpSpPr>
          <p:grpSpPr>
            <a:xfrm>
              <a:off x="7620788" y="1602776"/>
              <a:ext cx="347398" cy="278028"/>
              <a:chOff x="3634044" y="-1033758"/>
              <a:chExt cx="457020" cy="365760"/>
            </a:xfrm>
          </p:grpSpPr>
          <p:sp>
            <p:nvSpPr>
              <p:cNvPr id="250" name="Browser" title="Icon of a browser window">
                <a:extLst>
                  <a:ext uri="{FF2B5EF4-FFF2-40B4-BE49-F238E27FC236}">
                    <a16:creationId xmlns:a16="http://schemas.microsoft.com/office/drawing/2014/main" id="{44A7666D-67E4-461F-99D6-FD53F97D4055}"/>
                  </a:ext>
                </a:extLst>
              </p:cNvPr>
              <p:cNvSpPr>
                <a:spLocks noChangeAspect="1" noEditPoints="1"/>
              </p:cNvSpPr>
              <p:nvPr/>
            </p:nvSpPr>
            <p:spPr bwMode="auto">
              <a:xfrm>
                <a:off x="3634044" y="-1033758"/>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1" name="Market_EAFC" title="Icon of a line graph with an arrow at the end pointing up">
                <a:extLst>
                  <a:ext uri="{FF2B5EF4-FFF2-40B4-BE49-F238E27FC236}">
                    <a16:creationId xmlns:a16="http://schemas.microsoft.com/office/drawing/2014/main" id="{5D2765F4-0A85-47BF-A28F-DDB4A526C12B}"/>
                  </a:ext>
                </a:extLst>
              </p:cNvPr>
              <p:cNvSpPr>
                <a:spLocks noChangeAspect="1" noEditPoints="1"/>
              </p:cNvSpPr>
              <p:nvPr/>
            </p:nvSpPr>
            <p:spPr bwMode="auto">
              <a:xfrm>
                <a:off x="3722031" y="-886770"/>
                <a:ext cx="281046" cy="170435"/>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94" name="Freeform: Shape 193">
              <a:extLst>
                <a:ext uri="{FF2B5EF4-FFF2-40B4-BE49-F238E27FC236}">
                  <a16:creationId xmlns:a16="http://schemas.microsoft.com/office/drawing/2014/main" id="{4EFBAC7E-14C2-4095-A278-1FBAB71C050E}"/>
                </a:ext>
              </a:extLst>
            </p:cNvPr>
            <p:cNvSpPr/>
            <p:nvPr/>
          </p:nvSpPr>
          <p:spPr bwMode="auto">
            <a:xfrm>
              <a:off x="6520302" y="1003443"/>
              <a:ext cx="523646" cy="448237"/>
            </a:xfrm>
            <a:custGeom>
              <a:avLst/>
              <a:gdLst>
                <a:gd name="connsiteX0" fmla="*/ 0 w 458620"/>
                <a:gd name="connsiteY0" fmla="*/ 4713 h 337816"/>
                <a:gd name="connsiteX1" fmla="*/ 179615 w 458620"/>
                <a:gd name="connsiteY1" fmla="*/ 4713 h 337816"/>
                <a:gd name="connsiteX2" fmla="*/ 355963 w 458620"/>
                <a:gd name="connsiteY2" fmla="*/ 53699 h 337816"/>
                <a:gd name="connsiteX3" fmla="*/ 457200 w 458620"/>
                <a:gd name="connsiteY3" fmla="*/ 145139 h 337816"/>
                <a:gd name="connsiteX4" fmla="*/ 418012 w 458620"/>
                <a:gd name="connsiteY4" fmla="*/ 167999 h 337816"/>
                <a:gd name="connsiteX5" fmla="*/ 173083 w 458620"/>
                <a:gd name="connsiteY5" fmla="*/ 324753 h 337816"/>
                <a:gd name="connsiteX6" fmla="*/ 130629 w 458620"/>
                <a:gd name="connsiteY6" fmla="*/ 321487 h 337816"/>
                <a:gd name="connsiteX7" fmla="*/ 6532 w 458620"/>
                <a:gd name="connsiteY7" fmla="*/ 337816 h 337816"/>
                <a:gd name="connsiteX0" fmla="*/ 0 w 458620"/>
                <a:gd name="connsiteY0" fmla="*/ 2645 h 335748"/>
                <a:gd name="connsiteX1" fmla="*/ 179615 w 458620"/>
                <a:gd name="connsiteY1" fmla="*/ 2645 h 335748"/>
                <a:gd name="connsiteX2" fmla="*/ 355963 w 458620"/>
                <a:gd name="connsiteY2" fmla="*/ 51631 h 335748"/>
                <a:gd name="connsiteX3" fmla="*/ 457200 w 458620"/>
                <a:gd name="connsiteY3" fmla="*/ 143071 h 335748"/>
                <a:gd name="connsiteX4" fmla="*/ 418012 w 458620"/>
                <a:gd name="connsiteY4" fmla="*/ 165931 h 335748"/>
                <a:gd name="connsiteX5" fmla="*/ 173083 w 458620"/>
                <a:gd name="connsiteY5" fmla="*/ 322685 h 335748"/>
                <a:gd name="connsiteX6" fmla="*/ 130629 w 458620"/>
                <a:gd name="connsiteY6" fmla="*/ 319419 h 335748"/>
                <a:gd name="connsiteX7" fmla="*/ 6532 w 458620"/>
                <a:gd name="connsiteY7" fmla="*/ 335748 h 335748"/>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342 h 333445"/>
                <a:gd name="connsiteX1" fmla="*/ 231866 w 458620"/>
                <a:gd name="connsiteY1" fmla="*/ 4493 h 333445"/>
                <a:gd name="connsiteX2" fmla="*/ 355963 w 458620"/>
                <a:gd name="connsiteY2" fmla="*/ 49328 h 333445"/>
                <a:gd name="connsiteX3" fmla="*/ 457200 w 458620"/>
                <a:gd name="connsiteY3" fmla="*/ 140768 h 333445"/>
                <a:gd name="connsiteX4" fmla="*/ 418012 w 458620"/>
                <a:gd name="connsiteY4" fmla="*/ 163628 h 333445"/>
                <a:gd name="connsiteX5" fmla="*/ 173083 w 458620"/>
                <a:gd name="connsiteY5" fmla="*/ 320382 h 333445"/>
                <a:gd name="connsiteX6" fmla="*/ 130629 w 458620"/>
                <a:gd name="connsiteY6" fmla="*/ 317116 h 333445"/>
                <a:gd name="connsiteX7" fmla="*/ 6532 w 458620"/>
                <a:gd name="connsiteY7" fmla="*/ 333445 h 333445"/>
                <a:gd name="connsiteX0" fmla="*/ 0 w 458620"/>
                <a:gd name="connsiteY0" fmla="*/ 0 h 333103"/>
                <a:gd name="connsiteX1" fmla="*/ 231866 w 458620"/>
                <a:gd name="connsiteY1" fmla="*/ 4151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2849 h 331190"/>
                <a:gd name="connsiteX1" fmla="*/ 231866 w 458620"/>
                <a:gd name="connsiteY1" fmla="*/ 2238 h 331190"/>
                <a:gd name="connsiteX2" fmla="*/ 355963 w 458620"/>
                <a:gd name="connsiteY2" fmla="*/ 47073 h 331190"/>
                <a:gd name="connsiteX3" fmla="*/ 457200 w 458620"/>
                <a:gd name="connsiteY3" fmla="*/ 138513 h 331190"/>
                <a:gd name="connsiteX4" fmla="*/ 418012 w 458620"/>
                <a:gd name="connsiteY4" fmla="*/ 161373 h 331190"/>
                <a:gd name="connsiteX5" fmla="*/ 173083 w 458620"/>
                <a:gd name="connsiteY5" fmla="*/ 318127 h 331190"/>
                <a:gd name="connsiteX6" fmla="*/ 130629 w 458620"/>
                <a:gd name="connsiteY6" fmla="*/ 314861 h 331190"/>
                <a:gd name="connsiteX7" fmla="*/ 6532 w 458620"/>
                <a:gd name="connsiteY7" fmla="*/ 331190 h 331190"/>
                <a:gd name="connsiteX0" fmla="*/ 0 w 458620"/>
                <a:gd name="connsiteY0" fmla="*/ 0 h 335484"/>
                <a:gd name="connsiteX1" fmla="*/ 231866 w 458620"/>
                <a:gd name="connsiteY1" fmla="*/ 6532 h 335484"/>
                <a:gd name="connsiteX2" fmla="*/ 355963 w 458620"/>
                <a:gd name="connsiteY2" fmla="*/ 51367 h 335484"/>
                <a:gd name="connsiteX3" fmla="*/ 457200 w 458620"/>
                <a:gd name="connsiteY3" fmla="*/ 142807 h 335484"/>
                <a:gd name="connsiteX4" fmla="*/ 418012 w 458620"/>
                <a:gd name="connsiteY4" fmla="*/ 165667 h 335484"/>
                <a:gd name="connsiteX5" fmla="*/ 173083 w 458620"/>
                <a:gd name="connsiteY5" fmla="*/ 322421 h 335484"/>
                <a:gd name="connsiteX6" fmla="*/ 130629 w 458620"/>
                <a:gd name="connsiteY6" fmla="*/ 319155 h 335484"/>
                <a:gd name="connsiteX7" fmla="*/ 6532 w 458620"/>
                <a:gd name="connsiteY7" fmla="*/ 335484 h 335484"/>
                <a:gd name="connsiteX0" fmla="*/ 0 w 458620"/>
                <a:gd name="connsiteY0" fmla="*/ 988 h 331710"/>
                <a:gd name="connsiteX1" fmla="*/ 231866 w 458620"/>
                <a:gd name="connsiteY1" fmla="*/ 2758 h 331710"/>
                <a:gd name="connsiteX2" fmla="*/ 355963 w 458620"/>
                <a:gd name="connsiteY2" fmla="*/ 47593 h 331710"/>
                <a:gd name="connsiteX3" fmla="*/ 457200 w 458620"/>
                <a:gd name="connsiteY3" fmla="*/ 139033 h 331710"/>
                <a:gd name="connsiteX4" fmla="*/ 418012 w 458620"/>
                <a:gd name="connsiteY4" fmla="*/ 161893 h 331710"/>
                <a:gd name="connsiteX5" fmla="*/ 173083 w 458620"/>
                <a:gd name="connsiteY5" fmla="*/ 318647 h 331710"/>
                <a:gd name="connsiteX6" fmla="*/ 130629 w 458620"/>
                <a:gd name="connsiteY6" fmla="*/ 315381 h 331710"/>
                <a:gd name="connsiteX7" fmla="*/ 6532 w 458620"/>
                <a:gd name="connsiteY7" fmla="*/ 331710 h 331710"/>
                <a:gd name="connsiteX0" fmla="*/ 0 w 458620"/>
                <a:gd name="connsiteY0" fmla="*/ 1953 h 332675"/>
                <a:gd name="connsiteX1" fmla="*/ 231866 w 458620"/>
                <a:gd name="connsiteY1" fmla="*/ 3723 h 332675"/>
                <a:gd name="connsiteX2" fmla="*/ 355963 w 458620"/>
                <a:gd name="connsiteY2" fmla="*/ 48558 h 332675"/>
                <a:gd name="connsiteX3" fmla="*/ 457200 w 458620"/>
                <a:gd name="connsiteY3" fmla="*/ 139998 h 332675"/>
                <a:gd name="connsiteX4" fmla="*/ 418012 w 458620"/>
                <a:gd name="connsiteY4" fmla="*/ 162858 h 332675"/>
                <a:gd name="connsiteX5" fmla="*/ 173083 w 458620"/>
                <a:gd name="connsiteY5" fmla="*/ 319612 h 332675"/>
                <a:gd name="connsiteX6" fmla="*/ 130629 w 458620"/>
                <a:gd name="connsiteY6" fmla="*/ 316346 h 332675"/>
                <a:gd name="connsiteX7" fmla="*/ 6532 w 458620"/>
                <a:gd name="connsiteY7" fmla="*/ 332675 h 332675"/>
                <a:gd name="connsiteX0" fmla="*/ 0 w 458620"/>
                <a:gd name="connsiteY0" fmla="*/ 0 h 333103"/>
                <a:gd name="connsiteX1" fmla="*/ 231866 w 458620"/>
                <a:gd name="connsiteY1" fmla="*/ 4151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3778 h 332119"/>
                <a:gd name="connsiteX1" fmla="*/ 231866 w 458620"/>
                <a:gd name="connsiteY1" fmla="*/ 3167 h 332119"/>
                <a:gd name="connsiteX2" fmla="*/ 355963 w 458620"/>
                <a:gd name="connsiteY2" fmla="*/ 48002 h 332119"/>
                <a:gd name="connsiteX3" fmla="*/ 457200 w 458620"/>
                <a:gd name="connsiteY3" fmla="*/ 139442 h 332119"/>
                <a:gd name="connsiteX4" fmla="*/ 418012 w 458620"/>
                <a:gd name="connsiteY4" fmla="*/ 162302 h 332119"/>
                <a:gd name="connsiteX5" fmla="*/ 173083 w 458620"/>
                <a:gd name="connsiteY5" fmla="*/ 319056 h 332119"/>
                <a:gd name="connsiteX6" fmla="*/ 130629 w 458620"/>
                <a:gd name="connsiteY6" fmla="*/ 315790 h 332119"/>
                <a:gd name="connsiteX7" fmla="*/ 6532 w 458620"/>
                <a:gd name="connsiteY7" fmla="*/ 332119 h 332119"/>
                <a:gd name="connsiteX0" fmla="*/ 0 w 458620"/>
                <a:gd name="connsiteY0" fmla="*/ 3778 h 332119"/>
                <a:gd name="connsiteX1" fmla="*/ 231866 w 458620"/>
                <a:gd name="connsiteY1" fmla="*/ 3167 h 332119"/>
                <a:gd name="connsiteX2" fmla="*/ 355963 w 458620"/>
                <a:gd name="connsiteY2" fmla="*/ 48002 h 332119"/>
                <a:gd name="connsiteX3" fmla="*/ 457200 w 458620"/>
                <a:gd name="connsiteY3" fmla="*/ 139442 h 332119"/>
                <a:gd name="connsiteX4" fmla="*/ 418012 w 458620"/>
                <a:gd name="connsiteY4" fmla="*/ 162302 h 332119"/>
                <a:gd name="connsiteX5" fmla="*/ 173083 w 458620"/>
                <a:gd name="connsiteY5" fmla="*/ 319056 h 332119"/>
                <a:gd name="connsiteX6" fmla="*/ 130629 w 458620"/>
                <a:gd name="connsiteY6" fmla="*/ 315790 h 332119"/>
                <a:gd name="connsiteX7" fmla="*/ 6532 w 458620"/>
                <a:gd name="connsiteY7" fmla="*/ 332119 h 332119"/>
                <a:gd name="connsiteX0" fmla="*/ 0 w 463175"/>
                <a:gd name="connsiteY0" fmla="*/ 3778 h 332119"/>
                <a:gd name="connsiteX1" fmla="*/ 231866 w 463175"/>
                <a:gd name="connsiteY1" fmla="*/ 3167 h 332119"/>
                <a:gd name="connsiteX2" fmla="*/ 355963 w 463175"/>
                <a:gd name="connsiteY2" fmla="*/ 48002 h 332119"/>
                <a:gd name="connsiteX3" fmla="*/ 457200 w 463175"/>
                <a:gd name="connsiteY3" fmla="*/ 139442 h 332119"/>
                <a:gd name="connsiteX4" fmla="*/ 173083 w 463175"/>
                <a:gd name="connsiteY4" fmla="*/ 319056 h 332119"/>
                <a:gd name="connsiteX5" fmla="*/ 130629 w 463175"/>
                <a:gd name="connsiteY5" fmla="*/ 315790 h 332119"/>
                <a:gd name="connsiteX6" fmla="*/ 6532 w 463175"/>
                <a:gd name="connsiteY6" fmla="*/ 332119 h 332119"/>
                <a:gd name="connsiteX0" fmla="*/ 0 w 457200"/>
                <a:gd name="connsiteY0" fmla="*/ 3778 h 332119"/>
                <a:gd name="connsiteX1" fmla="*/ 231866 w 457200"/>
                <a:gd name="connsiteY1" fmla="*/ 3167 h 332119"/>
                <a:gd name="connsiteX2" fmla="*/ 355963 w 457200"/>
                <a:gd name="connsiteY2" fmla="*/ 48002 h 332119"/>
                <a:gd name="connsiteX3" fmla="*/ 457200 w 457200"/>
                <a:gd name="connsiteY3" fmla="*/ 139442 h 332119"/>
                <a:gd name="connsiteX4" fmla="*/ 173083 w 457200"/>
                <a:gd name="connsiteY4" fmla="*/ 319056 h 332119"/>
                <a:gd name="connsiteX5" fmla="*/ 130629 w 457200"/>
                <a:gd name="connsiteY5" fmla="*/ 315790 h 332119"/>
                <a:gd name="connsiteX6" fmla="*/ 6532 w 457200"/>
                <a:gd name="connsiteY6" fmla="*/ 332119 h 332119"/>
                <a:gd name="connsiteX0" fmla="*/ 0 w 457200"/>
                <a:gd name="connsiteY0" fmla="*/ 3954 h 332295"/>
                <a:gd name="connsiteX1" fmla="*/ 231866 w 457200"/>
                <a:gd name="connsiteY1" fmla="*/ 3343 h 332295"/>
                <a:gd name="connsiteX2" fmla="*/ 375013 w 457200"/>
                <a:gd name="connsiteY2" fmla="*/ 50560 h 332295"/>
                <a:gd name="connsiteX3" fmla="*/ 457200 w 457200"/>
                <a:gd name="connsiteY3" fmla="*/ 139618 h 332295"/>
                <a:gd name="connsiteX4" fmla="*/ 173083 w 457200"/>
                <a:gd name="connsiteY4" fmla="*/ 319232 h 332295"/>
                <a:gd name="connsiteX5" fmla="*/ 130629 w 457200"/>
                <a:gd name="connsiteY5" fmla="*/ 315966 h 332295"/>
                <a:gd name="connsiteX6" fmla="*/ 6532 w 457200"/>
                <a:gd name="connsiteY6" fmla="*/ 332295 h 332295"/>
                <a:gd name="connsiteX0" fmla="*/ 0 w 457200"/>
                <a:gd name="connsiteY0" fmla="*/ 3954 h 332295"/>
                <a:gd name="connsiteX1" fmla="*/ 231866 w 457200"/>
                <a:gd name="connsiteY1" fmla="*/ 3343 h 332295"/>
                <a:gd name="connsiteX2" fmla="*/ 375013 w 457200"/>
                <a:gd name="connsiteY2" fmla="*/ 50560 h 332295"/>
                <a:gd name="connsiteX3" fmla="*/ 457200 w 457200"/>
                <a:gd name="connsiteY3" fmla="*/ 139618 h 332295"/>
                <a:gd name="connsiteX4" fmla="*/ 173083 w 457200"/>
                <a:gd name="connsiteY4" fmla="*/ 319232 h 332295"/>
                <a:gd name="connsiteX5" fmla="*/ 130629 w 457200"/>
                <a:gd name="connsiteY5" fmla="*/ 315966 h 332295"/>
                <a:gd name="connsiteX6" fmla="*/ 6532 w 457200"/>
                <a:gd name="connsiteY6" fmla="*/ 332295 h 332295"/>
                <a:gd name="connsiteX0" fmla="*/ 0 w 457200"/>
                <a:gd name="connsiteY0" fmla="*/ 3954 h 331226"/>
                <a:gd name="connsiteX1" fmla="*/ 231866 w 457200"/>
                <a:gd name="connsiteY1" fmla="*/ 3343 h 331226"/>
                <a:gd name="connsiteX2" fmla="*/ 375013 w 457200"/>
                <a:gd name="connsiteY2" fmla="*/ 50560 h 331226"/>
                <a:gd name="connsiteX3" fmla="*/ 457200 w 457200"/>
                <a:gd name="connsiteY3" fmla="*/ 139618 h 331226"/>
                <a:gd name="connsiteX4" fmla="*/ 173083 w 457200"/>
                <a:gd name="connsiteY4" fmla="*/ 319232 h 331226"/>
                <a:gd name="connsiteX5" fmla="*/ 130629 w 457200"/>
                <a:gd name="connsiteY5" fmla="*/ 315966 h 331226"/>
                <a:gd name="connsiteX6" fmla="*/ 8913 w 457200"/>
                <a:gd name="connsiteY6" fmla="*/ 279908 h 331226"/>
                <a:gd name="connsiteX0" fmla="*/ 0 w 457200"/>
                <a:gd name="connsiteY0" fmla="*/ 3954 h 325278"/>
                <a:gd name="connsiteX1" fmla="*/ 231866 w 457200"/>
                <a:gd name="connsiteY1" fmla="*/ 3343 h 325278"/>
                <a:gd name="connsiteX2" fmla="*/ 375013 w 457200"/>
                <a:gd name="connsiteY2" fmla="*/ 50560 h 325278"/>
                <a:gd name="connsiteX3" fmla="*/ 457200 w 457200"/>
                <a:gd name="connsiteY3" fmla="*/ 139618 h 325278"/>
                <a:gd name="connsiteX4" fmla="*/ 173083 w 457200"/>
                <a:gd name="connsiteY4" fmla="*/ 319232 h 325278"/>
                <a:gd name="connsiteX5" fmla="*/ 142535 w 457200"/>
                <a:gd name="connsiteY5" fmla="*/ 282629 h 325278"/>
                <a:gd name="connsiteX6" fmla="*/ 8913 w 457200"/>
                <a:gd name="connsiteY6" fmla="*/ 279908 h 325278"/>
                <a:gd name="connsiteX0" fmla="*/ 0 w 457200"/>
                <a:gd name="connsiteY0" fmla="*/ 3954 h 325278"/>
                <a:gd name="connsiteX1" fmla="*/ 231866 w 457200"/>
                <a:gd name="connsiteY1" fmla="*/ 3343 h 325278"/>
                <a:gd name="connsiteX2" fmla="*/ 375013 w 457200"/>
                <a:gd name="connsiteY2" fmla="*/ 50560 h 325278"/>
                <a:gd name="connsiteX3" fmla="*/ 457200 w 457200"/>
                <a:gd name="connsiteY3" fmla="*/ 139618 h 325278"/>
                <a:gd name="connsiteX4" fmla="*/ 173083 w 457200"/>
                <a:gd name="connsiteY4" fmla="*/ 319232 h 325278"/>
                <a:gd name="connsiteX5" fmla="*/ 142535 w 457200"/>
                <a:gd name="connsiteY5" fmla="*/ 282629 h 325278"/>
                <a:gd name="connsiteX6" fmla="*/ 8913 w 457200"/>
                <a:gd name="connsiteY6" fmla="*/ 279908 h 32527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84670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2289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228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35806"/>
                <a:gd name="connsiteX1" fmla="*/ 231866 w 457200"/>
                <a:gd name="connsiteY1" fmla="*/ 3343 h 335806"/>
                <a:gd name="connsiteX2" fmla="*/ 375013 w 457200"/>
                <a:gd name="connsiteY2" fmla="*/ 50560 h 335806"/>
                <a:gd name="connsiteX3" fmla="*/ 457200 w 457200"/>
                <a:gd name="connsiteY3" fmla="*/ 139618 h 335806"/>
                <a:gd name="connsiteX4" fmla="*/ 161176 w 457200"/>
                <a:gd name="connsiteY4" fmla="*/ 328757 h 335806"/>
                <a:gd name="connsiteX5" fmla="*/ 142535 w 457200"/>
                <a:gd name="connsiteY5" fmla="*/ 282629 h 335806"/>
                <a:gd name="connsiteX6" fmla="*/ 1769 w 457200"/>
                <a:gd name="connsiteY6" fmla="*/ 287051 h 335806"/>
                <a:gd name="connsiteX0" fmla="*/ 0 w 457200"/>
                <a:gd name="connsiteY0" fmla="*/ 3954 h 328757"/>
                <a:gd name="connsiteX1" fmla="*/ 231866 w 457200"/>
                <a:gd name="connsiteY1" fmla="*/ 3343 h 328757"/>
                <a:gd name="connsiteX2" fmla="*/ 375013 w 457200"/>
                <a:gd name="connsiteY2" fmla="*/ 50560 h 328757"/>
                <a:gd name="connsiteX3" fmla="*/ 457200 w 457200"/>
                <a:gd name="connsiteY3" fmla="*/ 139618 h 328757"/>
                <a:gd name="connsiteX4" fmla="*/ 161176 w 457200"/>
                <a:gd name="connsiteY4" fmla="*/ 328757 h 328757"/>
                <a:gd name="connsiteX5" fmla="*/ 142535 w 457200"/>
                <a:gd name="connsiteY5" fmla="*/ 282629 h 328757"/>
                <a:gd name="connsiteX6" fmla="*/ 1769 w 457200"/>
                <a:gd name="connsiteY6" fmla="*/ 287051 h 328757"/>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2535 w 457200"/>
                <a:gd name="connsiteY5" fmla="*/ 282629 h 335901"/>
                <a:gd name="connsiteX6" fmla="*/ 1769 w 457200"/>
                <a:gd name="connsiteY6" fmla="*/ 287051 h 335901"/>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9679 w 457200"/>
                <a:gd name="connsiteY5" fmla="*/ 285010 h 335901"/>
                <a:gd name="connsiteX6" fmla="*/ 1769 w 457200"/>
                <a:gd name="connsiteY6" fmla="*/ 287051 h 335901"/>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9679 w 457200"/>
                <a:gd name="connsiteY5" fmla="*/ 285010 h 335901"/>
                <a:gd name="connsiteX6" fmla="*/ 1769 w 457200"/>
                <a:gd name="connsiteY6" fmla="*/ 287051 h 335901"/>
                <a:gd name="connsiteX0" fmla="*/ 0 w 457200"/>
                <a:gd name="connsiteY0" fmla="*/ 2439 h 336767"/>
                <a:gd name="connsiteX1" fmla="*/ 231866 w 457200"/>
                <a:gd name="connsiteY1" fmla="*/ 4209 h 336767"/>
                <a:gd name="connsiteX2" fmla="*/ 375013 w 457200"/>
                <a:gd name="connsiteY2" fmla="*/ 51426 h 336767"/>
                <a:gd name="connsiteX3" fmla="*/ 457200 w 457200"/>
                <a:gd name="connsiteY3" fmla="*/ 140484 h 336767"/>
                <a:gd name="connsiteX4" fmla="*/ 151651 w 457200"/>
                <a:gd name="connsiteY4" fmla="*/ 336767 h 336767"/>
                <a:gd name="connsiteX5" fmla="*/ 149679 w 457200"/>
                <a:gd name="connsiteY5" fmla="*/ 285876 h 336767"/>
                <a:gd name="connsiteX6" fmla="*/ 1769 w 457200"/>
                <a:gd name="connsiteY6" fmla="*/ 287917 h 336767"/>
                <a:gd name="connsiteX0" fmla="*/ 0 w 457200"/>
                <a:gd name="connsiteY0" fmla="*/ 2439 h 336767"/>
                <a:gd name="connsiteX1" fmla="*/ 231866 w 457200"/>
                <a:gd name="connsiteY1" fmla="*/ 4209 h 336767"/>
                <a:gd name="connsiteX2" fmla="*/ 375013 w 457200"/>
                <a:gd name="connsiteY2" fmla="*/ 51426 h 336767"/>
                <a:gd name="connsiteX3" fmla="*/ 457200 w 457200"/>
                <a:gd name="connsiteY3" fmla="*/ 140484 h 336767"/>
                <a:gd name="connsiteX4" fmla="*/ 151651 w 457200"/>
                <a:gd name="connsiteY4" fmla="*/ 336767 h 336767"/>
                <a:gd name="connsiteX5" fmla="*/ 149679 w 457200"/>
                <a:gd name="connsiteY5" fmla="*/ 285876 h 336767"/>
                <a:gd name="connsiteX6" fmla="*/ 1769 w 457200"/>
                <a:gd name="connsiteY6" fmla="*/ 287917 h 33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336767">
                  <a:moveTo>
                    <a:pt x="0" y="2439"/>
                  </a:moveTo>
                  <a:cubicBezTo>
                    <a:pt x="77289" y="2235"/>
                    <a:pt x="169364" y="-3955"/>
                    <a:pt x="231866" y="4209"/>
                  </a:cubicBezTo>
                  <a:cubicBezTo>
                    <a:pt x="294368" y="12373"/>
                    <a:pt x="337457" y="28713"/>
                    <a:pt x="375013" y="51426"/>
                  </a:cubicBezTo>
                  <a:cubicBezTo>
                    <a:pt x="412569" y="74139"/>
                    <a:pt x="435293" y="97690"/>
                    <a:pt x="457200" y="140484"/>
                  </a:cubicBezTo>
                  <a:cubicBezTo>
                    <a:pt x="393382" y="185660"/>
                    <a:pt x="211239" y="301025"/>
                    <a:pt x="151651" y="336767"/>
                  </a:cubicBezTo>
                  <a:cubicBezTo>
                    <a:pt x="151595" y="315359"/>
                    <a:pt x="150847" y="313861"/>
                    <a:pt x="149679" y="285876"/>
                  </a:cubicBezTo>
                  <a:lnTo>
                    <a:pt x="1769" y="28791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01" name="Group 200">
              <a:extLst>
                <a:ext uri="{FF2B5EF4-FFF2-40B4-BE49-F238E27FC236}">
                  <a16:creationId xmlns:a16="http://schemas.microsoft.com/office/drawing/2014/main" id="{2416AD7B-5724-4E81-A5A0-2A88C5FBDB1C}"/>
                </a:ext>
              </a:extLst>
            </p:cNvPr>
            <p:cNvGrpSpPr/>
            <p:nvPr/>
          </p:nvGrpSpPr>
          <p:grpSpPr>
            <a:xfrm>
              <a:off x="6646548" y="1885446"/>
              <a:ext cx="1412224" cy="176953"/>
              <a:chOff x="2818105" y="189112"/>
              <a:chExt cx="876879" cy="109874"/>
            </a:xfrm>
          </p:grpSpPr>
          <p:sp>
            <p:nvSpPr>
              <p:cNvPr id="235" name="Freeform 46">
                <a:extLst>
                  <a:ext uri="{FF2B5EF4-FFF2-40B4-BE49-F238E27FC236}">
                    <a16:creationId xmlns:a16="http://schemas.microsoft.com/office/drawing/2014/main" id="{2CC807C0-57A2-4CA7-8E1F-799752B341AE}"/>
                  </a:ext>
                </a:extLst>
              </p:cNvPr>
              <p:cNvSpPr>
                <a:spLocks/>
              </p:cNvSpPr>
              <p:nvPr/>
            </p:nvSpPr>
            <p:spPr bwMode="auto">
              <a:xfrm>
                <a:off x="2818105" y="189112"/>
                <a:ext cx="876879" cy="109874"/>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Oval 59">
                <a:extLst>
                  <a:ext uri="{FF2B5EF4-FFF2-40B4-BE49-F238E27FC236}">
                    <a16:creationId xmlns:a16="http://schemas.microsoft.com/office/drawing/2014/main" id="{CEE79ADF-7CFE-4452-8764-5B64FB73E4BE}"/>
                  </a:ext>
                </a:extLst>
              </p:cNvPr>
              <p:cNvSpPr>
                <a:spLocks noChangeArrowheads="1"/>
              </p:cNvSpPr>
              <p:nvPr/>
            </p:nvSpPr>
            <p:spPr bwMode="auto">
              <a:xfrm>
                <a:off x="3582996"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9" name="Oval 60">
                <a:extLst>
                  <a:ext uri="{FF2B5EF4-FFF2-40B4-BE49-F238E27FC236}">
                    <a16:creationId xmlns:a16="http://schemas.microsoft.com/office/drawing/2014/main" id="{BE01BE7A-E2EF-4972-B3B6-36762E3BB484}"/>
                  </a:ext>
                </a:extLst>
              </p:cNvPr>
              <p:cNvSpPr>
                <a:spLocks noChangeArrowheads="1"/>
              </p:cNvSpPr>
              <p:nvPr/>
            </p:nvSpPr>
            <p:spPr bwMode="auto">
              <a:xfrm>
                <a:off x="3511156" y="222919"/>
                <a:ext cx="46485"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1" name="Oval 61">
                <a:extLst>
                  <a:ext uri="{FF2B5EF4-FFF2-40B4-BE49-F238E27FC236}">
                    <a16:creationId xmlns:a16="http://schemas.microsoft.com/office/drawing/2014/main" id="{BC867C1B-BA4E-4183-8D36-A239DA681B6D}"/>
                  </a:ext>
                </a:extLst>
              </p:cNvPr>
              <p:cNvSpPr>
                <a:spLocks noChangeArrowheads="1"/>
              </p:cNvSpPr>
              <p:nvPr/>
            </p:nvSpPr>
            <p:spPr bwMode="auto">
              <a:xfrm>
                <a:off x="3443541"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2" name="Oval 62">
                <a:extLst>
                  <a:ext uri="{FF2B5EF4-FFF2-40B4-BE49-F238E27FC236}">
                    <a16:creationId xmlns:a16="http://schemas.microsoft.com/office/drawing/2014/main" id="{84629EB6-CE4C-4589-9B71-19547C809BA8}"/>
                  </a:ext>
                </a:extLst>
              </p:cNvPr>
              <p:cNvSpPr>
                <a:spLocks noChangeArrowheads="1"/>
              </p:cNvSpPr>
              <p:nvPr/>
            </p:nvSpPr>
            <p:spPr bwMode="auto">
              <a:xfrm>
                <a:off x="3373813"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3" name="Oval 63">
                <a:extLst>
                  <a:ext uri="{FF2B5EF4-FFF2-40B4-BE49-F238E27FC236}">
                    <a16:creationId xmlns:a16="http://schemas.microsoft.com/office/drawing/2014/main" id="{3013D57E-9E6C-4B47-AEC5-BAF80FA821E2}"/>
                  </a:ext>
                </a:extLst>
              </p:cNvPr>
              <p:cNvSpPr>
                <a:spLocks noChangeArrowheads="1"/>
              </p:cNvSpPr>
              <p:nvPr/>
            </p:nvSpPr>
            <p:spPr bwMode="auto">
              <a:xfrm>
                <a:off x="3301972" y="222919"/>
                <a:ext cx="46485"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4" name="Oval 64">
                <a:extLst>
                  <a:ext uri="{FF2B5EF4-FFF2-40B4-BE49-F238E27FC236}">
                    <a16:creationId xmlns:a16="http://schemas.microsoft.com/office/drawing/2014/main" id="{0F4461C4-CAAF-44ED-8878-08862A5122B3}"/>
                  </a:ext>
                </a:extLst>
              </p:cNvPr>
              <p:cNvSpPr>
                <a:spLocks noChangeArrowheads="1"/>
              </p:cNvSpPr>
              <p:nvPr/>
            </p:nvSpPr>
            <p:spPr bwMode="auto">
              <a:xfrm>
                <a:off x="3234357"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5" name="Oval 65">
                <a:extLst>
                  <a:ext uri="{FF2B5EF4-FFF2-40B4-BE49-F238E27FC236}">
                    <a16:creationId xmlns:a16="http://schemas.microsoft.com/office/drawing/2014/main" id="{595DE1A5-8DE2-4747-84AF-03CA1EA0A307}"/>
                  </a:ext>
                </a:extLst>
              </p:cNvPr>
              <p:cNvSpPr>
                <a:spLocks noChangeArrowheads="1"/>
              </p:cNvSpPr>
              <p:nvPr/>
            </p:nvSpPr>
            <p:spPr bwMode="auto">
              <a:xfrm>
                <a:off x="3164630"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6" name="Oval 66">
                <a:extLst>
                  <a:ext uri="{FF2B5EF4-FFF2-40B4-BE49-F238E27FC236}">
                    <a16:creationId xmlns:a16="http://schemas.microsoft.com/office/drawing/2014/main" id="{BF2D86C8-FC3A-42B8-A559-08C921C6902B}"/>
                  </a:ext>
                </a:extLst>
              </p:cNvPr>
              <p:cNvSpPr>
                <a:spLocks noChangeArrowheads="1"/>
              </p:cNvSpPr>
              <p:nvPr/>
            </p:nvSpPr>
            <p:spPr bwMode="auto">
              <a:xfrm>
                <a:off x="3097016"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7" name="Oval 67">
                <a:extLst>
                  <a:ext uri="{FF2B5EF4-FFF2-40B4-BE49-F238E27FC236}">
                    <a16:creationId xmlns:a16="http://schemas.microsoft.com/office/drawing/2014/main" id="{2CB8AC33-ABD8-439C-9E43-0C657D0A5D38}"/>
                  </a:ext>
                </a:extLst>
              </p:cNvPr>
              <p:cNvSpPr>
                <a:spLocks noChangeArrowheads="1"/>
              </p:cNvSpPr>
              <p:nvPr/>
            </p:nvSpPr>
            <p:spPr bwMode="auto">
              <a:xfrm>
                <a:off x="3025175"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8" name="Oval 68">
                <a:extLst>
                  <a:ext uri="{FF2B5EF4-FFF2-40B4-BE49-F238E27FC236}">
                    <a16:creationId xmlns:a16="http://schemas.microsoft.com/office/drawing/2014/main" id="{F3BC5BD8-E42D-4782-9794-B7F6C7DD3EFF}"/>
                  </a:ext>
                </a:extLst>
              </p:cNvPr>
              <p:cNvSpPr>
                <a:spLocks noChangeArrowheads="1"/>
              </p:cNvSpPr>
              <p:nvPr/>
            </p:nvSpPr>
            <p:spPr bwMode="auto">
              <a:xfrm>
                <a:off x="2955447"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9" name="Oval 69">
                <a:extLst>
                  <a:ext uri="{FF2B5EF4-FFF2-40B4-BE49-F238E27FC236}">
                    <a16:creationId xmlns:a16="http://schemas.microsoft.com/office/drawing/2014/main" id="{414A7B0F-0244-494D-B6FE-1DC28B1B135B}"/>
                  </a:ext>
                </a:extLst>
              </p:cNvPr>
              <p:cNvSpPr>
                <a:spLocks noChangeArrowheads="1"/>
              </p:cNvSpPr>
              <p:nvPr/>
            </p:nvSpPr>
            <p:spPr bwMode="auto">
              <a:xfrm>
                <a:off x="2887832"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02" name="Chord 201">
              <a:extLst>
                <a:ext uri="{FF2B5EF4-FFF2-40B4-BE49-F238E27FC236}">
                  <a16:creationId xmlns:a16="http://schemas.microsoft.com/office/drawing/2014/main" id="{A07BB4BC-D36E-43F0-B3B0-A87DB06C6452}"/>
                </a:ext>
              </a:extLst>
            </p:cNvPr>
            <p:cNvSpPr/>
            <p:nvPr/>
          </p:nvSpPr>
          <p:spPr bwMode="auto">
            <a:xfrm>
              <a:off x="6729252" y="2460278"/>
              <a:ext cx="138488" cy="138488"/>
            </a:xfrm>
            <a:prstGeom prst="chord">
              <a:avLst>
                <a:gd name="adj1" fmla="val 10497928"/>
                <a:gd name="adj2" fmla="val 284860"/>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05" name="Straight Connector 204">
              <a:extLst>
                <a:ext uri="{FF2B5EF4-FFF2-40B4-BE49-F238E27FC236}">
                  <a16:creationId xmlns:a16="http://schemas.microsoft.com/office/drawing/2014/main" id="{02B94DDE-8025-44D3-9B67-69D485437CB1}"/>
                </a:ext>
              </a:extLst>
            </p:cNvPr>
            <p:cNvCxnSpPr>
              <a:cxnSpLocks/>
            </p:cNvCxnSpPr>
            <p:nvPr/>
          </p:nvCxnSpPr>
          <p:spPr>
            <a:xfrm flipH="1" flipV="1">
              <a:off x="6792874" y="2067603"/>
              <a:ext cx="5637" cy="384802"/>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6" name="Chord 205">
              <a:extLst>
                <a:ext uri="{FF2B5EF4-FFF2-40B4-BE49-F238E27FC236}">
                  <a16:creationId xmlns:a16="http://schemas.microsoft.com/office/drawing/2014/main" id="{42F167E0-B604-4845-A1B2-6BF0505D7FF1}"/>
                </a:ext>
              </a:extLst>
            </p:cNvPr>
            <p:cNvSpPr/>
            <p:nvPr/>
          </p:nvSpPr>
          <p:spPr bwMode="auto">
            <a:xfrm>
              <a:off x="7851256" y="2460278"/>
              <a:ext cx="138488" cy="138488"/>
            </a:xfrm>
            <a:prstGeom prst="chord">
              <a:avLst>
                <a:gd name="adj1" fmla="val 10497928"/>
                <a:gd name="adj2" fmla="val 284860"/>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07" name="Straight Connector 206">
              <a:extLst>
                <a:ext uri="{FF2B5EF4-FFF2-40B4-BE49-F238E27FC236}">
                  <a16:creationId xmlns:a16="http://schemas.microsoft.com/office/drawing/2014/main" id="{208E45B5-75CC-46E5-9AC3-D835FB2FFD7A}"/>
                </a:ext>
              </a:extLst>
            </p:cNvPr>
            <p:cNvCxnSpPr>
              <a:cxnSpLocks/>
            </p:cNvCxnSpPr>
            <p:nvPr/>
          </p:nvCxnSpPr>
          <p:spPr>
            <a:xfrm flipH="1" flipV="1">
              <a:off x="7914878" y="2067603"/>
              <a:ext cx="5637" cy="384802"/>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208" name="Group 207">
              <a:extLst>
                <a:ext uri="{FF2B5EF4-FFF2-40B4-BE49-F238E27FC236}">
                  <a16:creationId xmlns:a16="http://schemas.microsoft.com/office/drawing/2014/main" id="{985C56E4-9DC5-4005-9BF9-133EAFC60B66}"/>
                </a:ext>
              </a:extLst>
            </p:cNvPr>
            <p:cNvGrpSpPr/>
            <p:nvPr/>
          </p:nvGrpSpPr>
          <p:grpSpPr>
            <a:xfrm rot="16200000">
              <a:off x="5524158" y="2054196"/>
              <a:ext cx="288531" cy="277829"/>
              <a:chOff x="5175255" y="1566323"/>
              <a:chExt cx="238455" cy="229611"/>
            </a:xfrm>
          </p:grpSpPr>
          <p:sp>
            <p:nvSpPr>
              <p:cNvPr id="230" name="Freeform 31">
                <a:extLst>
                  <a:ext uri="{FF2B5EF4-FFF2-40B4-BE49-F238E27FC236}">
                    <a16:creationId xmlns:a16="http://schemas.microsoft.com/office/drawing/2014/main" id="{1F6F5F8E-2C67-48F1-92C3-39E6A0674BCF}"/>
                  </a:ext>
                </a:extLst>
              </p:cNvPr>
              <p:cNvSpPr>
                <a:spLocks/>
              </p:cNvSpPr>
              <p:nvPr/>
            </p:nvSpPr>
            <p:spPr bwMode="auto">
              <a:xfrm flipV="1">
                <a:off x="5175255" y="1704470"/>
                <a:ext cx="238455" cy="91464"/>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1" name="Line 32">
                <a:extLst>
                  <a:ext uri="{FF2B5EF4-FFF2-40B4-BE49-F238E27FC236}">
                    <a16:creationId xmlns:a16="http://schemas.microsoft.com/office/drawing/2014/main" id="{685BDB4C-C564-4486-939D-417E4AB6F78C}"/>
                  </a:ext>
                </a:extLst>
              </p:cNvPr>
              <p:cNvSpPr>
                <a:spLocks noChangeShapeType="1"/>
              </p:cNvSpPr>
              <p:nvPr/>
            </p:nvSpPr>
            <p:spPr bwMode="auto">
              <a:xfrm flipV="1">
                <a:off x="5294482" y="1566323"/>
                <a:ext cx="0" cy="223818"/>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10" name="Group 209">
              <a:extLst>
                <a:ext uri="{FF2B5EF4-FFF2-40B4-BE49-F238E27FC236}">
                  <a16:creationId xmlns:a16="http://schemas.microsoft.com/office/drawing/2014/main" id="{7FDDB1A5-4D95-4145-B85E-68CBBEFF8247}"/>
                </a:ext>
              </a:extLst>
            </p:cNvPr>
            <p:cNvGrpSpPr/>
            <p:nvPr/>
          </p:nvGrpSpPr>
          <p:grpSpPr>
            <a:xfrm>
              <a:off x="5853267" y="898856"/>
              <a:ext cx="662641" cy="1636522"/>
              <a:chOff x="2314544" y="495446"/>
              <a:chExt cx="628650" cy="1552575"/>
            </a:xfrm>
          </p:grpSpPr>
          <p:sp>
            <p:nvSpPr>
              <p:cNvPr id="211" name="Freeform: Shape 210">
                <a:extLst>
                  <a:ext uri="{FF2B5EF4-FFF2-40B4-BE49-F238E27FC236}">
                    <a16:creationId xmlns:a16="http://schemas.microsoft.com/office/drawing/2014/main" id="{70D81EB8-E2E9-4FDB-B709-C8F6BAF43D2C}"/>
                  </a:ext>
                </a:extLst>
              </p:cNvPr>
              <p:cNvSpPr/>
              <p:nvPr/>
            </p:nvSpPr>
            <p:spPr>
              <a:xfrm>
                <a:off x="2314544" y="495446"/>
                <a:ext cx="628650" cy="1552575"/>
              </a:xfrm>
              <a:custGeom>
                <a:avLst/>
                <a:gdLst>
                  <a:gd name="connsiteX0" fmla="*/ 7144 w 628650"/>
                  <a:gd name="connsiteY0" fmla="*/ 1548289 h 1552575"/>
                  <a:gd name="connsiteX1" fmla="*/ 621506 w 628650"/>
                  <a:gd name="connsiteY1" fmla="*/ 1548289 h 1552575"/>
                  <a:gd name="connsiteX2" fmla="*/ 621506 w 628650"/>
                  <a:gd name="connsiteY2" fmla="*/ 7144 h 1552575"/>
                  <a:gd name="connsiteX3" fmla="*/ 7144 w 628650"/>
                  <a:gd name="connsiteY3" fmla="*/ 7144 h 1552575"/>
                  <a:gd name="connsiteX4" fmla="*/ 7144 w 628650"/>
                  <a:gd name="connsiteY4" fmla="*/ 1548289 h 155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50" h="1552575">
                    <a:moveTo>
                      <a:pt x="7144" y="1548289"/>
                    </a:moveTo>
                    <a:lnTo>
                      <a:pt x="621506" y="1548289"/>
                    </a:lnTo>
                    <a:lnTo>
                      <a:pt x="621506" y="7144"/>
                    </a:lnTo>
                    <a:lnTo>
                      <a:pt x="7144" y="7144"/>
                    </a:lnTo>
                    <a:lnTo>
                      <a:pt x="7144" y="1548289"/>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12" name="Group 211">
                <a:extLst>
                  <a:ext uri="{FF2B5EF4-FFF2-40B4-BE49-F238E27FC236}">
                    <a16:creationId xmlns:a16="http://schemas.microsoft.com/office/drawing/2014/main" id="{59544A93-9C49-4358-961C-2210052AD170}"/>
                  </a:ext>
                </a:extLst>
              </p:cNvPr>
              <p:cNvGrpSpPr/>
              <p:nvPr/>
            </p:nvGrpSpPr>
            <p:grpSpPr>
              <a:xfrm>
                <a:off x="2416700" y="591887"/>
                <a:ext cx="421005" cy="1348740"/>
                <a:chOff x="2416700" y="591887"/>
                <a:chExt cx="421005" cy="1348740"/>
              </a:xfrm>
            </p:grpSpPr>
            <p:sp>
              <p:nvSpPr>
                <p:cNvPr id="214" name="Freeform: Shape 213">
                  <a:extLst>
                    <a:ext uri="{FF2B5EF4-FFF2-40B4-BE49-F238E27FC236}">
                      <a16:creationId xmlns:a16="http://schemas.microsoft.com/office/drawing/2014/main" id="{6D1F736D-29A1-492B-A32D-E16691D3EA62}"/>
                    </a:ext>
                  </a:extLst>
                </p:cNvPr>
                <p:cNvSpPr/>
                <p:nvPr/>
              </p:nvSpPr>
              <p:spPr>
                <a:xfrm>
                  <a:off x="2416700" y="591887"/>
                  <a:ext cx="180975" cy="200025"/>
                </a:xfrm>
                <a:custGeom>
                  <a:avLst/>
                  <a:gdLst>
                    <a:gd name="connsiteX0" fmla="*/ 31671 w 180975"/>
                    <a:gd name="connsiteY0" fmla="*/ 103108 h 200025"/>
                    <a:gd name="connsiteX1" fmla="*/ 77391 w 180975"/>
                    <a:gd name="connsiteY1" fmla="*/ 56436 h 200025"/>
                    <a:gd name="connsiteX2" fmla="*/ 124063 w 180975"/>
                    <a:gd name="connsiteY2" fmla="*/ 103108 h 200025"/>
                    <a:gd name="connsiteX3" fmla="*/ 77391 w 180975"/>
                    <a:gd name="connsiteY3" fmla="*/ 149781 h 200025"/>
                    <a:gd name="connsiteX4" fmla="*/ 31671 w 180975"/>
                    <a:gd name="connsiteY4" fmla="*/ 103108 h 200025"/>
                    <a:gd name="connsiteX5" fmla="*/ 31671 w 180975"/>
                    <a:gd name="connsiteY5" fmla="*/ 103108 h 200025"/>
                    <a:gd name="connsiteX6" fmla="*/ 10716 w 180975"/>
                    <a:gd name="connsiteY6" fmla="*/ 171688 h 200025"/>
                    <a:gd name="connsiteX7" fmla="*/ 26908 w 180975"/>
                    <a:gd name="connsiteY7" fmla="*/ 162163 h 200025"/>
                    <a:gd name="connsiteX8" fmla="*/ 56436 w 180975"/>
                    <a:gd name="connsiteY8" fmla="*/ 178356 h 200025"/>
                    <a:gd name="connsiteX9" fmla="*/ 56436 w 180975"/>
                    <a:gd name="connsiteY9" fmla="*/ 198358 h 200025"/>
                    <a:gd name="connsiteX10" fmla="*/ 102156 w 180975"/>
                    <a:gd name="connsiteY10" fmla="*/ 198358 h 200025"/>
                    <a:gd name="connsiteX11" fmla="*/ 102156 w 180975"/>
                    <a:gd name="connsiteY11" fmla="*/ 177403 h 200025"/>
                    <a:gd name="connsiteX12" fmla="*/ 128826 w 180975"/>
                    <a:gd name="connsiteY12" fmla="*/ 162163 h 200025"/>
                    <a:gd name="connsiteX13" fmla="*/ 145971 w 180975"/>
                    <a:gd name="connsiteY13" fmla="*/ 172641 h 200025"/>
                    <a:gd name="connsiteX14" fmla="*/ 168831 w 180975"/>
                    <a:gd name="connsiteY14" fmla="*/ 132636 h 200025"/>
                    <a:gd name="connsiteX15" fmla="*/ 152638 w 180975"/>
                    <a:gd name="connsiteY15" fmla="*/ 122158 h 200025"/>
                    <a:gd name="connsiteX16" fmla="*/ 154543 w 180975"/>
                    <a:gd name="connsiteY16" fmla="*/ 104061 h 200025"/>
                    <a:gd name="connsiteX17" fmla="*/ 154543 w 180975"/>
                    <a:gd name="connsiteY17" fmla="*/ 104061 h 200025"/>
                    <a:gd name="connsiteX18" fmla="*/ 152638 w 180975"/>
                    <a:gd name="connsiteY18" fmla="*/ 88821 h 200025"/>
                    <a:gd name="connsiteX19" fmla="*/ 170736 w 180975"/>
                    <a:gd name="connsiteY19" fmla="*/ 78343 h 200025"/>
                    <a:gd name="connsiteX20" fmla="*/ 147876 w 180975"/>
                    <a:gd name="connsiteY20" fmla="*/ 37386 h 200025"/>
                    <a:gd name="connsiteX21" fmla="*/ 130731 w 180975"/>
                    <a:gd name="connsiteY21" fmla="*/ 47863 h 200025"/>
                    <a:gd name="connsiteX22" fmla="*/ 102156 w 180975"/>
                    <a:gd name="connsiteY22" fmla="*/ 29766 h 200025"/>
                    <a:gd name="connsiteX23" fmla="*/ 102156 w 180975"/>
                    <a:gd name="connsiteY23" fmla="*/ 107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975" h="200025">
                      <a:moveTo>
                        <a:pt x="31671" y="103108"/>
                      </a:moveTo>
                      <a:cubicBezTo>
                        <a:pt x="31671" y="77391"/>
                        <a:pt x="51673" y="56436"/>
                        <a:pt x="77391" y="56436"/>
                      </a:cubicBezTo>
                      <a:cubicBezTo>
                        <a:pt x="103108" y="56436"/>
                        <a:pt x="124063" y="77391"/>
                        <a:pt x="124063" y="103108"/>
                      </a:cubicBezTo>
                      <a:cubicBezTo>
                        <a:pt x="124063" y="128826"/>
                        <a:pt x="103108" y="149781"/>
                        <a:pt x="77391" y="149781"/>
                      </a:cubicBezTo>
                      <a:cubicBezTo>
                        <a:pt x="51673" y="149781"/>
                        <a:pt x="31671" y="129778"/>
                        <a:pt x="31671" y="103108"/>
                      </a:cubicBezTo>
                      <a:lnTo>
                        <a:pt x="31671" y="103108"/>
                      </a:lnTo>
                      <a:close/>
                      <a:moveTo>
                        <a:pt x="10716" y="171688"/>
                      </a:moveTo>
                      <a:cubicBezTo>
                        <a:pt x="26908" y="162163"/>
                        <a:pt x="26908" y="162163"/>
                        <a:pt x="26908" y="162163"/>
                      </a:cubicBezTo>
                      <a:cubicBezTo>
                        <a:pt x="35481" y="169783"/>
                        <a:pt x="45958" y="175498"/>
                        <a:pt x="56436" y="178356"/>
                      </a:cubicBezTo>
                      <a:cubicBezTo>
                        <a:pt x="56436" y="198358"/>
                        <a:pt x="56436" y="198358"/>
                        <a:pt x="56436" y="198358"/>
                      </a:cubicBezTo>
                      <a:cubicBezTo>
                        <a:pt x="102156" y="198358"/>
                        <a:pt x="102156" y="198358"/>
                        <a:pt x="102156" y="198358"/>
                      </a:cubicBezTo>
                      <a:cubicBezTo>
                        <a:pt x="102156" y="177403"/>
                        <a:pt x="102156" y="177403"/>
                        <a:pt x="102156" y="177403"/>
                      </a:cubicBezTo>
                      <a:cubicBezTo>
                        <a:pt x="112633" y="173593"/>
                        <a:pt x="121206" y="168831"/>
                        <a:pt x="128826" y="162163"/>
                      </a:cubicBezTo>
                      <a:cubicBezTo>
                        <a:pt x="145971" y="172641"/>
                        <a:pt x="145971" y="172641"/>
                        <a:pt x="145971" y="172641"/>
                      </a:cubicBezTo>
                      <a:cubicBezTo>
                        <a:pt x="168831" y="132636"/>
                        <a:pt x="168831" y="132636"/>
                        <a:pt x="168831" y="132636"/>
                      </a:cubicBezTo>
                      <a:cubicBezTo>
                        <a:pt x="152638" y="122158"/>
                        <a:pt x="152638" y="122158"/>
                        <a:pt x="152638" y="122158"/>
                      </a:cubicBezTo>
                      <a:cubicBezTo>
                        <a:pt x="154543" y="116443"/>
                        <a:pt x="154543" y="109776"/>
                        <a:pt x="154543" y="104061"/>
                      </a:cubicBezTo>
                      <a:lnTo>
                        <a:pt x="154543" y="104061"/>
                      </a:lnTo>
                      <a:cubicBezTo>
                        <a:pt x="154543" y="99298"/>
                        <a:pt x="153591" y="93583"/>
                        <a:pt x="152638" y="88821"/>
                      </a:cubicBezTo>
                      <a:cubicBezTo>
                        <a:pt x="170736" y="78343"/>
                        <a:pt x="170736" y="78343"/>
                        <a:pt x="170736" y="78343"/>
                      </a:cubicBezTo>
                      <a:cubicBezTo>
                        <a:pt x="147876" y="37386"/>
                        <a:pt x="147876" y="37386"/>
                        <a:pt x="147876" y="37386"/>
                      </a:cubicBezTo>
                      <a:cubicBezTo>
                        <a:pt x="130731" y="47863"/>
                        <a:pt x="130731" y="47863"/>
                        <a:pt x="130731" y="47863"/>
                      </a:cubicBezTo>
                      <a:cubicBezTo>
                        <a:pt x="123111" y="40243"/>
                        <a:pt x="113586" y="33576"/>
                        <a:pt x="102156" y="29766"/>
                      </a:cubicBezTo>
                      <a:cubicBezTo>
                        <a:pt x="102156" y="10716"/>
                        <a:pt x="102156" y="10716"/>
                        <a:pt x="102156"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3B4FE8B2-089C-42DC-942A-AB428226FBD0}"/>
                    </a:ext>
                  </a:extLst>
                </p:cNvPr>
                <p:cNvSpPr/>
                <p:nvPr/>
              </p:nvSpPr>
              <p:spPr>
                <a:xfrm>
                  <a:off x="2587197" y="702377"/>
                  <a:ext cx="200025" cy="200025"/>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7" name="Freeform: Shape 216">
                  <a:extLst>
                    <a:ext uri="{FF2B5EF4-FFF2-40B4-BE49-F238E27FC236}">
                      <a16:creationId xmlns:a16="http://schemas.microsoft.com/office/drawing/2014/main" id="{EB00A9D1-27F2-4B20-800A-6E285DE4D16C}"/>
                    </a:ext>
                  </a:extLst>
                </p:cNvPr>
                <p:cNvSpPr/>
                <p:nvPr/>
              </p:nvSpPr>
              <p:spPr>
                <a:xfrm>
                  <a:off x="2420510" y="959552"/>
                  <a:ext cx="104775" cy="200025"/>
                </a:xfrm>
                <a:custGeom>
                  <a:avLst/>
                  <a:gdLst>
                    <a:gd name="connsiteX0" fmla="*/ 10716 w 104775"/>
                    <a:gd name="connsiteY0" fmla="*/ 56436 h 200025"/>
                    <a:gd name="connsiteX1" fmla="*/ 57388 w 104775"/>
                    <a:gd name="connsiteY1" fmla="*/ 103108 h 200025"/>
                    <a:gd name="connsiteX2" fmla="*/ 10716 w 104775"/>
                    <a:gd name="connsiteY2" fmla="*/ 149781 h 200025"/>
                    <a:gd name="connsiteX3" fmla="*/ 14526 w 104775"/>
                    <a:gd name="connsiteY3" fmla="*/ 198358 h 200025"/>
                    <a:gd name="connsiteX4" fmla="*/ 35481 w 104775"/>
                    <a:gd name="connsiteY4" fmla="*/ 198358 h 200025"/>
                    <a:gd name="connsiteX5" fmla="*/ 35481 w 104775"/>
                    <a:gd name="connsiteY5" fmla="*/ 177403 h 200025"/>
                    <a:gd name="connsiteX6" fmla="*/ 62151 w 104775"/>
                    <a:gd name="connsiteY6" fmla="*/ 162163 h 200025"/>
                    <a:gd name="connsiteX7" fmla="*/ 79296 w 104775"/>
                    <a:gd name="connsiteY7" fmla="*/ 172641 h 200025"/>
                    <a:gd name="connsiteX8" fmla="*/ 102156 w 104775"/>
                    <a:gd name="connsiteY8" fmla="*/ 132636 h 200025"/>
                    <a:gd name="connsiteX9" fmla="*/ 85011 w 104775"/>
                    <a:gd name="connsiteY9" fmla="*/ 122158 h 200025"/>
                    <a:gd name="connsiteX10" fmla="*/ 86916 w 104775"/>
                    <a:gd name="connsiteY10" fmla="*/ 104061 h 200025"/>
                    <a:gd name="connsiteX11" fmla="*/ 86916 w 104775"/>
                    <a:gd name="connsiteY11" fmla="*/ 104061 h 200025"/>
                    <a:gd name="connsiteX12" fmla="*/ 85011 w 104775"/>
                    <a:gd name="connsiteY12" fmla="*/ 88821 h 200025"/>
                    <a:gd name="connsiteX13" fmla="*/ 103108 w 104775"/>
                    <a:gd name="connsiteY13" fmla="*/ 78343 h 200025"/>
                    <a:gd name="connsiteX14" fmla="*/ 80248 w 104775"/>
                    <a:gd name="connsiteY14" fmla="*/ 37386 h 200025"/>
                    <a:gd name="connsiteX15" fmla="*/ 64056 w 104775"/>
                    <a:gd name="connsiteY15" fmla="*/ 47863 h 200025"/>
                    <a:gd name="connsiteX16" fmla="*/ 35481 w 104775"/>
                    <a:gd name="connsiteY16" fmla="*/ 29766 h 200025"/>
                    <a:gd name="connsiteX17" fmla="*/ 35481 w 104775"/>
                    <a:gd name="connsiteY17" fmla="*/ 10716 h 200025"/>
                    <a:gd name="connsiteX18" fmla="*/ 11668 w 104775"/>
                    <a:gd name="connsiteY18" fmla="*/ 107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200025">
                      <a:moveTo>
                        <a:pt x="10716" y="56436"/>
                      </a:moveTo>
                      <a:cubicBezTo>
                        <a:pt x="36433" y="56436"/>
                        <a:pt x="57388" y="77391"/>
                        <a:pt x="57388" y="103108"/>
                      </a:cubicBezTo>
                      <a:cubicBezTo>
                        <a:pt x="57388" y="128826"/>
                        <a:pt x="36433" y="149781"/>
                        <a:pt x="10716" y="149781"/>
                      </a:cubicBezTo>
                      <a:moveTo>
                        <a:pt x="14526" y="198358"/>
                      </a:moveTo>
                      <a:cubicBezTo>
                        <a:pt x="35481" y="198358"/>
                        <a:pt x="35481" y="198358"/>
                        <a:pt x="35481" y="198358"/>
                      </a:cubicBezTo>
                      <a:cubicBezTo>
                        <a:pt x="35481" y="177403"/>
                        <a:pt x="35481" y="177403"/>
                        <a:pt x="35481" y="177403"/>
                      </a:cubicBezTo>
                      <a:cubicBezTo>
                        <a:pt x="45958" y="173593"/>
                        <a:pt x="54531" y="168831"/>
                        <a:pt x="62151" y="162163"/>
                      </a:cubicBezTo>
                      <a:cubicBezTo>
                        <a:pt x="79296" y="172641"/>
                        <a:pt x="79296" y="172641"/>
                        <a:pt x="79296" y="172641"/>
                      </a:cubicBezTo>
                      <a:cubicBezTo>
                        <a:pt x="102156" y="132636"/>
                        <a:pt x="102156" y="132636"/>
                        <a:pt x="102156" y="132636"/>
                      </a:cubicBezTo>
                      <a:cubicBezTo>
                        <a:pt x="85011" y="122158"/>
                        <a:pt x="85011" y="122158"/>
                        <a:pt x="85011" y="122158"/>
                      </a:cubicBezTo>
                      <a:cubicBezTo>
                        <a:pt x="86916" y="116443"/>
                        <a:pt x="86916" y="109776"/>
                        <a:pt x="86916" y="104061"/>
                      </a:cubicBezTo>
                      <a:lnTo>
                        <a:pt x="86916" y="104061"/>
                      </a:lnTo>
                      <a:cubicBezTo>
                        <a:pt x="86916" y="99298"/>
                        <a:pt x="85963" y="93583"/>
                        <a:pt x="85011" y="88821"/>
                      </a:cubicBezTo>
                      <a:cubicBezTo>
                        <a:pt x="103108" y="78343"/>
                        <a:pt x="103108" y="78343"/>
                        <a:pt x="103108" y="78343"/>
                      </a:cubicBezTo>
                      <a:cubicBezTo>
                        <a:pt x="80248" y="37386"/>
                        <a:pt x="80248" y="37386"/>
                        <a:pt x="80248" y="37386"/>
                      </a:cubicBezTo>
                      <a:cubicBezTo>
                        <a:pt x="64056" y="47863"/>
                        <a:pt x="64056" y="47863"/>
                        <a:pt x="64056" y="47863"/>
                      </a:cubicBezTo>
                      <a:cubicBezTo>
                        <a:pt x="56436" y="40243"/>
                        <a:pt x="46911" y="33576"/>
                        <a:pt x="35481" y="29766"/>
                      </a:cubicBezTo>
                      <a:cubicBezTo>
                        <a:pt x="35481" y="10716"/>
                        <a:pt x="35481" y="10716"/>
                        <a:pt x="35481" y="10716"/>
                      </a:cubicBezTo>
                      <a:cubicBezTo>
                        <a:pt x="25003" y="10716"/>
                        <a:pt x="17383" y="10716"/>
                        <a:pt x="11668"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2554BD72-643E-4D76-BA81-2DD6515252CA}"/>
                    </a:ext>
                  </a:extLst>
                </p:cNvPr>
                <p:cNvSpPr/>
                <p:nvPr/>
              </p:nvSpPr>
              <p:spPr>
                <a:xfrm>
                  <a:off x="2419557" y="1284354"/>
                  <a:ext cx="266700" cy="314325"/>
                </a:xfrm>
                <a:custGeom>
                  <a:avLst/>
                  <a:gdLst>
                    <a:gd name="connsiteX0" fmla="*/ 31671 w 266700"/>
                    <a:gd name="connsiteY0" fmla="*/ 159306 h 314325"/>
                    <a:gd name="connsiteX1" fmla="*/ 105966 w 266700"/>
                    <a:gd name="connsiteY1" fmla="*/ 83106 h 314325"/>
                    <a:gd name="connsiteX2" fmla="*/ 181213 w 266700"/>
                    <a:gd name="connsiteY2" fmla="*/ 159306 h 314325"/>
                    <a:gd name="connsiteX3" fmla="*/ 105966 w 266700"/>
                    <a:gd name="connsiteY3" fmla="*/ 234553 h 314325"/>
                    <a:gd name="connsiteX4" fmla="*/ 31671 w 266700"/>
                    <a:gd name="connsiteY4" fmla="*/ 159306 h 314325"/>
                    <a:gd name="connsiteX5" fmla="*/ 31671 w 266700"/>
                    <a:gd name="connsiteY5" fmla="*/ 159306 h 314325"/>
                    <a:gd name="connsiteX6" fmla="*/ 13573 w 266700"/>
                    <a:gd name="connsiteY6" fmla="*/ 260271 h 314325"/>
                    <a:gd name="connsiteX7" fmla="*/ 24051 w 266700"/>
                    <a:gd name="connsiteY7" fmla="*/ 254556 h 314325"/>
                    <a:gd name="connsiteX8" fmla="*/ 71676 w 266700"/>
                    <a:gd name="connsiteY8" fmla="*/ 280273 h 314325"/>
                    <a:gd name="connsiteX9" fmla="*/ 71676 w 266700"/>
                    <a:gd name="connsiteY9" fmla="*/ 312658 h 314325"/>
                    <a:gd name="connsiteX10" fmla="*/ 145971 w 266700"/>
                    <a:gd name="connsiteY10" fmla="*/ 312658 h 314325"/>
                    <a:gd name="connsiteX11" fmla="*/ 145971 w 266700"/>
                    <a:gd name="connsiteY11" fmla="*/ 279321 h 314325"/>
                    <a:gd name="connsiteX12" fmla="*/ 188833 w 266700"/>
                    <a:gd name="connsiteY12" fmla="*/ 254556 h 314325"/>
                    <a:gd name="connsiteX13" fmla="*/ 217408 w 266700"/>
                    <a:gd name="connsiteY13" fmla="*/ 271701 h 314325"/>
                    <a:gd name="connsiteX14" fmla="*/ 254556 w 266700"/>
                    <a:gd name="connsiteY14" fmla="*/ 206931 h 314325"/>
                    <a:gd name="connsiteX15" fmla="*/ 226933 w 266700"/>
                    <a:gd name="connsiteY15" fmla="*/ 189786 h 314325"/>
                    <a:gd name="connsiteX16" fmla="*/ 230743 w 266700"/>
                    <a:gd name="connsiteY16" fmla="*/ 160258 h 314325"/>
                    <a:gd name="connsiteX17" fmla="*/ 230743 w 266700"/>
                    <a:gd name="connsiteY17" fmla="*/ 160258 h 314325"/>
                    <a:gd name="connsiteX18" fmla="*/ 227886 w 266700"/>
                    <a:gd name="connsiteY18" fmla="*/ 135493 h 314325"/>
                    <a:gd name="connsiteX19" fmla="*/ 257413 w 266700"/>
                    <a:gd name="connsiteY19" fmla="*/ 118348 h 314325"/>
                    <a:gd name="connsiteX20" fmla="*/ 220266 w 266700"/>
                    <a:gd name="connsiteY20" fmla="*/ 52626 h 314325"/>
                    <a:gd name="connsiteX21" fmla="*/ 192643 w 266700"/>
                    <a:gd name="connsiteY21" fmla="*/ 69771 h 314325"/>
                    <a:gd name="connsiteX22" fmla="*/ 145971 w 266700"/>
                    <a:gd name="connsiteY22" fmla="*/ 41196 h 314325"/>
                    <a:gd name="connsiteX23" fmla="*/ 145971 w 266700"/>
                    <a:gd name="connsiteY23" fmla="*/ 10716 h 314325"/>
                    <a:gd name="connsiteX24" fmla="*/ 71676 w 266700"/>
                    <a:gd name="connsiteY24" fmla="*/ 10716 h 314325"/>
                    <a:gd name="connsiteX25" fmla="*/ 71676 w 266700"/>
                    <a:gd name="connsiteY25" fmla="*/ 39291 h 314325"/>
                    <a:gd name="connsiteX26" fmla="*/ 20241 w 266700"/>
                    <a:gd name="connsiteY26" fmla="*/ 69771 h 314325"/>
                    <a:gd name="connsiteX27" fmla="*/ 10716 w 266700"/>
                    <a:gd name="connsiteY27" fmla="*/ 6405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6700" h="314325">
                      <a:moveTo>
                        <a:pt x="31671" y="159306"/>
                      </a:moveTo>
                      <a:cubicBezTo>
                        <a:pt x="31671" y="117396"/>
                        <a:pt x="65008" y="83106"/>
                        <a:pt x="105966" y="83106"/>
                      </a:cubicBezTo>
                      <a:cubicBezTo>
                        <a:pt x="146923" y="83106"/>
                        <a:pt x="181213" y="117396"/>
                        <a:pt x="181213" y="159306"/>
                      </a:cubicBezTo>
                      <a:cubicBezTo>
                        <a:pt x="181213" y="201216"/>
                        <a:pt x="146923" y="234553"/>
                        <a:pt x="105966" y="234553"/>
                      </a:cubicBezTo>
                      <a:cubicBezTo>
                        <a:pt x="65008" y="234553"/>
                        <a:pt x="31671" y="201216"/>
                        <a:pt x="31671" y="159306"/>
                      </a:cubicBezTo>
                      <a:lnTo>
                        <a:pt x="31671" y="159306"/>
                      </a:lnTo>
                      <a:close/>
                      <a:moveTo>
                        <a:pt x="13573" y="260271"/>
                      </a:moveTo>
                      <a:cubicBezTo>
                        <a:pt x="24051" y="254556"/>
                        <a:pt x="24051" y="254556"/>
                        <a:pt x="24051" y="254556"/>
                      </a:cubicBezTo>
                      <a:cubicBezTo>
                        <a:pt x="37386" y="266938"/>
                        <a:pt x="54531" y="275511"/>
                        <a:pt x="71676" y="280273"/>
                      </a:cubicBezTo>
                      <a:cubicBezTo>
                        <a:pt x="71676" y="312658"/>
                        <a:pt x="71676" y="312658"/>
                        <a:pt x="71676" y="312658"/>
                      </a:cubicBezTo>
                      <a:cubicBezTo>
                        <a:pt x="145971" y="312658"/>
                        <a:pt x="145971" y="312658"/>
                        <a:pt x="145971" y="312658"/>
                      </a:cubicBezTo>
                      <a:cubicBezTo>
                        <a:pt x="145971" y="279321"/>
                        <a:pt x="145971" y="279321"/>
                        <a:pt x="145971" y="279321"/>
                      </a:cubicBezTo>
                      <a:cubicBezTo>
                        <a:pt x="162163" y="273606"/>
                        <a:pt x="176451" y="265033"/>
                        <a:pt x="188833" y="254556"/>
                      </a:cubicBezTo>
                      <a:cubicBezTo>
                        <a:pt x="217408" y="271701"/>
                        <a:pt x="217408" y="271701"/>
                        <a:pt x="217408" y="271701"/>
                      </a:cubicBezTo>
                      <a:cubicBezTo>
                        <a:pt x="254556" y="206931"/>
                        <a:pt x="254556" y="206931"/>
                        <a:pt x="254556" y="206931"/>
                      </a:cubicBezTo>
                      <a:cubicBezTo>
                        <a:pt x="226933" y="189786"/>
                        <a:pt x="226933" y="189786"/>
                        <a:pt x="226933" y="189786"/>
                      </a:cubicBezTo>
                      <a:cubicBezTo>
                        <a:pt x="229791" y="180261"/>
                        <a:pt x="230743" y="170736"/>
                        <a:pt x="230743" y="160258"/>
                      </a:cubicBezTo>
                      <a:lnTo>
                        <a:pt x="230743" y="160258"/>
                      </a:lnTo>
                      <a:cubicBezTo>
                        <a:pt x="230743" y="151686"/>
                        <a:pt x="229791" y="143113"/>
                        <a:pt x="227886" y="135493"/>
                      </a:cubicBezTo>
                      <a:cubicBezTo>
                        <a:pt x="257413" y="118348"/>
                        <a:pt x="257413" y="118348"/>
                        <a:pt x="257413" y="118348"/>
                      </a:cubicBezTo>
                      <a:cubicBezTo>
                        <a:pt x="220266" y="52626"/>
                        <a:pt x="220266" y="52626"/>
                        <a:pt x="220266" y="52626"/>
                      </a:cubicBezTo>
                      <a:cubicBezTo>
                        <a:pt x="192643" y="69771"/>
                        <a:pt x="192643" y="69771"/>
                        <a:pt x="192643" y="69771"/>
                      </a:cubicBezTo>
                      <a:cubicBezTo>
                        <a:pt x="180261" y="56436"/>
                        <a:pt x="164068" y="46911"/>
                        <a:pt x="145971" y="41196"/>
                      </a:cubicBezTo>
                      <a:cubicBezTo>
                        <a:pt x="145971" y="10716"/>
                        <a:pt x="145971" y="10716"/>
                        <a:pt x="145971" y="10716"/>
                      </a:cubicBezTo>
                      <a:cubicBezTo>
                        <a:pt x="71676" y="10716"/>
                        <a:pt x="71676" y="10716"/>
                        <a:pt x="71676" y="10716"/>
                      </a:cubicBezTo>
                      <a:cubicBezTo>
                        <a:pt x="71676" y="39291"/>
                        <a:pt x="71676" y="39291"/>
                        <a:pt x="71676" y="39291"/>
                      </a:cubicBezTo>
                      <a:cubicBezTo>
                        <a:pt x="52626" y="45958"/>
                        <a:pt x="34528" y="56436"/>
                        <a:pt x="20241" y="69771"/>
                      </a:cubicBezTo>
                      <a:cubicBezTo>
                        <a:pt x="18336" y="68818"/>
                        <a:pt x="12621" y="65008"/>
                        <a:pt x="10716" y="6405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42B338F5-D6C2-4461-BE24-A5E82B9E9606}"/>
                    </a:ext>
                  </a:extLst>
                </p:cNvPr>
                <p:cNvSpPr/>
                <p:nvPr/>
              </p:nvSpPr>
              <p:spPr>
                <a:xfrm>
                  <a:off x="2604342" y="1569152"/>
                  <a:ext cx="228600" cy="285750"/>
                </a:xfrm>
                <a:custGeom>
                  <a:avLst/>
                  <a:gdLst>
                    <a:gd name="connsiteX0" fmla="*/ 76438 w 228600"/>
                    <a:gd name="connsiteY0" fmla="*/ 142161 h 285750"/>
                    <a:gd name="connsiteX1" fmla="*/ 141208 w 228600"/>
                    <a:gd name="connsiteY1" fmla="*/ 75486 h 285750"/>
                    <a:gd name="connsiteX2" fmla="*/ 206931 w 228600"/>
                    <a:gd name="connsiteY2" fmla="*/ 142161 h 285750"/>
                    <a:gd name="connsiteX3" fmla="*/ 141208 w 228600"/>
                    <a:gd name="connsiteY3" fmla="*/ 207883 h 285750"/>
                    <a:gd name="connsiteX4" fmla="*/ 76438 w 228600"/>
                    <a:gd name="connsiteY4" fmla="*/ 142161 h 285750"/>
                    <a:gd name="connsiteX5" fmla="*/ 76438 w 228600"/>
                    <a:gd name="connsiteY5" fmla="*/ 142161 h 285750"/>
                    <a:gd name="connsiteX6" fmla="*/ 221218 w 228600"/>
                    <a:gd name="connsiteY6" fmla="*/ 59293 h 285750"/>
                    <a:gd name="connsiteX7" fmla="*/ 215503 w 228600"/>
                    <a:gd name="connsiteY7" fmla="*/ 62151 h 285750"/>
                    <a:gd name="connsiteX8" fmla="*/ 174546 w 228600"/>
                    <a:gd name="connsiteY8" fmla="*/ 37386 h 285750"/>
                    <a:gd name="connsiteX9" fmla="*/ 174546 w 228600"/>
                    <a:gd name="connsiteY9" fmla="*/ 10716 h 285750"/>
                    <a:gd name="connsiteX10" fmla="*/ 109776 w 228600"/>
                    <a:gd name="connsiteY10" fmla="*/ 10716 h 285750"/>
                    <a:gd name="connsiteX11" fmla="*/ 109776 w 228600"/>
                    <a:gd name="connsiteY11" fmla="*/ 35481 h 285750"/>
                    <a:gd name="connsiteX12" fmla="*/ 65008 w 228600"/>
                    <a:gd name="connsiteY12" fmla="*/ 62151 h 285750"/>
                    <a:gd name="connsiteX13" fmla="*/ 43101 w 228600"/>
                    <a:gd name="connsiteY13" fmla="*/ 48816 h 285750"/>
                    <a:gd name="connsiteX14" fmla="*/ 10716 w 228600"/>
                    <a:gd name="connsiteY14" fmla="*/ 105966 h 285750"/>
                    <a:gd name="connsiteX15" fmla="*/ 33576 w 228600"/>
                    <a:gd name="connsiteY15" fmla="*/ 119301 h 285750"/>
                    <a:gd name="connsiteX16" fmla="*/ 30718 w 228600"/>
                    <a:gd name="connsiteY16" fmla="*/ 141208 h 285750"/>
                    <a:gd name="connsiteX17" fmla="*/ 33576 w 228600"/>
                    <a:gd name="connsiteY17" fmla="*/ 166926 h 285750"/>
                    <a:gd name="connsiteX18" fmla="*/ 11668 w 228600"/>
                    <a:gd name="connsiteY18" fmla="*/ 180261 h 285750"/>
                    <a:gd name="connsiteX19" fmla="*/ 44053 w 228600"/>
                    <a:gd name="connsiteY19" fmla="*/ 237411 h 285750"/>
                    <a:gd name="connsiteX20" fmla="*/ 66913 w 228600"/>
                    <a:gd name="connsiteY20" fmla="*/ 224076 h 285750"/>
                    <a:gd name="connsiteX21" fmla="*/ 108823 w 228600"/>
                    <a:gd name="connsiteY21" fmla="*/ 246936 h 285750"/>
                    <a:gd name="connsiteX22" fmla="*/ 108823 w 228600"/>
                    <a:gd name="connsiteY22" fmla="*/ 275511 h 285750"/>
                    <a:gd name="connsiteX23" fmla="*/ 173593 w 228600"/>
                    <a:gd name="connsiteY23" fmla="*/ 275511 h 285750"/>
                    <a:gd name="connsiteX24" fmla="*/ 173593 w 228600"/>
                    <a:gd name="connsiteY24" fmla="*/ 245983 h 285750"/>
                    <a:gd name="connsiteX25" fmla="*/ 211693 w 228600"/>
                    <a:gd name="connsiteY25" fmla="*/ 224076 h 285750"/>
                    <a:gd name="connsiteX26" fmla="*/ 221218 w 228600"/>
                    <a:gd name="connsiteY26" fmla="*/ 22979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 h="285750">
                      <a:moveTo>
                        <a:pt x="76438" y="142161"/>
                      </a:moveTo>
                      <a:cubicBezTo>
                        <a:pt x="76438" y="105966"/>
                        <a:pt x="105013" y="75486"/>
                        <a:pt x="141208" y="75486"/>
                      </a:cubicBezTo>
                      <a:cubicBezTo>
                        <a:pt x="177403" y="75486"/>
                        <a:pt x="206931" y="105966"/>
                        <a:pt x="206931" y="142161"/>
                      </a:cubicBezTo>
                      <a:cubicBezTo>
                        <a:pt x="206931" y="178356"/>
                        <a:pt x="177403" y="207883"/>
                        <a:pt x="141208" y="207883"/>
                      </a:cubicBezTo>
                      <a:cubicBezTo>
                        <a:pt x="105013" y="207883"/>
                        <a:pt x="76438" y="178356"/>
                        <a:pt x="76438" y="142161"/>
                      </a:cubicBezTo>
                      <a:lnTo>
                        <a:pt x="76438" y="142161"/>
                      </a:lnTo>
                      <a:close/>
                      <a:moveTo>
                        <a:pt x="221218" y="59293"/>
                      </a:moveTo>
                      <a:cubicBezTo>
                        <a:pt x="215503" y="62151"/>
                        <a:pt x="215503" y="62151"/>
                        <a:pt x="215503" y="62151"/>
                      </a:cubicBezTo>
                      <a:cubicBezTo>
                        <a:pt x="204073" y="50721"/>
                        <a:pt x="190738" y="42148"/>
                        <a:pt x="174546" y="37386"/>
                      </a:cubicBezTo>
                      <a:cubicBezTo>
                        <a:pt x="174546" y="10716"/>
                        <a:pt x="174546" y="10716"/>
                        <a:pt x="174546" y="10716"/>
                      </a:cubicBezTo>
                      <a:cubicBezTo>
                        <a:pt x="109776" y="10716"/>
                        <a:pt x="109776" y="10716"/>
                        <a:pt x="109776" y="10716"/>
                      </a:cubicBezTo>
                      <a:cubicBezTo>
                        <a:pt x="109776" y="35481"/>
                        <a:pt x="109776" y="35481"/>
                        <a:pt x="109776" y="35481"/>
                      </a:cubicBezTo>
                      <a:cubicBezTo>
                        <a:pt x="92631" y="41196"/>
                        <a:pt x="77391" y="49768"/>
                        <a:pt x="65008" y="62151"/>
                      </a:cubicBezTo>
                      <a:cubicBezTo>
                        <a:pt x="43101" y="48816"/>
                        <a:pt x="43101" y="48816"/>
                        <a:pt x="43101" y="48816"/>
                      </a:cubicBezTo>
                      <a:cubicBezTo>
                        <a:pt x="10716" y="105966"/>
                        <a:pt x="10716" y="105966"/>
                        <a:pt x="10716" y="105966"/>
                      </a:cubicBezTo>
                      <a:cubicBezTo>
                        <a:pt x="33576" y="119301"/>
                        <a:pt x="33576" y="119301"/>
                        <a:pt x="33576" y="119301"/>
                      </a:cubicBezTo>
                      <a:cubicBezTo>
                        <a:pt x="31671" y="126921"/>
                        <a:pt x="30718" y="133588"/>
                        <a:pt x="30718" y="141208"/>
                      </a:cubicBezTo>
                      <a:cubicBezTo>
                        <a:pt x="30718" y="149781"/>
                        <a:pt x="32623" y="159306"/>
                        <a:pt x="33576" y="166926"/>
                      </a:cubicBezTo>
                      <a:cubicBezTo>
                        <a:pt x="11668" y="180261"/>
                        <a:pt x="11668" y="180261"/>
                        <a:pt x="11668" y="180261"/>
                      </a:cubicBezTo>
                      <a:cubicBezTo>
                        <a:pt x="44053" y="237411"/>
                        <a:pt x="44053" y="237411"/>
                        <a:pt x="44053" y="237411"/>
                      </a:cubicBezTo>
                      <a:cubicBezTo>
                        <a:pt x="66913" y="224076"/>
                        <a:pt x="66913" y="224076"/>
                        <a:pt x="66913" y="224076"/>
                      </a:cubicBezTo>
                      <a:cubicBezTo>
                        <a:pt x="79296" y="234553"/>
                        <a:pt x="93583" y="243126"/>
                        <a:pt x="108823" y="246936"/>
                      </a:cubicBezTo>
                      <a:cubicBezTo>
                        <a:pt x="108823" y="275511"/>
                        <a:pt x="108823" y="275511"/>
                        <a:pt x="108823" y="275511"/>
                      </a:cubicBezTo>
                      <a:cubicBezTo>
                        <a:pt x="173593" y="275511"/>
                        <a:pt x="173593" y="275511"/>
                        <a:pt x="173593" y="275511"/>
                      </a:cubicBezTo>
                      <a:cubicBezTo>
                        <a:pt x="173593" y="245983"/>
                        <a:pt x="173593" y="245983"/>
                        <a:pt x="173593" y="245983"/>
                      </a:cubicBezTo>
                      <a:cubicBezTo>
                        <a:pt x="187881" y="241221"/>
                        <a:pt x="200263" y="233601"/>
                        <a:pt x="211693" y="224076"/>
                      </a:cubicBezTo>
                      <a:cubicBezTo>
                        <a:pt x="215503" y="225981"/>
                        <a:pt x="218361" y="227886"/>
                        <a:pt x="221218" y="229791"/>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9F186B52-5D01-4353-94AA-64538E4355C3}"/>
                    </a:ext>
                  </a:extLst>
                </p:cNvPr>
                <p:cNvSpPr/>
                <p:nvPr/>
              </p:nvSpPr>
              <p:spPr>
                <a:xfrm>
                  <a:off x="2419557" y="1731077"/>
                  <a:ext cx="209550" cy="209550"/>
                </a:xfrm>
                <a:custGeom>
                  <a:avLst/>
                  <a:gdLst>
                    <a:gd name="connsiteX0" fmla="*/ 10716 w 209550"/>
                    <a:gd name="connsiteY0" fmla="*/ 95488 h 209550"/>
                    <a:gd name="connsiteX1" fmla="*/ 49768 w 209550"/>
                    <a:gd name="connsiteY1" fmla="*/ 84058 h 209550"/>
                    <a:gd name="connsiteX2" fmla="*/ 125016 w 209550"/>
                    <a:gd name="connsiteY2" fmla="*/ 160258 h 209550"/>
                    <a:gd name="connsiteX3" fmla="*/ 110728 w 209550"/>
                    <a:gd name="connsiteY3" fmla="*/ 205026 h 209550"/>
                    <a:gd name="connsiteX4" fmla="*/ 193596 w 209550"/>
                    <a:gd name="connsiteY4" fmla="*/ 204073 h 209550"/>
                    <a:gd name="connsiteX5" fmla="*/ 170736 w 209550"/>
                    <a:gd name="connsiteY5" fmla="*/ 189786 h 209550"/>
                    <a:gd name="connsiteX6" fmla="*/ 174546 w 209550"/>
                    <a:gd name="connsiteY6" fmla="*/ 160258 h 209550"/>
                    <a:gd name="connsiteX7" fmla="*/ 174546 w 209550"/>
                    <a:gd name="connsiteY7" fmla="*/ 160258 h 209550"/>
                    <a:gd name="connsiteX8" fmla="*/ 171688 w 209550"/>
                    <a:gd name="connsiteY8" fmla="*/ 135493 h 209550"/>
                    <a:gd name="connsiteX9" fmla="*/ 201216 w 209550"/>
                    <a:gd name="connsiteY9" fmla="*/ 118348 h 209550"/>
                    <a:gd name="connsiteX10" fmla="*/ 164068 w 209550"/>
                    <a:gd name="connsiteY10" fmla="*/ 52626 h 209550"/>
                    <a:gd name="connsiteX11" fmla="*/ 136446 w 209550"/>
                    <a:gd name="connsiteY11" fmla="*/ 69771 h 209550"/>
                    <a:gd name="connsiteX12" fmla="*/ 89773 w 209550"/>
                    <a:gd name="connsiteY12" fmla="*/ 41196 h 209550"/>
                    <a:gd name="connsiteX13" fmla="*/ 89773 w 209550"/>
                    <a:gd name="connsiteY13" fmla="*/ 10716 h 209550"/>
                    <a:gd name="connsiteX14" fmla="*/ 15478 w 209550"/>
                    <a:gd name="connsiteY14" fmla="*/ 10716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209550">
                      <a:moveTo>
                        <a:pt x="10716" y="95488"/>
                      </a:moveTo>
                      <a:cubicBezTo>
                        <a:pt x="22146" y="88821"/>
                        <a:pt x="35481" y="84058"/>
                        <a:pt x="49768" y="84058"/>
                      </a:cubicBezTo>
                      <a:cubicBezTo>
                        <a:pt x="90726" y="84058"/>
                        <a:pt x="125016" y="118348"/>
                        <a:pt x="125016" y="160258"/>
                      </a:cubicBezTo>
                      <a:cubicBezTo>
                        <a:pt x="125016" y="177403"/>
                        <a:pt x="119301" y="192643"/>
                        <a:pt x="110728" y="205026"/>
                      </a:cubicBezTo>
                      <a:moveTo>
                        <a:pt x="193596" y="204073"/>
                      </a:moveTo>
                      <a:cubicBezTo>
                        <a:pt x="177403" y="194548"/>
                        <a:pt x="170736" y="189786"/>
                        <a:pt x="170736" y="189786"/>
                      </a:cubicBezTo>
                      <a:cubicBezTo>
                        <a:pt x="173593" y="180261"/>
                        <a:pt x="174546" y="170736"/>
                        <a:pt x="174546" y="160258"/>
                      </a:cubicBezTo>
                      <a:lnTo>
                        <a:pt x="174546" y="160258"/>
                      </a:lnTo>
                      <a:cubicBezTo>
                        <a:pt x="174546" y="151686"/>
                        <a:pt x="173593" y="143113"/>
                        <a:pt x="171688" y="135493"/>
                      </a:cubicBezTo>
                      <a:cubicBezTo>
                        <a:pt x="201216" y="118348"/>
                        <a:pt x="201216" y="118348"/>
                        <a:pt x="201216" y="118348"/>
                      </a:cubicBezTo>
                      <a:cubicBezTo>
                        <a:pt x="164068" y="52626"/>
                        <a:pt x="164068" y="52626"/>
                        <a:pt x="164068" y="52626"/>
                      </a:cubicBezTo>
                      <a:cubicBezTo>
                        <a:pt x="136446" y="69771"/>
                        <a:pt x="136446" y="69771"/>
                        <a:pt x="136446" y="69771"/>
                      </a:cubicBezTo>
                      <a:cubicBezTo>
                        <a:pt x="124063" y="56436"/>
                        <a:pt x="107871" y="46911"/>
                        <a:pt x="89773" y="41196"/>
                      </a:cubicBezTo>
                      <a:cubicBezTo>
                        <a:pt x="89773" y="10716"/>
                        <a:pt x="89773" y="10716"/>
                        <a:pt x="89773" y="10716"/>
                      </a:cubicBezTo>
                      <a:cubicBezTo>
                        <a:pt x="11668" y="10716"/>
                        <a:pt x="15478" y="10716"/>
                        <a:pt x="15478"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08486458-17A0-4167-BFAE-43E9EF8737BF}"/>
                    </a:ext>
                  </a:extLst>
                </p:cNvPr>
                <p:cNvSpPr/>
                <p:nvPr/>
              </p:nvSpPr>
              <p:spPr>
                <a:xfrm>
                  <a:off x="2547192" y="949074"/>
                  <a:ext cx="285750" cy="361950"/>
                </a:xfrm>
                <a:custGeom>
                  <a:avLst/>
                  <a:gdLst>
                    <a:gd name="connsiteX0" fmla="*/ 94536 w 285750"/>
                    <a:gd name="connsiteY0" fmla="*/ 180261 h 361950"/>
                    <a:gd name="connsiteX1" fmla="*/ 178356 w 285750"/>
                    <a:gd name="connsiteY1" fmla="*/ 94536 h 361950"/>
                    <a:gd name="connsiteX2" fmla="*/ 263128 w 285750"/>
                    <a:gd name="connsiteY2" fmla="*/ 180261 h 361950"/>
                    <a:gd name="connsiteX3" fmla="*/ 178356 w 285750"/>
                    <a:gd name="connsiteY3" fmla="*/ 265033 h 361950"/>
                    <a:gd name="connsiteX4" fmla="*/ 94536 w 285750"/>
                    <a:gd name="connsiteY4" fmla="*/ 180261 h 361950"/>
                    <a:gd name="connsiteX5" fmla="*/ 94536 w 285750"/>
                    <a:gd name="connsiteY5" fmla="*/ 180261 h 361950"/>
                    <a:gd name="connsiteX6" fmla="*/ 280273 w 285750"/>
                    <a:gd name="connsiteY6" fmla="*/ 74533 h 361950"/>
                    <a:gd name="connsiteX7" fmla="*/ 275511 w 285750"/>
                    <a:gd name="connsiteY7" fmla="*/ 77391 h 361950"/>
                    <a:gd name="connsiteX8" fmla="*/ 223123 w 285750"/>
                    <a:gd name="connsiteY8" fmla="*/ 45006 h 361950"/>
                    <a:gd name="connsiteX9" fmla="*/ 223123 w 285750"/>
                    <a:gd name="connsiteY9" fmla="*/ 10716 h 361950"/>
                    <a:gd name="connsiteX10" fmla="*/ 139303 w 285750"/>
                    <a:gd name="connsiteY10" fmla="*/ 10716 h 361950"/>
                    <a:gd name="connsiteX11" fmla="*/ 139303 w 285750"/>
                    <a:gd name="connsiteY11" fmla="*/ 43101 h 361950"/>
                    <a:gd name="connsiteX12" fmla="*/ 81201 w 285750"/>
                    <a:gd name="connsiteY12" fmla="*/ 77391 h 361950"/>
                    <a:gd name="connsiteX13" fmla="*/ 53578 w 285750"/>
                    <a:gd name="connsiteY13" fmla="*/ 60246 h 361950"/>
                    <a:gd name="connsiteX14" fmla="*/ 10716 w 285750"/>
                    <a:gd name="connsiteY14" fmla="*/ 134541 h 361950"/>
                    <a:gd name="connsiteX15" fmla="*/ 40243 w 285750"/>
                    <a:gd name="connsiteY15" fmla="*/ 151686 h 361950"/>
                    <a:gd name="connsiteX16" fmla="*/ 37386 w 285750"/>
                    <a:gd name="connsiteY16" fmla="*/ 180261 h 361950"/>
                    <a:gd name="connsiteX17" fmla="*/ 41196 w 285750"/>
                    <a:gd name="connsiteY17" fmla="*/ 213598 h 361950"/>
                    <a:gd name="connsiteX18" fmla="*/ 13573 w 285750"/>
                    <a:gd name="connsiteY18" fmla="*/ 230743 h 361950"/>
                    <a:gd name="connsiteX19" fmla="*/ 54531 w 285750"/>
                    <a:gd name="connsiteY19" fmla="*/ 304086 h 361950"/>
                    <a:gd name="connsiteX20" fmla="*/ 84058 w 285750"/>
                    <a:gd name="connsiteY20" fmla="*/ 286941 h 361950"/>
                    <a:gd name="connsiteX21" fmla="*/ 137398 w 285750"/>
                    <a:gd name="connsiteY21" fmla="*/ 316468 h 361950"/>
                    <a:gd name="connsiteX22" fmla="*/ 137398 w 285750"/>
                    <a:gd name="connsiteY22" fmla="*/ 352663 h 361950"/>
                    <a:gd name="connsiteX23" fmla="*/ 221218 w 285750"/>
                    <a:gd name="connsiteY23" fmla="*/ 352663 h 361950"/>
                    <a:gd name="connsiteX24" fmla="*/ 221218 w 285750"/>
                    <a:gd name="connsiteY24" fmla="*/ 314563 h 361950"/>
                    <a:gd name="connsiteX25" fmla="*/ 269796 w 285750"/>
                    <a:gd name="connsiteY25" fmla="*/ 285988 h 361950"/>
                    <a:gd name="connsiteX26" fmla="*/ 280273 w 285750"/>
                    <a:gd name="connsiteY26" fmla="*/ 2936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750" h="361950">
                      <a:moveTo>
                        <a:pt x="94536" y="180261"/>
                      </a:moveTo>
                      <a:cubicBezTo>
                        <a:pt x="94536" y="133588"/>
                        <a:pt x="131683" y="94536"/>
                        <a:pt x="178356" y="94536"/>
                      </a:cubicBezTo>
                      <a:cubicBezTo>
                        <a:pt x="225028" y="94536"/>
                        <a:pt x="263128" y="133588"/>
                        <a:pt x="263128" y="180261"/>
                      </a:cubicBezTo>
                      <a:cubicBezTo>
                        <a:pt x="263128" y="226933"/>
                        <a:pt x="225028" y="265033"/>
                        <a:pt x="178356" y="265033"/>
                      </a:cubicBezTo>
                      <a:cubicBezTo>
                        <a:pt x="131683" y="265033"/>
                        <a:pt x="94536" y="227886"/>
                        <a:pt x="94536" y="180261"/>
                      </a:cubicBezTo>
                      <a:lnTo>
                        <a:pt x="94536" y="180261"/>
                      </a:lnTo>
                      <a:close/>
                      <a:moveTo>
                        <a:pt x="280273" y="74533"/>
                      </a:moveTo>
                      <a:cubicBezTo>
                        <a:pt x="275511" y="77391"/>
                        <a:pt x="275511" y="77391"/>
                        <a:pt x="275511" y="77391"/>
                      </a:cubicBezTo>
                      <a:cubicBezTo>
                        <a:pt x="261223" y="63103"/>
                        <a:pt x="243126" y="51673"/>
                        <a:pt x="223123" y="45006"/>
                      </a:cubicBezTo>
                      <a:cubicBezTo>
                        <a:pt x="223123" y="10716"/>
                        <a:pt x="223123" y="10716"/>
                        <a:pt x="223123" y="10716"/>
                      </a:cubicBezTo>
                      <a:cubicBezTo>
                        <a:pt x="139303" y="10716"/>
                        <a:pt x="139303" y="10716"/>
                        <a:pt x="139303" y="10716"/>
                      </a:cubicBezTo>
                      <a:cubicBezTo>
                        <a:pt x="139303" y="43101"/>
                        <a:pt x="139303" y="43101"/>
                        <a:pt x="139303" y="43101"/>
                      </a:cubicBezTo>
                      <a:cubicBezTo>
                        <a:pt x="117396" y="50721"/>
                        <a:pt x="98346" y="62151"/>
                        <a:pt x="81201" y="77391"/>
                      </a:cubicBezTo>
                      <a:cubicBezTo>
                        <a:pt x="53578" y="60246"/>
                        <a:pt x="53578" y="60246"/>
                        <a:pt x="53578" y="60246"/>
                      </a:cubicBezTo>
                      <a:cubicBezTo>
                        <a:pt x="10716" y="134541"/>
                        <a:pt x="10716" y="134541"/>
                        <a:pt x="10716" y="134541"/>
                      </a:cubicBezTo>
                      <a:cubicBezTo>
                        <a:pt x="40243" y="151686"/>
                        <a:pt x="40243" y="151686"/>
                        <a:pt x="40243" y="151686"/>
                      </a:cubicBezTo>
                      <a:cubicBezTo>
                        <a:pt x="38338" y="161211"/>
                        <a:pt x="37386" y="170736"/>
                        <a:pt x="37386" y="180261"/>
                      </a:cubicBezTo>
                      <a:cubicBezTo>
                        <a:pt x="37386" y="191691"/>
                        <a:pt x="39291" y="203121"/>
                        <a:pt x="41196" y="213598"/>
                      </a:cubicBezTo>
                      <a:cubicBezTo>
                        <a:pt x="13573" y="230743"/>
                        <a:pt x="13573" y="230743"/>
                        <a:pt x="13573" y="230743"/>
                      </a:cubicBezTo>
                      <a:cubicBezTo>
                        <a:pt x="54531" y="304086"/>
                        <a:pt x="54531" y="304086"/>
                        <a:pt x="54531" y="304086"/>
                      </a:cubicBezTo>
                      <a:cubicBezTo>
                        <a:pt x="84058" y="286941"/>
                        <a:pt x="84058" y="286941"/>
                        <a:pt x="84058" y="286941"/>
                      </a:cubicBezTo>
                      <a:cubicBezTo>
                        <a:pt x="99298" y="300276"/>
                        <a:pt x="118348" y="310753"/>
                        <a:pt x="137398" y="316468"/>
                      </a:cubicBezTo>
                      <a:cubicBezTo>
                        <a:pt x="137398" y="352663"/>
                        <a:pt x="137398" y="352663"/>
                        <a:pt x="137398" y="352663"/>
                      </a:cubicBezTo>
                      <a:cubicBezTo>
                        <a:pt x="221218" y="352663"/>
                        <a:pt x="221218" y="352663"/>
                        <a:pt x="221218" y="352663"/>
                      </a:cubicBezTo>
                      <a:cubicBezTo>
                        <a:pt x="221218" y="314563"/>
                        <a:pt x="221218" y="314563"/>
                        <a:pt x="221218" y="314563"/>
                      </a:cubicBezTo>
                      <a:cubicBezTo>
                        <a:pt x="240268" y="307896"/>
                        <a:pt x="255508" y="299323"/>
                        <a:pt x="269796" y="285988"/>
                      </a:cubicBezTo>
                      <a:cubicBezTo>
                        <a:pt x="271701" y="286941"/>
                        <a:pt x="278368" y="292656"/>
                        <a:pt x="280273" y="293608"/>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8DC25FA8-32BC-4073-A819-0BCA6FED4D17}"/>
                    </a:ext>
                  </a:extLst>
                </p:cNvPr>
                <p:cNvSpPr/>
                <p:nvPr/>
              </p:nvSpPr>
              <p:spPr>
                <a:xfrm>
                  <a:off x="2418605" y="593792"/>
                  <a:ext cx="419100" cy="1343025"/>
                </a:xfrm>
                <a:custGeom>
                  <a:avLst/>
                  <a:gdLst>
                    <a:gd name="connsiteX0" fmla="*/ 11668 w 419100"/>
                    <a:gd name="connsiteY0" fmla="*/ 78343 h 1343025"/>
                    <a:gd name="connsiteX1" fmla="*/ 78343 w 419100"/>
                    <a:gd name="connsiteY1" fmla="*/ 10716 h 1343025"/>
                    <a:gd name="connsiteX2" fmla="*/ 344091 w 419100"/>
                    <a:gd name="connsiteY2" fmla="*/ 10716 h 1343025"/>
                    <a:gd name="connsiteX3" fmla="*/ 410766 w 419100"/>
                    <a:gd name="connsiteY3" fmla="*/ 78343 h 1343025"/>
                    <a:gd name="connsiteX4" fmla="*/ 410766 w 419100"/>
                    <a:gd name="connsiteY4" fmla="*/ 1272778 h 1343025"/>
                    <a:gd name="connsiteX5" fmla="*/ 344091 w 419100"/>
                    <a:gd name="connsiteY5" fmla="*/ 1340406 h 1343025"/>
                    <a:gd name="connsiteX6" fmla="*/ 77391 w 419100"/>
                    <a:gd name="connsiteY6" fmla="*/ 1340406 h 1343025"/>
                    <a:gd name="connsiteX7" fmla="*/ 10716 w 419100"/>
                    <a:gd name="connsiteY7" fmla="*/ 1272778 h 1343025"/>
                    <a:gd name="connsiteX8" fmla="*/ 10716 w 419100"/>
                    <a:gd name="connsiteY8" fmla="*/ 78343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100" h="1343025">
                      <a:moveTo>
                        <a:pt x="11668" y="78343"/>
                      </a:moveTo>
                      <a:cubicBezTo>
                        <a:pt x="11668" y="41196"/>
                        <a:pt x="41196" y="10716"/>
                        <a:pt x="78343" y="10716"/>
                      </a:cubicBezTo>
                      <a:lnTo>
                        <a:pt x="344091" y="10716"/>
                      </a:lnTo>
                      <a:cubicBezTo>
                        <a:pt x="380286" y="10716"/>
                        <a:pt x="410766" y="41196"/>
                        <a:pt x="410766" y="78343"/>
                      </a:cubicBezTo>
                      <a:lnTo>
                        <a:pt x="410766" y="1272778"/>
                      </a:lnTo>
                      <a:cubicBezTo>
                        <a:pt x="410766" y="1309926"/>
                        <a:pt x="381238" y="1340406"/>
                        <a:pt x="344091" y="1340406"/>
                      </a:cubicBezTo>
                      <a:lnTo>
                        <a:pt x="77391" y="1340406"/>
                      </a:lnTo>
                      <a:cubicBezTo>
                        <a:pt x="41196" y="1340406"/>
                        <a:pt x="10716" y="1309926"/>
                        <a:pt x="10716" y="1272778"/>
                      </a:cubicBezTo>
                      <a:lnTo>
                        <a:pt x="10716" y="78343"/>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grpSp>
        <p:nvGrpSpPr>
          <p:cNvPr id="6" name="Group 5">
            <a:extLst>
              <a:ext uri="{FF2B5EF4-FFF2-40B4-BE49-F238E27FC236}">
                <a16:creationId xmlns:a16="http://schemas.microsoft.com/office/drawing/2014/main" id="{44364F03-BC13-4254-9758-E56674419208}"/>
              </a:ext>
            </a:extLst>
          </p:cNvPr>
          <p:cNvGrpSpPr/>
          <p:nvPr/>
        </p:nvGrpSpPr>
        <p:grpSpPr>
          <a:xfrm>
            <a:off x="375589" y="4161286"/>
            <a:ext cx="11440821" cy="2200277"/>
            <a:chOff x="375589" y="4161286"/>
            <a:chExt cx="11440821" cy="2200277"/>
          </a:xfrm>
        </p:grpSpPr>
        <p:sp>
          <p:nvSpPr>
            <p:cNvPr id="136" name="Rectangle 135">
              <a:extLst>
                <a:ext uri="{FF2B5EF4-FFF2-40B4-BE49-F238E27FC236}">
                  <a16:creationId xmlns:a16="http://schemas.microsoft.com/office/drawing/2014/main" id="{A6E6ECBF-CE0E-4000-A8E5-730DF8C1626E}"/>
                </a:ext>
              </a:extLst>
            </p:cNvPr>
            <p:cNvSpPr/>
            <p:nvPr/>
          </p:nvSpPr>
          <p:spPr bwMode="auto">
            <a:xfrm>
              <a:off x="375589" y="4161286"/>
              <a:ext cx="11440821" cy="2200277"/>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CB00E66C-B125-4A6D-A7A1-76782DB92193}"/>
                </a:ext>
              </a:extLst>
            </p:cNvPr>
            <p:cNvSpPr txBox="1"/>
            <p:nvPr/>
          </p:nvSpPr>
          <p:spPr>
            <a:xfrm>
              <a:off x="2838934" y="4797038"/>
              <a:ext cx="2591944" cy="10618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Semibold" panose="020B0702040204020203" pitchFamily="34" charset="0"/>
                </a:rPr>
                <a:t>Machine learning (ML)</a:t>
              </a:r>
              <a:endParaRPr kumimoji="0" lang="en-US" sz="1600" b="0" i="0" u="none" strike="noStrike" kern="1200" cap="none" spc="0" normalizeH="0" baseline="0" noProof="0" dirty="0">
                <a:ln>
                  <a:noFill/>
                </a:ln>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 method of data analysis that automates analytical model building</a:t>
              </a:r>
            </a:p>
          </p:txBody>
        </p:sp>
        <p:cxnSp>
          <p:nvCxnSpPr>
            <p:cNvPr id="18" name="Straight Connector 17">
              <a:extLst>
                <a:ext uri="{FF2B5EF4-FFF2-40B4-BE49-F238E27FC236}">
                  <a16:creationId xmlns:a16="http://schemas.microsoft.com/office/drawing/2014/main" id="{DD938F8F-799E-4719-AED1-E652BAD26C38}"/>
                </a:ext>
              </a:extLst>
            </p:cNvPr>
            <p:cNvCxnSpPr>
              <a:cxnSpLocks/>
            </p:cNvCxnSpPr>
            <p:nvPr/>
          </p:nvCxnSpPr>
          <p:spPr>
            <a:xfrm>
              <a:off x="2637396" y="4747795"/>
              <a:ext cx="0" cy="1133942"/>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127" name="Group 5126">
              <a:extLst>
                <a:ext uri="{FF2B5EF4-FFF2-40B4-BE49-F238E27FC236}">
                  <a16:creationId xmlns:a16="http://schemas.microsoft.com/office/drawing/2014/main" id="{5E4F997B-CC1C-42CD-AEB0-0FD25E9D5680}"/>
                </a:ext>
              </a:extLst>
            </p:cNvPr>
            <p:cNvGrpSpPr/>
            <p:nvPr/>
          </p:nvGrpSpPr>
          <p:grpSpPr>
            <a:xfrm>
              <a:off x="958705" y="4745997"/>
              <a:ext cx="1427386" cy="1137538"/>
              <a:chOff x="14214480" y="3013417"/>
              <a:chExt cx="1570125" cy="1251292"/>
            </a:xfrm>
          </p:grpSpPr>
          <p:sp>
            <p:nvSpPr>
              <p:cNvPr id="98" name="gear_3">
                <a:extLst>
                  <a:ext uri="{FF2B5EF4-FFF2-40B4-BE49-F238E27FC236}">
                    <a16:creationId xmlns:a16="http://schemas.microsoft.com/office/drawing/2014/main" id="{76803ADF-3838-4AB8-BDC2-668B35FA31CB}"/>
                  </a:ext>
                </a:extLst>
              </p:cNvPr>
              <p:cNvSpPr>
                <a:spLocks noChangeAspect="1" noEditPoints="1"/>
              </p:cNvSpPr>
              <p:nvPr/>
            </p:nvSpPr>
            <p:spPr bwMode="auto">
              <a:xfrm>
                <a:off x="14446254" y="3689295"/>
                <a:ext cx="518889" cy="52328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19A7407C-BEC8-421E-85EB-26DF4217013D}"/>
                  </a:ext>
                </a:extLst>
              </p:cNvPr>
              <p:cNvSpPr/>
              <p:nvPr/>
            </p:nvSpPr>
            <p:spPr bwMode="auto">
              <a:xfrm>
                <a:off x="14351003" y="3013417"/>
                <a:ext cx="902464" cy="278195"/>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Freeform: Shape 121">
                <a:extLst>
                  <a:ext uri="{FF2B5EF4-FFF2-40B4-BE49-F238E27FC236}">
                    <a16:creationId xmlns:a16="http://schemas.microsoft.com/office/drawing/2014/main" id="{32471343-F1BE-439E-A6B9-065AAE069A3B}"/>
                  </a:ext>
                </a:extLst>
              </p:cNvPr>
              <p:cNvSpPr/>
              <p:nvPr/>
            </p:nvSpPr>
            <p:spPr bwMode="auto">
              <a:xfrm>
                <a:off x="14351003" y="3293737"/>
                <a:ext cx="902464" cy="278195"/>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Oval 118">
                <a:extLst>
                  <a:ext uri="{FF2B5EF4-FFF2-40B4-BE49-F238E27FC236}">
                    <a16:creationId xmlns:a16="http://schemas.microsoft.com/office/drawing/2014/main" id="{F19A8D92-0AC0-423B-8C49-7523130DF039}"/>
                  </a:ext>
                </a:extLst>
              </p:cNvPr>
              <p:cNvSpPr/>
              <p:nvPr/>
            </p:nvSpPr>
            <p:spPr bwMode="auto">
              <a:xfrm>
                <a:off x="14274499" y="3215107"/>
                <a:ext cx="153007" cy="153007"/>
              </a:xfrm>
              <a:prstGeom prst="ellips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Rectangle: Rounded Corners 123">
                <a:extLst>
                  <a:ext uri="{FF2B5EF4-FFF2-40B4-BE49-F238E27FC236}">
                    <a16:creationId xmlns:a16="http://schemas.microsoft.com/office/drawing/2014/main" id="{7D13EAA1-1DA5-4FAA-AEC0-43A7C268B502}"/>
                  </a:ext>
                </a:extLst>
              </p:cNvPr>
              <p:cNvSpPr/>
              <p:nvPr/>
            </p:nvSpPr>
            <p:spPr bwMode="auto">
              <a:xfrm>
                <a:off x="14924323" y="3364525"/>
                <a:ext cx="254644" cy="134234"/>
              </a:xfrm>
              <a:prstGeom prst="roundRect">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A6CABB8A-5F34-430D-8037-E19A513D4AA7}"/>
                  </a:ext>
                </a:extLst>
              </p:cNvPr>
              <p:cNvSpPr/>
              <p:nvPr/>
            </p:nvSpPr>
            <p:spPr bwMode="auto">
              <a:xfrm>
                <a:off x="14431123"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Rectangle 145">
                <a:extLst>
                  <a:ext uri="{FF2B5EF4-FFF2-40B4-BE49-F238E27FC236}">
                    <a16:creationId xmlns:a16="http://schemas.microsoft.com/office/drawing/2014/main" id="{310E5738-B440-44C7-B558-1BB4EA1E0397}"/>
                  </a:ext>
                </a:extLst>
              </p:cNvPr>
              <p:cNvSpPr/>
              <p:nvPr/>
            </p:nvSpPr>
            <p:spPr bwMode="auto">
              <a:xfrm>
                <a:off x="14528811"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AEE0A966-1F37-4EF0-BC8F-BB705216EE9B}"/>
                  </a:ext>
                </a:extLst>
              </p:cNvPr>
              <p:cNvSpPr/>
              <p:nvPr/>
            </p:nvSpPr>
            <p:spPr bwMode="auto">
              <a:xfrm>
                <a:off x="14626499"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Rectangle 147">
                <a:extLst>
                  <a:ext uri="{FF2B5EF4-FFF2-40B4-BE49-F238E27FC236}">
                    <a16:creationId xmlns:a16="http://schemas.microsoft.com/office/drawing/2014/main" id="{6778518C-7DDA-40DE-A2E1-C2EE337CA37E}"/>
                  </a:ext>
                </a:extLst>
              </p:cNvPr>
              <p:cNvSpPr/>
              <p:nvPr/>
            </p:nvSpPr>
            <p:spPr bwMode="auto">
              <a:xfrm>
                <a:off x="14724187"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Rectangle 148">
                <a:extLst>
                  <a:ext uri="{FF2B5EF4-FFF2-40B4-BE49-F238E27FC236}">
                    <a16:creationId xmlns:a16="http://schemas.microsoft.com/office/drawing/2014/main" id="{3DF351C4-406D-4C66-81E8-081A39A76B7C}"/>
                  </a:ext>
                </a:extLst>
              </p:cNvPr>
              <p:cNvSpPr/>
              <p:nvPr/>
            </p:nvSpPr>
            <p:spPr bwMode="auto">
              <a:xfrm>
                <a:off x="14821874"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Isosceles Triangle 127">
                <a:extLst>
                  <a:ext uri="{FF2B5EF4-FFF2-40B4-BE49-F238E27FC236}">
                    <a16:creationId xmlns:a16="http://schemas.microsoft.com/office/drawing/2014/main" id="{AC8626A7-0A8A-4CF8-9797-8A703E387353}"/>
                  </a:ext>
                </a:extLst>
              </p:cNvPr>
              <p:cNvSpPr/>
              <p:nvPr/>
            </p:nvSpPr>
            <p:spPr bwMode="auto">
              <a:xfrm rot="5557155">
                <a:off x="14203835" y="3884406"/>
                <a:ext cx="154355" cy="133065"/>
              </a:xfrm>
              <a:prstGeom prst="triangl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51" name="Isosceles Triangle 150">
                <a:extLst>
                  <a:ext uri="{FF2B5EF4-FFF2-40B4-BE49-F238E27FC236}">
                    <a16:creationId xmlns:a16="http://schemas.microsoft.com/office/drawing/2014/main" id="{E83B2E4A-8085-4553-B073-F5938B61D0EB}"/>
                  </a:ext>
                </a:extLst>
              </p:cNvPr>
              <p:cNvSpPr/>
              <p:nvPr/>
            </p:nvSpPr>
            <p:spPr bwMode="auto">
              <a:xfrm rot="5557155">
                <a:off x="15073328" y="3884406"/>
                <a:ext cx="154355" cy="133065"/>
              </a:xfrm>
              <a:prstGeom prst="triangl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52" name="Group 151">
                <a:extLst>
                  <a:ext uri="{FF2B5EF4-FFF2-40B4-BE49-F238E27FC236}">
                    <a16:creationId xmlns:a16="http://schemas.microsoft.com/office/drawing/2014/main" id="{10AE96E3-855E-4543-AAF9-171EFD4D8398}"/>
                  </a:ext>
                </a:extLst>
              </p:cNvPr>
              <p:cNvGrpSpPr/>
              <p:nvPr/>
            </p:nvGrpSpPr>
            <p:grpSpPr>
              <a:xfrm>
                <a:off x="15296323" y="3535109"/>
                <a:ext cx="488282" cy="729600"/>
                <a:chOff x="16928640" y="5794182"/>
                <a:chExt cx="333504" cy="498326"/>
              </a:xfrm>
            </p:grpSpPr>
            <p:sp>
              <p:nvSpPr>
                <p:cNvPr id="153" name="Freeform: Shape 152">
                  <a:extLst>
                    <a:ext uri="{FF2B5EF4-FFF2-40B4-BE49-F238E27FC236}">
                      <a16:creationId xmlns:a16="http://schemas.microsoft.com/office/drawing/2014/main" id="{5A4D32CB-C4C4-44A5-81D2-48658C074687}"/>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54" name="Straight Connector 153">
                  <a:extLst>
                    <a:ext uri="{FF2B5EF4-FFF2-40B4-BE49-F238E27FC236}">
                      <a16:creationId xmlns:a16="http://schemas.microsoft.com/office/drawing/2014/main" id="{63E94C73-3C69-4414-960B-FDBF41732E4F}"/>
                    </a:ext>
                  </a:extLst>
                </p:cNvPr>
                <p:cNvCxnSpPr/>
                <p:nvPr/>
              </p:nvCxnSpPr>
              <p:spPr>
                <a:xfrm>
                  <a:off x="17027338" y="6179152"/>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 name="Straight Connector 154">
                  <a:extLst>
                    <a:ext uri="{FF2B5EF4-FFF2-40B4-BE49-F238E27FC236}">
                      <a16:creationId xmlns:a16="http://schemas.microsoft.com/office/drawing/2014/main" id="{0EF449A0-8E5B-4353-AE1C-E3C834B6F34B}"/>
                    </a:ext>
                  </a:extLst>
                </p:cNvPr>
                <p:cNvCxnSpPr/>
                <p:nvPr/>
              </p:nvCxnSpPr>
              <p:spPr>
                <a:xfrm>
                  <a:off x="17027338" y="6218937"/>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6" name="Straight Connector 155">
                  <a:extLst>
                    <a:ext uri="{FF2B5EF4-FFF2-40B4-BE49-F238E27FC236}">
                      <a16:creationId xmlns:a16="http://schemas.microsoft.com/office/drawing/2014/main" id="{8DB80242-45FE-4CD0-8F20-5777000AD7A7}"/>
                    </a:ext>
                  </a:extLst>
                </p:cNvPr>
                <p:cNvCxnSpPr/>
                <p:nvPr/>
              </p:nvCxnSpPr>
              <p:spPr>
                <a:xfrm>
                  <a:off x="17027338" y="6255640"/>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7" name="Straight Connector 156">
                  <a:extLst>
                    <a:ext uri="{FF2B5EF4-FFF2-40B4-BE49-F238E27FC236}">
                      <a16:creationId xmlns:a16="http://schemas.microsoft.com/office/drawing/2014/main" id="{3FAC7714-C7C8-4D9A-BA63-E4A4735186DB}"/>
                    </a:ext>
                  </a:extLst>
                </p:cNvPr>
                <p:cNvCxnSpPr/>
                <p:nvPr/>
              </p:nvCxnSpPr>
              <p:spPr>
                <a:xfrm>
                  <a:off x="17070997" y="6292508"/>
                  <a:ext cx="5479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58" name="Freeform: Shape 157">
                  <a:extLst>
                    <a:ext uri="{FF2B5EF4-FFF2-40B4-BE49-F238E27FC236}">
                      <a16:creationId xmlns:a16="http://schemas.microsoft.com/office/drawing/2014/main" id="{A4E29C29-4113-4DC0-93A3-F88DF0C779F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50" name="Connector: Elbow 149">
                <a:extLst>
                  <a:ext uri="{FF2B5EF4-FFF2-40B4-BE49-F238E27FC236}">
                    <a16:creationId xmlns:a16="http://schemas.microsoft.com/office/drawing/2014/main" id="{9AEDEAD9-292F-428A-86D6-3BAD96A5981E}"/>
                  </a:ext>
                </a:extLst>
              </p:cNvPr>
              <p:cNvCxnSpPr>
                <a:cxnSpLocks/>
                <a:stCxn id="119" idx="2"/>
                <a:endCxn id="128" idx="3"/>
              </p:cNvCxnSpPr>
              <p:nvPr/>
            </p:nvCxnSpPr>
            <p:spPr>
              <a:xfrm rot="10800000" flipV="1">
                <a:off x="14214550" y="3291611"/>
                <a:ext cx="59949" cy="656287"/>
              </a:xfrm>
              <a:prstGeom prst="bentConnector3">
                <a:avLst>
                  <a:gd name="adj1" fmla="val 348517"/>
                </a:avLst>
              </a:pr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65" name="Rectangle: Rounded Corners 164">
                <a:extLst>
                  <a:ext uri="{FF2B5EF4-FFF2-40B4-BE49-F238E27FC236}">
                    <a16:creationId xmlns:a16="http://schemas.microsoft.com/office/drawing/2014/main" id="{06382B0F-616C-4DC1-B648-3672B289225C}"/>
                  </a:ext>
                </a:extLst>
              </p:cNvPr>
              <p:cNvSpPr/>
              <p:nvPr/>
            </p:nvSpPr>
            <p:spPr bwMode="auto">
              <a:xfrm>
                <a:off x="14924323" y="3079195"/>
                <a:ext cx="254644" cy="134234"/>
              </a:xfrm>
              <a:prstGeom prst="roundRect">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471B7143-FFF1-49A5-9A96-0A059E68C63E}"/>
                  </a:ext>
                </a:extLst>
              </p:cNvPr>
              <p:cNvSpPr/>
              <p:nvPr/>
            </p:nvSpPr>
            <p:spPr bwMode="auto">
              <a:xfrm>
                <a:off x="14431123"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278D7282-B197-4F14-A54E-471EE9333A52}"/>
                  </a:ext>
                </a:extLst>
              </p:cNvPr>
              <p:cNvSpPr/>
              <p:nvPr/>
            </p:nvSpPr>
            <p:spPr bwMode="auto">
              <a:xfrm>
                <a:off x="14528811"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Rectangle 181">
                <a:extLst>
                  <a:ext uri="{FF2B5EF4-FFF2-40B4-BE49-F238E27FC236}">
                    <a16:creationId xmlns:a16="http://schemas.microsoft.com/office/drawing/2014/main" id="{2EAE2524-FF93-4F0F-A600-313C759C4894}"/>
                  </a:ext>
                </a:extLst>
              </p:cNvPr>
              <p:cNvSpPr/>
              <p:nvPr/>
            </p:nvSpPr>
            <p:spPr bwMode="auto">
              <a:xfrm>
                <a:off x="14626499"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Rectangle 182">
                <a:extLst>
                  <a:ext uri="{FF2B5EF4-FFF2-40B4-BE49-F238E27FC236}">
                    <a16:creationId xmlns:a16="http://schemas.microsoft.com/office/drawing/2014/main" id="{59019BDF-A00E-4475-BE10-B1B3F613EB85}"/>
                  </a:ext>
                </a:extLst>
              </p:cNvPr>
              <p:cNvSpPr/>
              <p:nvPr/>
            </p:nvSpPr>
            <p:spPr bwMode="auto">
              <a:xfrm>
                <a:off x="14724187"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Rectangle 183">
                <a:extLst>
                  <a:ext uri="{FF2B5EF4-FFF2-40B4-BE49-F238E27FC236}">
                    <a16:creationId xmlns:a16="http://schemas.microsoft.com/office/drawing/2014/main" id="{4296A525-31B4-4151-906C-A82457E210AA}"/>
                  </a:ext>
                </a:extLst>
              </p:cNvPr>
              <p:cNvSpPr/>
              <p:nvPr/>
            </p:nvSpPr>
            <p:spPr bwMode="auto">
              <a:xfrm>
                <a:off x="14821874"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7" name="TextBox 6">
              <a:extLst>
                <a:ext uri="{FF2B5EF4-FFF2-40B4-BE49-F238E27FC236}">
                  <a16:creationId xmlns:a16="http://schemas.microsoft.com/office/drawing/2014/main" id="{064ECE96-D228-4A36-9105-FEB797C95DF1}"/>
                </a:ext>
              </a:extLst>
            </p:cNvPr>
            <p:cNvSpPr txBox="1"/>
            <p:nvPr/>
          </p:nvSpPr>
          <p:spPr>
            <a:xfrm>
              <a:off x="7933931" y="4797039"/>
              <a:ext cx="3548153" cy="1061829"/>
            </a:xfrm>
            <a:prstGeom prst="rect">
              <a:avLst/>
            </a:prstGeom>
            <a:noFill/>
          </p:spPr>
          <p:txBody>
            <a:bodyPr wrap="square" lIns="0" tIns="0" rIns="0" bIns="0" rtlCol="0">
              <a:spAutoFit/>
            </a:bodyPr>
            <a:lstStyle/>
            <a:p>
              <a:pPr>
                <a:spcAft>
                  <a:spcPts val="600"/>
                </a:spcAft>
                <a:defRPr/>
              </a:pPr>
              <a:r>
                <a:rPr lang="en-US" sz="1600" dirty="0">
                  <a:latin typeface="+mj-lt"/>
                  <a:cs typeface="Segoe UI Semibold" panose="020B0702040204020203" pitchFamily="34" charset="0"/>
                </a:rPr>
                <a:t>Artificial intelligence (A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he development of computer systems able to perform tasks that traditionally require human intelligence </a:t>
              </a:r>
            </a:p>
          </p:txBody>
        </p:sp>
        <p:grpSp>
          <p:nvGrpSpPr>
            <p:cNvPr id="5123" name="Group 5122">
              <a:extLst>
                <a:ext uri="{FF2B5EF4-FFF2-40B4-BE49-F238E27FC236}">
                  <a16:creationId xmlns:a16="http://schemas.microsoft.com/office/drawing/2014/main" id="{A64F399E-8E7D-4241-A64A-AEDAC347010A}"/>
                </a:ext>
              </a:extLst>
            </p:cNvPr>
            <p:cNvGrpSpPr/>
            <p:nvPr/>
          </p:nvGrpSpPr>
          <p:grpSpPr>
            <a:xfrm>
              <a:off x="6027264" y="4773320"/>
              <a:ext cx="1480265" cy="1082892"/>
              <a:chOff x="13829626" y="4796630"/>
              <a:chExt cx="1791120" cy="1310299"/>
            </a:xfrm>
          </p:grpSpPr>
          <p:grpSp>
            <p:nvGrpSpPr>
              <p:cNvPr id="9" name="Group 8">
                <a:extLst>
                  <a:ext uri="{FF2B5EF4-FFF2-40B4-BE49-F238E27FC236}">
                    <a16:creationId xmlns:a16="http://schemas.microsoft.com/office/drawing/2014/main" id="{86F33E5D-F72A-4762-AA47-F24EDD6033C2}"/>
                  </a:ext>
                </a:extLst>
              </p:cNvPr>
              <p:cNvGrpSpPr/>
              <p:nvPr/>
            </p:nvGrpSpPr>
            <p:grpSpPr>
              <a:xfrm>
                <a:off x="15083636" y="5056077"/>
                <a:ext cx="537110" cy="802560"/>
                <a:chOff x="16928640" y="5794182"/>
                <a:chExt cx="333504" cy="498326"/>
              </a:xfrm>
            </p:grpSpPr>
            <p:sp>
              <p:nvSpPr>
                <p:cNvPr id="45" name="Freeform: Shape 44">
                  <a:extLst>
                    <a:ext uri="{FF2B5EF4-FFF2-40B4-BE49-F238E27FC236}">
                      <a16:creationId xmlns:a16="http://schemas.microsoft.com/office/drawing/2014/main" id="{861C992F-2390-4D03-87AC-5F04A22C815E}"/>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57" name="Straight Connector 56">
                  <a:extLst>
                    <a:ext uri="{FF2B5EF4-FFF2-40B4-BE49-F238E27FC236}">
                      <a16:creationId xmlns:a16="http://schemas.microsoft.com/office/drawing/2014/main" id="{F42811C6-F5A8-40D4-AD2B-E9E76BA010B7}"/>
                    </a:ext>
                  </a:extLst>
                </p:cNvPr>
                <p:cNvCxnSpPr/>
                <p:nvPr/>
              </p:nvCxnSpPr>
              <p:spPr>
                <a:xfrm>
                  <a:off x="17027338" y="6179152"/>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8" name="Straight Connector 57">
                  <a:extLst>
                    <a:ext uri="{FF2B5EF4-FFF2-40B4-BE49-F238E27FC236}">
                      <a16:creationId xmlns:a16="http://schemas.microsoft.com/office/drawing/2014/main" id="{DB656CEB-7B9E-4BF3-A790-E7A3D55B3923}"/>
                    </a:ext>
                  </a:extLst>
                </p:cNvPr>
                <p:cNvCxnSpPr/>
                <p:nvPr/>
              </p:nvCxnSpPr>
              <p:spPr>
                <a:xfrm>
                  <a:off x="17027338" y="6218937"/>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9" name="Straight Connector 58">
                  <a:extLst>
                    <a:ext uri="{FF2B5EF4-FFF2-40B4-BE49-F238E27FC236}">
                      <a16:creationId xmlns:a16="http://schemas.microsoft.com/office/drawing/2014/main" id="{C8271179-9D19-42FD-8885-CF49F68ECBC7}"/>
                    </a:ext>
                  </a:extLst>
                </p:cNvPr>
                <p:cNvCxnSpPr/>
                <p:nvPr/>
              </p:nvCxnSpPr>
              <p:spPr>
                <a:xfrm>
                  <a:off x="17027338" y="6255640"/>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0" name="Straight Connector 59">
                  <a:extLst>
                    <a:ext uri="{FF2B5EF4-FFF2-40B4-BE49-F238E27FC236}">
                      <a16:creationId xmlns:a16="http://schemas.microsoft.com/office/drawing/2014/main" id="{69D45774-FD14-40BE-9584-F2734789A9B2}"/>
                    </a:ext>
                  </a:extLst>
                </p:cNvPr>
                <p:cNvCxnSpPr/>
                <p:nvPr/>
              </p:nvCxnSpPr>
              <p:spPr>
                <a:xfrm>
                  <a:off x="17070997" y="6292508"/>
                  <a:ext cx="5479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Freeform: Shape 60">
                  <a:extLst>
                    <a:ext uri="{FF2B5EF4-FFF2-40B4-BE49-F238E27FC236}">
                      <a16:creationId xmlns:a16="http://schemas.microsoft.com/office/drawing/2014/main" id="{88F4D2BD-6DF5-49AB-B7E6-44DB97C7983F}"/>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0" name="Oval 9">
                <a:extLst>
                  <a:ext uri="{FF2B5EF4-FFF2-40B4-BE49-F238E27FC236}">
                    <a16:creationId xmlns:a16="http://schemas.microsoft.com/office/drawing/2014/main" id="{2448C56C-72DB-4B14-85DE-A90CCE7320FF}"/>
                  </a:ext>
                </a:extLst>
              </p:cNvPr>
              <p:cNvSpPr/>
              <p:nvPr/>
            </p:nvSpPr>
            <p:spPr bwMode="auto">
              <a:xfrm>
                <a:off x="13829626" y="4796630"/>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4" name="Oval 63">
                <a:extLst>
                  <a:ext uri="{FF2B5EF4-FFF2-40B4-BE49-F238E27FC236}">
                    <a16:creationId xmlns:a16="http://schemas.microsoft.com/office/drawing/2014/main" id="{CFC7CBC8-083D-4FD8-B2D7-5F41606CB638}"/>
                  </a:ext>
                </a:extLst>
              </p:cNvPr>
              <p:cNvSpPr/>
              <p:nvPr/>
            </p:nvSpPr>
            <p:spPr bwMode="auto">
              <a:xfrm>
                <a:off x="13829626" y="5288745"/>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5" name="Oval 64">
                <a:extLst>
                  <a:ext uri="{FF2B5EF4-FFF2-40B4-BE49-F238E27FC236}">
                    <a16:creationId xmlns:a16="http://schemas.microsoft.com/office/drawing/2014/main" id="{3E47959F-8A4D-4E5B-BD0A-CD2AA11D3099}"/>
                  </a:ext>
                </a:extLst>
              </p:cNvPr>
              <p:cNvSpPr/>
              <p:nvPr/>
            </p:nvSpPr>
            <p:spPr bwMode="auto">
              <a:xfrm>
                <a:off x="13829626" y="5780859"/>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8FF3AF6F-EED1-475B-9FE3-56DE7B91612C}"/>
                  </a:ext>
                </a:extLst>
              </p:cNvPr>
              <p:cNvSpPr/>
              <p:nvPr/>
            </p:nvSpPr>
            <p:spPr bwMode="auto">
              <a:xfrm>
                <a:off x="14416600" y="4796630"/>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B7E36A9F-5556-4F41-A318-EE0F22BC4624}"/>
                  </a:ext>
                </a:extLst>
              </p:cNvPr>
              <p:cNvSpPr/>
              <p:nvPr/>
            </p:nvSpPr>
            <p:spPr bwMode="auto">
              <a:xfrm>
                <a:off x="14416600" y="5288745"/>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8" name="Oval 67">
                <a:extLst>
                  <a:ext uri="{FF2B5EF4-FFF2-40B4-BE49-F238E27FC236}">
                    <a16:creationId xmlns:a16="http://schemas.microsoft.com/office/drawing/2014/main" id="{3EC637B8-E764-4AD4-838F-7CBF90409BEB}"/>
                  </a:ext>
                </a:extLst>
              </p:cNvPr>
              <p:cNvSpPr/>
              <p:nvPr/>
            </p:nvSpPr>
            <p:spPr bwMode="auto">
              <a:xfrm>
                <a:off x="14416600" y="5780859"/>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EB7F7BDF-9FE5-458A-8826-54639BBAAA37}"/>
                  </a:ext>
                </a:extLst>
              </p:cNvPr>
              <p:cNvCxnSpPr>
                <a:cxnSpLocks/>
                <a:stCxn id="10" idx="6"/>
                <a:endCxn id="66" idx="2"/>
              </p:cNvCxnSpPr>
              <p:nvPr/>
            </p:nvCxnSpPr>
            <p:spPr>
              <a:xfrm>
                <a:off x="14155696" y="4959665"/>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0" name="Straight Connector 69">
                <a:extLst>
                  <a:ext uri="{FF2B5EF4-FFF2-40B4-BE49-F238E27FC236}">
                    <a16:creationId xmlns:a16="http://schemas.microsoft.com/office/drawing/2014/main" id="{5977C0BB-E3C0-48BD-A86B-779F9A676E3B}"/>
                  </a:ext>
                </a:extLst>
              </p:cNvPr>
              <p:cNvCxnSpPr>
                <a:cxnSpLocks/>
                <a:stCxn id="64" idx="6"/>
                <a:endCxn id="67" idx="2"/>
              </p:cNvCxnSpPr>
              <p:nvPr/>
            </p:nvCxnSpPr>
            <p:spPr>
              <a:xfrm>
                <a:off x="14155696" y="5451780"/>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1" name="Straight Connector 70">
                <a:extLst>
                  <a:ext uri="{FF2B5EF4-FFF2-40B4-BE49-F238E27FC236}">
                    <a16:creationId xmlns:a16="http://schemas.microsoft.com/office/drawing/2014/main" id="{3EC27A9F-26F1-4069-8FFD-7654D54853AE}"/>
                  </a:ext>
                </a:extLst>
              </p:cNvPr>
              <p:cNvCxnSpPr>
                <a:cxnSpLocks/>
                <a:stCxn id="65" idx="6"/>
                <a:endCxn id="68" idx="2"/>
              </p:cNvCxnSpPr>
              <p:nvPr/>
            </p:nvCxnSpPr>
            <p:spPr>
              <a:xfrm>
                <a:off x="14155696" y="5943894"/>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4" name="Straight Connector 73">
                <a:extLst>
                  <a:ext uri="{FF2B5EF4-FFF2-40B4-BE49-F238E27FC236}">
                    <a16:creationId xmlns:a16="http://schemas.microsoft.com/office/drawing/2014/main" id="{CD6632C6-94DB-4CF2-A1F0-2494E0877138}"/>
                  </a:ext>
                </a:extLst>
              </p:cNvPr>
              <p:cNvCxnSpPr>
                <a:cxnSpLocks/>
                <a:stCxn id="10" idx="5"/>
                <a:endCxn id="67" idx="1"/>
              </p:cNvCxnSpPr>
              <p:nvPr/>
            </p:nvCxnSpPr>
            <p:spPr>
              <a:xfrm>
                <a:off x="14107944" y="5074948"/>
                <a:ext cx="356408" cy="261549"/>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7" name="Straight Connector 76">
                <a:extLst>
                  <a:ext uri="{FF2B5EF4-FFF2-40B4-BE49-F238E27FC236}">
                    <a16:creationId xmlns:a16="http://schemas.microsoft.com/office/drawing/2014/main" id="{99E23BF0-CBDF-4ED0-BCF3-290D20FF5982}"/>
                  </a:ext>
                </a:extLst>
              </p:cNvPr>
              <p:cNvCxnSpPr>
                <a:cxnSpLocks/>
                <a:stCxn id="64" idx="5"/>
                <a:endCxn id="68" idx="1"/>
              </p:cNvCxnSpPr>
              <p:nvPr/>
            </p:nvCxnSpPr>
            <p:spPr>
              <a:xfrm>
                <a:off x="14107944" y="5567063"/>
                <a:ext cx="356408" cy="261548"/>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a:extLst>
                  <a:ext uri="{FF2B5EF4-FFF2-40B4-BE49-F238E27FC236}">
                    <a16:creationId xmlns:a16="http://schemas.microsoft.com/office/drawing/2014/main" id="{5BB20D81-12A8-4D37-AA5C-B13B556BFF38}"/>
                  </a:ext>
                </a:extLst>
              </p:cNvPr>
              <p:cNvCxnSpPr>
                <a:cxnSpLocks/>
                <a:stCxn id="67" idx="3"/>
                <a:endCxn id="65" idx="7"/>
              </p:cNvCxnSpPr>
              <p:nvPr/>
            </p:nvCxnSpPr>
            <p:spPr>
              <a:xfrm flipH="1">
                <a:off x="14107944" y="5567063"/>
                <a:ext cx="356408" cy="261548"/>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4" name="Straight Connector 83">
                <a:extLst>
                  <a:ext uri="{FF2B5EF4-FFF2-40B4-BE49-F238E27FC236}">
                    <a16:creationId xmlns:a16="http://schemas.microsoft.com/office/drawing/2014/main" id="{243D6A38-DD43-4697-9C97-9474DED0779E}"/>
                  </a:ext>
                </a:extLst>
              </p:cNvPr>
              <p:cNvCxnSpPr>
                <a:cxnSpLocks/>
                <a:stCxn id="66" idx="3"/>
                <a:endCxn id="64" idx="7"/>
              </p:cNvCxnSpPr>
              <p:nvPr/>
            </p:nvCxnSpPr>
            <p:spPr>
              <a:xfrm flipH="1">
                <a:off x="14107944" y="5074948"/>
                <a:ext cx="356408" cy="261549"/>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 name="Group 93">
                <a:extLst>
                  <a:ext uri="{FF2B5EF4-FFF2-40B4-BE49-F238E27FC236}">
                    <a16:creationId xmlns:a16="http://schemas.microsoft.com/office/drawing/2014/main" id="{21DF3B22-F567-4982-BF41-3BDC46033A77}"/>
                  </a:ext>
                </a:extLst>
              </p:cNvPr>
              <p:cNvGrpSpPr/>
              <p:nvPr/>
            </p:nvGrpSpPr>
            <p:grpSpPr>
              <a:xfrm>
                <a:off x="14742670" y="5451780"/>
                <a:ext cx="141583" cy="492114"/>
                <a:chOff x="14931730" y="5991076"/>
                <a:chExt cx="165918" cy="492114"/>
              </a:xfrm>
            </p:grpSpPr>
            <p:cxnSp>
              <p:nvCxnSpPr>
                <p:cNvPr id="87" name="Straight Connector 86">
                  <a:extLst>
                    <a:ext uri="{FF2B5EF4-FFF2-40B4-BE49-F238E27FC236}">
                      <a16:creationId xmlns:a16="http://schemas.microsoft.com/office/drawing/2014/main" id="{3C6AEE54-729C-4892-908F-A9A2E911F490}"/>
                    </a:ext>
                  </a:extLst>
                </p:cNvPr>
                <p:cNvCxnSpPr>
                  <a:cxnSpLocks/>
                  <a:stCxn id="67" idx="6"/>
                </p:cNvCxnSpPr>
                <p:nvPr/>
              </p:nvCxnSpPr>
              <p:spPr>
                <a:xfrm>
                  <a:off x="14931730" y="5991076"/>
                  <a:ext cx="165918"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a:extLst>
                    <a:ext uri="{FF2B5EF4-FFF2-40B4-BE49-F238E27FC236}">
                      <a16:creationId xmlns:a16="http://schemas.microsoft.com/office/drawing/2014/main" id="{49FE3C27-E708-41BE-9C99-A41B64C3C2BB}"/>
                    </a:ext>
                  </a:extLst>
                </p:cNvPr>
                <p:cNvCxnSpPr>
                  <a:cxnSpLocks/>
                  <a:stCxn id="68" idx="6"/>
                </p:cNvCxnSpPr>
                <p:nvPr/>
              </p:nvCxnSpPr>
              <p:spPr>
                <a:xfrm>
                  <a:off x="14931730" y="6483190"/>
                  <a:ext cx="165918"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93" name="Freeform: Shape 92">
                <a:extLst>
                  <a:ext uri="{FF2B5EF4-FFF2-40B4-BE49-F238E27FC236}">
                    <a16:creationId xmlns:a16="http://schemas.microsoft.com/office/drawing/2014/main" id="{7FA338E4-64D4-4125-8899-48EAA2431AEB}"/>
                  </a:ext>
                </a:extLst>
              </p:cNvPr>
              <p:cNvSpPr/>
              <p:nvPr/>
            </p:nvSpPr>
            <p:spPr bwMode="auto">
              <a:xfrm>
                <a:off x="14748497" y="4959665"/>
                <a:ext cx="606552" cy="1143000"/>
              </a:xfrm>
              <a:custGeom>
                <a:avLst/>
                <a:gdLst>
                  <a:gd name="connsiteX0" fmla="*/ 0 w 602901"/>
                  <a:gd name="connsiteY0" fmla="*/ 5025 h 1170633"/>
                  <a:gd name="connsiteX1" fmla="*/ 155750 w 602901"/>
                  <a:gd name="connsiteY1" fmla="*/ 0 h 1170633"/>
                  <a:gd name="connsiteX2" fmla="*/ 150725 w 602901"/>
                  <a:gd name="connsiteY2" fmla="*/ 1170633 h 1170633"/>
                  <a:gd name="connsiteX3" fmla="*/ 597877 w 602901"/>
                  <a:gd name="connsiteY3" fmla="*/ 1170633 h 1170633"/>
                  <a:gd name="connsiteX4" fmla="*/ 602901 w 602901"/>
                  <a:gd name="connsiteY4" fmla="*/ 934497 h 1170633"/>
                  <a:gd name="connsiteX0" fmla="*/ 0 w 602901"/>
                  <a:gd name="connsiteY0" fmla="*/ 2168 h 1167776"/>
                  <a:gd name="connsiteX1" fmla="*/ 158608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2893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0036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01" h="1167776">
                    <a:moveTo>
                      <a:pt x="0" y="2168"/>
                    </a:moveTo>
                    <a:lnTo>
                      <a:pt x="150036" y="0"/>
                    </a:lnTo>
                    <a:cubicBezTo>
                      <a:pt x="147408" y="389259"/>
                      <a:pt x="153353" y="778517"/>
                      <a:pt x="150725" y="1167776"/>
                    </a:cubicBezTo>
                    <a:lnTo>
                      <a:pt x="597877" y="1167776"/>
                    </a:lnTo>
                    <a:lnTo>
                      <a:pt x="602901" y="931640"/>
                    </a:ln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cxnSp>
          <p:nvCxnSpPr>
            <p:cNvPr id="562" name="Straight Connector 561">
              <a:extLst>
                <a:ext uri="{FF2B5EF4-FFF2-40B4-BE49-F238E27FC236}">
                  <a16:creationId xmlns:a16="http://schemas.microsoft.com/office/drawing/2014/main" id="{C2D6DFE0-EE56-4670-BE51-9E1CA8F54EDD}"/>
                </a:ext>
              </a:extLst>
            </p:cNvPr>
            <p:cNvCxnSpPr>
              <a:cxnSpLocks/>
            </p:cNvCxnSpPr>
            <p:nvPr/>
          </p:nvCxnSpPr>
          <p:spPr>
            <a:xfrm>
              <a:off x="7732394" y="4747795"/>
              <a:ext cx="0" cy="1133942"/>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1716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64" name="Rectangle 163">
            <a:extLst>
              <a:ext uri="{FF2B5EF4-FFF2-40B4-BE49-F238E27FC236}">
                <a16:creationId xmlns:a16="http://schemas.microsoft.com/office/drawing/2014/main" id="{17D0E1DA-236C-D244-B2D0-8118560F872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52AC568-3812-9348-89F1-2D2332C786B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6" name="Rectangle 165">
            <a:extLst>
              <a:ext uri="{FF2B5EF4-FFF2-40B4-BE49-F238E27FC236}">
                <a16:creationId xmlns:a16="http://schemas.microsoft.com/office/drawing/2014/main" id="{A57D175D-5DB1-EB41-AB23-ECB96DF915B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7" name="Rectangle 166">
            <a:extLst>
              <a:ext uri="{FF2B5EF4-FFF2-40B4-BE49-F238E27FC236}">
                <a16:creationId xmlns:a16="http://schemas.microsoft.com/office/drawing/2014/main" id="{B37F13F6-840B-D54B-BDB1-FB6B1804AA5B}"/>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49B8C7EC-1B6B-1F43-9F84-5783EA3E63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9" name="Shape 770">
            <a:extLst>
              <a:ext uri="{FF2B5EF4-FFF2-40B4-BE49-F238E27FC236}">
                <a16:creationId xmlns:a16="http://schemas.microsoft.com/office/drawing/2014/main" id="{76C59705-3791-4D44-9910-66D9B4BC5959}"/>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E82B36B6-2A9E-364C-84E6-D5728D0090C7}"/>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1" name="Shape 770">
            <a:extLst>
              <a:ext uri="{FF2B5EF4-FFF2-40B4-BE49-F238E27FC236}">
                <a16:creationId xmlns:a16="http://schemas.microsoft.com/office/drawing/2014/main" id="{079759CF-4800-C64C-8BCF-B188822C767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2" name="Shape 770">
            <a:extLst>
              <a:ext uri="{FF2B5EF4-FFF2-40B4-BE49-F238E27FC236}">
                <a16:creationId xmlns:a16="http://schemas.microsoft.com/office/drawing/2014/main" id="{CF58B3EE-840A-A74D-8591-7927AF3EA508}"/>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91599BB7-0FEC-714B-B7E2-3613D1E7A2A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9" name="Freeform: Shape 57">
            <a:extLst>
              <a:ext uri="{FF2B5EF4-FFF2-40B4-BE49-F238E27FC236}">
                <a16:creationId xmlns:a16="http://schemas.microsoft.com/office/drawing/2014/main" id="{9A0801E4-D7E8-2640-86AD-FF188EC4D7AF}"/>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0" name="Freeform: Shape 56">
            <a:extLst>
              <a:ext uri="{FF2B5EF4-FFF2-40B4-BE49-F238E27FC236}">
                <a16:creationId xmlns:a16="http://schemas.microsoft.com/office/drawing/2014/main" id="{E2A3B4EB-CEF0-2545-B3A7-2933CF64D428}"/>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1" name="Freeform: Shape 55">
            <a:extLst>
              <a:ext uri="{FF2B5EF4-FFF2-40B4-BE49-F238E27FC236}">
                <a16:creationId xmlns:a16="http://schemas.microsoft.com/office/drawing/2014/main" id="{1A3569D1-15B9-3C48-B6EA-97AC6642EBC9}"/>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2" name="Freeform: Shape 54">
            <a:extLst>
              <a:ext uri="{FF2B5EF4-FFF2-40B4-BE49-F238E27FC236}">
                <a16:creationId xmlns:a16="http://schemas.microsoft.com/office/drawing/2014/main" id="{1A500C07-D694-5943-B970-94B6EFD8A173}"/>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3">
            <a:extLst>
              <a:ext uri="{FF2B5EF4-FFF2-40B4-BE49-F238E27FC236}">
                <a16:creationId xmlns:a16="http://schemas.microsoft.com/office/drawing/2014/main" id="{7A034DBC-D84D-4E4D-A3DC-662F3340E742}"/>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82D82BCD-D634-48F4-9930-9D6D9A3DA9F2}"/>
              </a:ext>
            </a:extLst>
          </p:cNvPr>
          <p:cNvSpPr>
            <a:spLocks noGrp="1"/>
          </p:cNvSpPr>
          <p:nvPr>
            <p:ph type="body" sz="quarter" idx="12"/>
          </p:nvPr>
        </p:nvSpPr>
        <p:spPr>
          <a:xfrm>
            <a:off x="461105" y="3530518"/>
            <a:ext cx="1851471" cy="523220"/>
          </a:xfrm>
        </p:spPr>
        <p:txBody>
          <a:bodyPr/>
          <a:lstStyle/>
          <a:p>
            <a:r>
              <a:rPr lang="en-US" b="0" dirty="0">
                <a:latin typeface="+mj-lt"/>
                <a:sym typeface="Source Sans Pro"/>
              </a:rPr>
              <a:t>Customer </a:t>
            </a:r>
            <a:br>
              <a:rPr lang="en-US" b="0" dirty="0">
                <a:latin typeface="+mj-lt"/>
                <a:sym typeface="Source Sans Pro"/>
              </a:rPr>
            </a:br>
            <a:r>
              <a:rPr lang="en-US" b="0" dirty="0">
                <a:latin typeface="+mj-lt"/>
                <a:sym typeface="Source Sans Pro"/>
              </a:rPr>
              <a:t>analytics</a:t>
            </a:r>
          </a:p>
        </p:txBody>
      </p:sp>
      <p:sp>
        <p:nvSpPr>
          <p:cNvPr id="73" name="Text Placeholder 72">
            <a:extLst>
              <a:ext uri="{FF2B5EF4-FFF2-40B4-BE49-F238E27FC236}">
                <a16:creationId xmlns:a16="http://schemas.microsoft.com/office/drawing/2014/main" id="{2395CB69-CF1E-4CB9-8D53-866FA312BF49}"/>
              </a:ext>
            </a:extLst>
          </p:cNvPr>
          <p:cNvSpPr>
            <a:spLocks noGrp="1"/>
          </p:cNvSpPr>
          <p:nvPr>
            <p:ph type="body" sz="quarter" idx="13"/>
          </p:nvPr>
        </p:nvSpPr>
        <p:spPr>
          <a:xfrm>
            <a:off x="2815630" y="3530518"/>
            <a:ext cx="1851471" cy="523220"/>
          </a:xfrm>
        </p:spPr>
        <p:txBody>
          <a:bodyPr/>
          <a:lstStyle/>
          <a:p>
            <a:r>
              <a:rPr lang="en-US" b="0" dirty="0">
                <a:latin typeface="+mj-lt"/>
                <a:sym typeface="Source Sans Pro"/>
              </a:rPr>
              <a:t>Financial</a:t>
            </a:r>
            <a:br>
              <a:rPr lang="en-US" b="0" dirty="0">
                <a:latin typeface="+mj-lt"/>
                <a:sym typeface="Source Sans Pro"/>
              </a:rPr>
            </a:br>
            <a:r>
              <a:rPr lang="en-US" b="0" dirty="0">
                <a:latin typeface="+mj-lt"/>
                <a:sym typeface="Source Sans Pro"/>
              </a:rPr>
              <a:t>modeling</a:t>
            </a:r>
          </a:p>
        </p:txBody>
      </p:sp>
      <p:sp>
        <p:nvSpPr>
          <p:cNvPr id="74" name="Text Placeholder 73">
            <a:extLst>
              <a:ext uri="{FF2B5EF4-FFF2-40B4-BE49-F238E27FC236}">
                <a16:creationId xmlns:a16="http://schemas.microsoft.com/office/drawing/2014/main" id="{B26C7612-1DCB-4AC7-A71D-75E9D6528BBD}"/>
              </a:ext>
            </a:extLst>
          </p:cNvPr>
          <p:cNvSpPr>
            <a:spLocks noGrp="1"/>
          </p:cNvSpPr>
          <p:nvPr>
            <p:ph type="body" sz="quarter" idx="14"/>
          </p:nvPr>
        </p:nvSpPr>
        <p:spPr>
          <a:xfrm>
            <a:off x="5170155" y="3530518"/>
            <a:ext cx="1851471" cy="523220"/>
          </a:xfrm>
        </p:spPr>
        <p:txBody>
          <a:bodyPr/>
          <a:lstStyle/>
          <a:p>
            <a:r>
              <a:rPr lang="en-US" b="0" dirty="0">
                <a:latin typeface="+mj-lt"/>
                <a:sym typeface="Source Sans Pro"/>
              </a:rPr>
              <a:t>Risk, fraud, </a:t>
            </a:r>
            <a:br>
              <a:rPr lang="en-US" b="0" dirty="0">
                <a:latin typeface="+mj-lt"/>
                <a:sym typeface="Source Sans Pro"/>
              </a:rPr>
            </a:br>
            <a:r>
              <a:rPr lang="en-US" b="0" dirty="0">
                <a:latin typeface="+mj-lt"/>
                <a:sym typeface="Source Sans Pro"/>
              </a:rPr>
              <a:t>threat detection</a:t>
            </a:r>
          </a:p>
        </p:txBody>
      </p:sp>
      <p:sp>
        <p:nvSpPr>
          <p:cNvPr id="75" name="Text Placeholder 74">
            <a:extLst>
              <a:ext uri="{FF2B5EF4-FFF2-40B4-BE49-F238E27FC236}">
                <a16:creationId xmlns:a16="http://schemas.microsoft.com/office/drawing/2014/main" id="{66DD9C26-BC68-4FC4-B15E-4EBE30E66E7A}"/>
              </a:ext>
            </a:extLst>
          </p:cNvPr>
          <p:cNvSpPr>
            <a:spLocks noGrp="1"/>
          </p:cNvSpPr>
          <p:nvPr>
            <p:ph type="body" sz="quarter" idx="15"/>
          </p:nvPr>
        </p:nvSpPr>
        <p:spPr>
          <a:xfrm>
            <a:off x="7524680" y="3530518"/>
            <a:ext cx="1851471" cy="523220"/>
          </a:xfrm>
        </p:spPr>
        <p:txBody>
          <a:bodyPr/>
          <a:lstStyle/>
          <a:p>
            <a:r>
              <a:rPr lang="en-US" b="0" dirty="0">
                <a:latin typeface="+mj-lt"/>
                <a:sym typeface="Source Sans Pro"/>
              </a:rPr>
              <a:t>Credit</a:t>
            </a:r>
            <a:br>
              <a:rPr lang="en-US" b="0" dirty="0">
                <a:latin typeface="+mj-lt"/>
                <a:sym typeface="Source Sans Pro"/>
              </a:rPr>
            </a:br>
            <a:r>
              <a:rPr lang="en-US" b="0" dirty="0">
                <a:latin typeface="+mj-lt"/>
                <a:sym typeface="Source Sans Pro"/>
              </a:rPr>
              <a:t>analytics</a:t>
            </a:r>
          </a:p>
        </p:txBody>
      </p:sp>
      <p:sp>
        <p:nvSpPr>
          <p:cNvPr id="76" name="Text Placeholder 75">
            <a:extLst>
              <a:ext uri="{FF2B5EF4-FFF2-40B4-BE49-F238E27FC236}">
                <a16:creationId xmlns:a16="http://schemas.microsoft.com/office/drawing/2014/main" id="{E7197D69-ACCB-4E82-949A-6A38FF034FE1}"/>
              </a:ext>
            </a:extLst>
          </p:cNvPr>
          <p:cNvSpPr>
            <a:spLocks noGrp="1"/>
          </p:cNvSpPr>
          <p:nvPr>
            <p:ph type="body" sz="quarter" idx="16"/>
          </p:nvPr>
        </p:nvSpPr>
        <p:spPr>
          <a:xfrm>
            <a:off x="9879205" y="3530518"/>
            <a:ext cx="1851471" cy="523220"/>
          </a:xfrm>
        </p:spPr>
        <p:txBody>
          <a:bodyPr/>
          <a:lstStyle/>
          <a:p>
            <a:r>
              <a:rPr lang="en-US" b="0" dirty="0">
                <a:latin typeface="+mj-lt"/>
                <a:sym typeface="Source Sans Pro"/>
              </a:rPr>
              <a:t>Marketing</a:t>
            </a:r>
            <a:br>
              <a:rPr lang="en-US" b="0" dirty="0">
                <a:latin typeface="+mj-lt"/>
                <a:sym typeface="Source Sans Pro"/>
              </a:rPr>
            </a:br>
            <a:r>
              <a:rPr lang="en-US" b="0" dirty="0">
                <a:latin typeface="+mj-lt"/>
                <a:sym typeface="Source Sans Pro"/>
              </a:rPr>
              <a:t>analytics</a:t>
            </a:r>
          </a:p>
        </p:txBody>
      </p:sp>
      <p:sp>
        <p:nvSpPr>
          <p:cNvPr id="13" name="Text Placeholder 12">
            <a:extLst>
              <a:ext uri="{FF2B5EF4-FFF2-40B4-BE49-F238E27FC236}">
                <a16:creationId xmlns:a16="http://schemas.microsoft.com/office/drawing/2014/main" id="{88950303-C95A-4349-B859-2B60C0233162}"/>
              </a:ext>
            </a:extLst>
          </p:cNvPr>
          <p:cNvSpPr>
            <a:spLocks noGrp="1"/>
          </p:cNvSpPr>
          <p:nvPr>
            <p:ph type="body" sz="quarter" idx="22"/>
          </p:nvPr>
        </p:nvSpPr>
        <p:spPr>
          <a:xfrm>
            <a:off x="461105" y="5766309"/>
            <a:ext cx="1851471" cy="674031"/>
          </a:xfrm>
        </p:spPr>
        <p:txBody>
          <a:bodyPr/>
          <a:lstStyle/>
          <a:p>
            <a:pPr>
              <a:lnSpc>
                <a:spcPct val="90000"/>
              </a:lnSpc>
              <a:spcBef>
                <a:spcPts val="600"/>
              </a:spcBef>
              <a:spcAft>
                <a:spcPts val="0"/>
              </a:spcAft>
            </a:pPr>
            <a:r>
              <a:rPr lang="en-US" b="0" dirty="0">
                <a:latin typeface="+mj-lt"/>
                <a:sym typeface="Source Sans Pro"/>
              </a:rPr>
              <a:t>Faster innovation </a:t>
            </a:r>
            <a:br>
              <a:rPr lang="en-US" b="0" dirty="0">
                <a:latin typeface="+mj-lt"/>
                <a:sym typeface="Source Sans Pro"/>
              </a:rPr>
            </a:br>
            <a:r>
              <a:rPr lang="en-US" b="0" dirty="0">
                <a:latin typeface="+mj-lt"/>
                <a:sym typeface="Source Sans Pro"/>
              </a:rPr>
              <a:t>for a better </a:t>
            </a:r>
            <a:r>
              <a:rPr lang="en-US" b="0" spc="-10" dirty="0">
                <a:latin typeface="+mj-lt"/>
                <a:sym typeface="Source Sans Pro"/>
              </a:rPr>
              <a:t>customer experience</a:t>
            </a:r>
          </a:p>
        </p:txBody>
      </p:sp>
      <p:sp>
        <p:nvSpPr>
          <p:cNvPr id="14" name="Text Placeholder 13">
            <a:extLst>
              <a:ext uri="{FF2B5EF4-FFF2-40B4-BE49-F238E27FC236}">
                <a16:creationId xmlns:a16="http://schemas.microsoft.com/office/drawing/2014/main" id="{2ED7FB41-70AC-464A-BCA0-4E3CA8A79B9A}"/>
              </a:ext>
            </a:extLst>
          </p:cNvPr>
          <p:cNvSpPr>
            <a:spLocks noGrp="1"/>
          </p:cNvSpPr>
          <p:nvPr>
            <p:ph type="body" sz="quarter" idx="23"/>
          </p:nvPr>
        </p:nvSpPr>
        <p:spPr>
          <a:xfrm>
            <a:off x="281563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outcomes and increased revenue</a:t>
            </a:r>
          </a:p>
        </p:txBody>
      </p:sp>
      <p:sp>
        <p:nvSpPr>
          <p:cNvPr id="15" name="Text Placeholder 14">
            <a:extLst>
              <a:ext uri="{FF2B5EF4-FFF2-40B4-BE49-F238E27FC236}">
                <a16:creationId xmlns:a16="http://schemas.microsoft.com/office/drawing/2014/main" id="{FED30B46-DA7E-4E5C-A98B-6133006522A7}"/>
              </a:ext>
            </a:extLst>
          </p:cNvPr>
          <p:cNvSpPr>
            <a:spLocks noGrp="1"/>
          </p:cNvSpPr>
          <p:nvPr>
            <p:ph type="body" sz="quarter" idx="24"/>
          </p:nvPr>
        </p:nvSpPr>
        <p:spPr>
          <a:xfrm>
            <a:off x="517015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Enhanced customer experience with machine learning</a:t>
            </a:r>
          </a:p>
        </p:txBody>
      </p:sp>
      <p:sp>
        <p:nvSpPr>
          <p:cNvPr id="16" name="Text Placeholder 15">
            <a:extLst>
              <a:ext uri="{FF2B5EF4-FFF2-40B4-BE49-F238E27FC236}">
                <a16:creationId xmlns:a16="http://schemas.microsoft.com/office/drawing/2014/main" id="{4B8D9D13-712F-445F-827C-5635EE4578C7}"/>
              </a:ext>
            </a:extLst>
          </p:cNvPr>
          <p:cNvSpPr>
            <a:spLocks noGrp="1"/>
          </p:cNvSpPr>
          <p:nvPr>
            <p:ph type="body" sz="quarter" idx="25"/>
          </p:nvPr>
        </p:nvSpPr>
        <p:spPr>
          <a:xfrm>
            <a:off x="752468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Transform growth </a:t>
            </a:r>
            <a:br>
              <a:rPr lang="en-US" b="0" dirty="0">
                <a:latin typeface="+mj-lt"/>
                <a:sym typeface="Source Sans Pro"/>
              </a:rPr>
            </a:br>
            <a:r>
              <a:rPr lang="en-US" b="0" dirty="0">
                <a:latin typeface="+mj-lt"/>
                <a:sym typeface="Source Sans Pro"/>
              </a:rPr>
              <a:t>with predictive </a:t>
            </a:r>
            <a:br>
              <a:rPr lang="en-US" b="0" dirty="0">
                <a:latin typeface="+mj-lt"/>
                <a:sym typeface="Source Sans Pro"/>
              </a:rPr>
            </a:br>
            <a:r>
              <a:rPr lang="en-US" b="0" dirty="0">
                <a:latin typeface="+mj-lt"/>
                <a:sym typeface="Source Sans Pro"/>
              </a:rPr>
              <a:t>analytics</a:t>
            </a:r>
          </a:p>
        </p:txBody>
      </p:sp>
      <p:sp>
        <p:nvSpPr>
          <p:cNvPr id="17" name="Text Placeholder 16">
            <a:extLst>
              <a:ext uri="{FF2B5EF4-FFF2-40B4-BE49-F238E27FC236}">
                <a16:creationId xmlns:a16="http://schemas.microsoft.com/office/drawing/2014/main" id="{2DA8299C-B642-4B4C-A9CF-1AF17379D95C}"/>
              </a:ext>
            </a:extLst>
          </p:cNvPr>
          <p:cNvSpPr>
            <a:spLocks noGrp="1"/>
          </p:cNvSpPr>
          <p:nvPr>
            <p:ph type="body" sz="quarter" idx="26"/>
          </p:nvPr>
        </p:nvSpPr>
        <p:spPr>
          <a:xfrm>
            <a:off x="987920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77" name="Text Placeholder 76">
            <a:extLst>
              <a:ext uri="{FF2B5EF4-FFF2-40B4-BE49-F238E27FC236}">
                <a16:creationId xmlns:a16="http://schemas.microsoft.com/office/drawing/2014/main" id="{FB091478-3A96-4992-B29A-649150BCDF77}"/>
              </a:ext>
            </a:extLst>
          </p:cNvPr>
          <p:cNvSpPr>
            <a:spLocks noGrp="1"/>
          </p:cNvSpPr>
          <p:nvPr>
            <p:ph type="body" sz="quarter" idx="27"/>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al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TV</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yalty</a:t>
            </a:r>
          </a:p>
        </p:txBody>
      </p:sp>
      <p:sp>
        <p:nvSpPr>
          <p:cNvPr id="78" name="Text Placeholder 77">
            <a:extLst>
              <a:ext uri="{FF2B5EF4-FFF2-40B4-BE49-F238E27FC236}">
                <a16:creationId xmlns:a16="http://schemas.microsoft.com/office/drawing/2014/main" id="{8A6AACF9-3948-46D6-B0BE-EDFA8C42DFB2}"/>
              </a:ext>
            </a:extLst>
          </p:cNvPr>
          <p:cNvSpPr>
            <a:spLocks noGrp="1"/>
          </p:cNvSpPr>
          <p:nvPr>
            <p:ph type="body" sz="quarter" idx="28"/>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p:txBody>
      </p:sp>
      <p:sp>
        <p:nvSpPr>
          <p:cNvPr id="79" name="Text Placeholder 78">
            <a:extLst>
              <a:ext uri="{FF2B5EF4-FFF2-40B4-BE49-F238E27FC236}">
                <a16:creationId xmlns:a16="http://schemas.microsoft.com/office/drawing/2014/main" id="{A77A5204-B502-4025-BFC3-B560AEF7B2D7}"/>
              </a:ext>
            </a:extLst>
          </p:cNvPr>
          <p:cNvSpPr>
            <a:spLocks noGrp="1"/>
          </p:cNvSpPr>
          <p:nvPr>
            <p:ph type="body" sz="quarter" idx="30"/>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isk</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 and services</a:t>
            </a:r>
          </a:p>
        </p:txBody>
      </p:sp>
      <p:sp>
        <p:nvSpPr>
          <p:cNvPr id="80" name="Text Placeholder 79">
            <a:extLst>
              <a:ext uri="{FF2B5EF4-FFF2-40B4-BE49-F238E27FC236}">
                <a16:creationId xmlns:a16="http://schemas.microsoft.com/office/drawing/2014/main" id="{E7485B90-2420-4983-BA4E-9D4E3E450445}"/>
              </a:ext>
            </a:extLst>
          </p:cNvPr>
          <p:cNvSpPr>
            <a:spLocks noGrp="1"/>
          </p:cNvSpPr>
          <p:nvPr>
            <p:ph type="body" sz="quarter" idx="31"/>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rvice data </a:t>
            </a:r>
          </a:p>
        </p:txBody>
      </p:sp>
      <p:sp>
        <p:nvSpPr>
          <p:cNvPr id="22" name="Text Placeholder 21">
            <a:extLst>
              <a:ext uri="{FF2B5EF4-FFF2-40B4-BE49-F238E27FC236}">
                <a16:creationId xmlns:a16="http://schemas.microsoft.com/office/drawing/2014/main" id="{1CEC16F6-2851-4909-AEB4-D3C029BD8B3D}"/>
              </a:ext>
            </a:extLst>
          </p:cNvPr>
          <p:cNvSpPr>
            <a:spLocks noGrp="1"/>
          </p:cNvSpPr>
          <p:nvPr>
            <p:ph type="body" sz="quarter" idx="36"/>
          </p:nvPr>
        </p:nvSpPr>
        <p:spPr>
          <a:xfrm>
            <a:off x="460375" y="4076371"/>
            <a:ext cx="1852613" cy="1369606"/>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360</a:t>
            </a:r>
            <a:br>
              <a:rPr lang="en-US" dirty="0">
                <a:latin typeface="Segoe UI" panose="020B0502040204020203" pitchFamily="34" charset="0"/>
                <a:cs typeface="Segoe UI" panose="020B0502040204020203" pitchFamily="34" charset="0"/>
                <a:sym typeface="Source Sans Pro Light"/>
              </a:rPr>
            </a:br>
            <a:r>
              <a:rPr lang="en-US" dirty="0">
                <a:latin typeface="Segoe UI" panose="020B0502040204020203" pitchFamily="34" charset="0"/>
                <a:cs typeface="Segoe UI" panose="020B0502040204020203" pitchFamily="34" charset="0"/>
                <a:sym typeface="Source Sans Pro Light"/>
              </a:rPr>
              <a:t>degree evaluation </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segmenta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duced customer chur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Underwriting, servicing and delinquency handl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Insights for new products</a:t>
            </a:r>
          </a:p>
        </p:txBody>
      </p:sp>
      <p:sp>
        <p:nvSpPr>
          <p:cNvPr id="23" name="Text Placeholder 22">
            <a:extLst>
              <a:ext uri="{FF2B5EF4-FFF2-40B4-BE49-F238E27FC236}">
                <a16:creationId xmlns:a16="http://schemas.microsoft.com/office/drawing/2014/main" id="{CE675070-6A0A-4389-9C50-AA08403399C8}"/>
              </a:ext>
            </a:extLst>
          </p:cNvPr>
          <p:cNvSpPr>
            <a:spLocks noGrp="1"/>
          </p:cNvSpPr>
          <p:nvPr>
            <p:ph type="body" sz="quarter" idx="37"/>
          </p:nvPr>
        </p:nvSpPr>
        <p:spPr>
          <a:xfrm>
            <a:off x="2815629" y="4076371"/>
            <a:ext cx="1852613" cy="1077218"/>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ommercial/retail banking, securities, trading and  investment models</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Decision science, simulations and forecast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Investment recommendations</a:t>
            </a:r>
          </a:p>
        </p:txBody>
      </p:sp>
      <p:sp>
        <p:nvSpPr>
          <p:cNvPr id="24" name="Text Placeholder 23">
            <a:extLst>
              <a:ext uri="{FF2B5EF4-FFF2-40B4-BE49-F238E27FC236}">
                <a16:creationId xmlns:a16="http://schemas.microsoft.com/office/drawing/2014/main" id="{7A133170-0275-45A6-912C-59AA26E7493C}"/>
              </a:ext>
            </a:extLst>
          </p:cNvPr>
          <p:cNvSpPr>
            <a:spLocks noGrp="1"/>
          </p:cNvSpPr>
          <p:nvPr>
            <p:ph type="body" sz="quarter" idx="38"/>
          </p:nvPr>
        </p:nvSpPr>
        <p:spPr>
          <a:xfrm>
            <a:off x="5170155" y="4076371"/>
            <a:ext cx="1852613" cy="1015663"/>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al-time anomaly detec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ard monitoring and fraud detection </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Security threat identifica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isk aggregation</a:t>
            </a:r>
          </a:p>
        </p:txBody>
      </p:sp>
      <p:sp>
        <p:nvSpPr>
          <p:cNvPr id="25" name="Text Placeholder 24">
            <a:extLst>
              <a:ext uri="{FF2B5EF4-FFF2-40B4-BE49-F238E27FC236}">
                <a16:creationId xmlns:a16="http://schemas.microsoft.com/office/drawing/2014/main" id="{760C2300-0DBD-4E0D-ABA1-4AD9C6C4AD0A}"/>
              </a:ext>
            </a:extLst>
          </p:cNvPr>
          <p:cNvSpPr>
            <a:spLocks noGrp="1"/>
          </p:cNvSpPr>
          <p:nvPr>
            <p:ph type="body" sz="quarter" idx="39"/>
          </p:nvPr>
        </p:nvSpPr>
        <p:spPr>
          <a:xfrm>
            <a:off x="7520214" y="4076371"/>
            <a:ext cx="1852613" cy="1015663"/>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Enterprise DataHub</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gulatory and</a:t>
            </a:r>
            <a:br>
              <a:rPr lang="en-US" dirty="0">
                <a:latin typeface="Segoe UI" panose="020B0502040204020203" pitchFamily="34" charset="0"/>
                <a:cs typeface="Segoe UI" panose="020B0502040204020203" pitchFamily="34" charset="0"/>
                <a:sym typeface="Source Sans Pro Light"/>
              </a:rPr>
            </a:br>
            <a:r>
              <a:rPr lang="en-US" dirty="0">
                <a:latin typeface="Segoe UI" panose="020B0502040204020203" pitchFamily="34" charset="0"/>
                <a:cs typeface="Segoe UI" panose="020B0502040204020203" pitchFamily="34" charset="0"/>
                <a:sym typeface="Source Sans Pro Light"/>
              </a:rPr>
              <a:t>compliance analysis</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redit risk management</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Automated credit analytics</a:t>
            </a:r>
          </a:p>
        </p:txBody>
      </p:sp>
      <p:sp>
        <p:nvSpPr>
          <p:cNvPr id="26" name="Text Placeholder 25">
            <a:extLst>
              <a:ext uri="{FF2B5EF4-FFF2-40B4-BE49-F238E27FC236}">
                <a16:creationId xmlns:a16="http://schemas.microsoft.com/office/drawing/2014/main" id="{82023C09-B9A9-4034-A082-7F8DF2B0A5A2}"/>
              </a:ext>
            </a:extLst>
          </p:cNvPr>
          <p:cNvSpPr>
            <a:spLocks noGrp="1"/>
          </p:cNvSpPr>
          <p:nvPr>
            <p:ph type="body" sz="quarter" idx="40"/>
          </p:nvPr>
        </p:nvSpPr>
        <p:spPr>
          <a:xfrm>
            <a:off x="9876858" y="4076371"/>
            <a:ext cx="1852613" cy="1154162"/>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commendation engine</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Predictive analytics and targeted advertis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Fast marketing and multi-channel engagement</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sentiment analysis</a:t>
            </a:r>
          </a:p>
        </p:txBody>
      </p:sp>
      <p:sp>
        <p:nvSpPr>
          <p:cNvPr id="81" name="Text Placeholder 80">
            <a:extLst>
              <a:ext uri="{FF2B5EF4-FFF2-40B4-BE49-F238E27FC236}">
                <a16:creationId xmlns:a16="http://schemas.microsoft.com/office/drawing/2014/main" id="{BB04CA12-67E7-4F46-A28C-AB2678ADC3B3}"/>
              </a:ext>
            </a:extLst>
          </p:cNvPr>
          <p:cNvSpPr>
            <a:spLocks noGrp="1"/>
          </p:cNvSpPr>
          <p:nvPr>
            <p:ph type="body" sz="quarter" idx="41"/>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p:txBody>
      </p:sp>
      <p:sp>
        <p:nvSpPr>
          <p:cNvPr id="28" name="Text Placeholder 27">
            <a:extLst>
              <a:ext uri="{FF2B5EF4-FFF2-40B4-BE49-F238E27FC236}">
                <a16:creationId xmlns:a16="http://schemas.microsoft.com/office/drawing/2014/main" id="{086C5C07-1DC3-417E-99D1-59F7619F0DEE}"/>
              </a:ext>
            </a:extLst>
          </p:cNvPr>
          <p:cNvSpPr>
            <a:spLocks noGrp="1"/>
          </p:cNvSpPr>
          <p:nvPr>
            <p:ph type="body" sz="quarter" idx="42"/>
          </p:nvPr>
        </p:nvSpPr>
        <p:spPr>
          <a:xfrm>
            <a:off x="460375" y="1118054"/>
            <a:ext cx="1852201" cy="400110"/>
          </a:xfrm>
        </p:spPr>
        <p:txBody>
          <a:bodyPr/>
          <a:lstStyle/>
          <a:p>
            <a:r>
              <a:rPr lang="en-US" dirty="0">
                <a:latin typeface="+mj-lt"/>
                <a:sym typeface="Source Sans Pro"/>
              </a:rPr>
              <a:t>Effective customer </a:t>
            </a:r>
            <a:br>
              <a:rPr lang="en-US" dirty="0">
                <a:latin typeface="+mj-lt"/>
                <a:sym typeface="Source Sans Pro"/>
              </a:rPr>
            </a:br>
            <a:r>
              <a:rPr lang="en-US" dirty="0">
                <a:latin typeface="+mj-lt"/>
                <a:sym typeface="Source Sans Pro"/>
              </a:rPr>
              <a:t>engagement</a:t>
            </a:r>
          </a:p>
        </p:txBody>
      </p:sp>
      <p:sp>
        <p:nvSpPr>
          <p:cNvPr id="29" name="Text Placeholder 28">
            <a:extLst>
              <a:ext uri="{FF2B5EF4-FFF2-40B4-BE49-F238E27FC236}">
                <a16:creationId xmlns:a16="http://schemas.microsoft.com/office/drawing/2014/main" id="{27EFFF75-5EE8-4DBF-85F7-3B9C73B844A3}"/>
              </a:ext>
            </a:extLst>
          </p:cNvPr>
          <p:cNvSpPr>
            <a:spLocks noGrp="1"/>
          </p:cNvSpPr>
          <p:nvPr>
            <p:ph type="body" sz="quarter" idx="43"/>
          </p:nvPr>
        </p:nvSpPr>
        <p:spPr>
          <a:xfrm>
            <a:off x="2815629" y="1118054"/>
            <a:ext cx="1852201" cy="733534"/>
          </a:xfrm>
        </p:spPr>
        <p:txBody>
          <a:bodyPr/>
          <a:lstStyle/>
          <a:p>
            <a:r>
              <a:rPr lang="en-US" dirty="0">
                <a:latin typeface="+mj-lt"/>
                <a:sym typeface="Source Sans Pro"/>
              </a:rPr>
              <a:t>Decision services </a:t>
            </a:r>
            <a:br>
              <a:rPr lang="en-US" dirty="0">
                <a:latin typeface="+mj-lt"/>
                <a:sym typeface="Source Sans Pro"/>
              </a:rPr>
            </a:br>
            <a:r>
              <a:rPr lang="en-US" dirty="0">
                <a:latin typeface="+mj-lt"/>
                <a:sym typeface="Source Sans Pro"/>
              </a:rPr>
              <a:t>management</a:t>
            </a:r>
          </a:p>
          <a:p>
            <a:endParaRPr lang="en-US" dirty="0">
              <a:latin typeface="+mj-lt"/>
            </a:endParaRPr>
          </a:p>
        </p:txBody>
      </p:sp>
      <p:sp>
        <p:nvSpPr>
          <p:cNvPr id="82" name="Text Placeholder 81">
            <a:extLst>
              <a:ext uri="{FF2B5EF4-FFF2-40B4-BE49-F238E27FC236}">
                <a16:creationId xmlns:a16="http://schemas.microsoft.com/office/drawing/2014/main" id="{C88E1702-8217-48BB-9EAE-F9797BAFB913}"/>
              </a:ext>
            </a:extLst>
          </p:cNvPr>
          <p:cNvSpPr>
            <a:spLocks noGrp="1"/>
          </p:cNvSpPr>
          <p:nvPr>
            <p:ph type="body" sz="quarter" idx="44"/>
          </p:nvPr>
        </p:nvSpPr>
        <p:spPr>
          <a:xfrm>
            <a:off x="5170155" y="1118054"/>
            <a:ext cx="1852201" cy="400110"/>
          </a:xfrm>
        </p:spPr>
        <p:txBody>
          <a:bodyPr/>
          <a:lstStyle/>
          <a:p>
            <a:r>
              <a:rPr lang="en-US" dirty="0">
                <a:latin typeface="+mj-lt"/>
                <a:sym typeface="Source Sans Pro"/>
              </a:rPr>
              <a:t>Risk and revenue </a:t>
            </a:r>
            <a:br>
              <a:rPr lang="en-US" dirty="0">
                <a:latin typeface="+mj-lt"/>
                <a:sym typeface="Source Sans Pro"/>
              </a:rPr>
            </a:br>
            <a:r>
              <a:rPr lang="en-US" dirty="0">
                <a:latin typeface="+mj-lt"/>
                <a:sym typeface="Source Sans Pro"/>
              </a:rPr>
              <a:t>management</a:t>
            </a:r>
          </a:p>
        </p:txBody>
      </p:sp>
      <p:sp>
        <p:nvSpPr>
          <p:cNvPr id="83" name="Text Placeholder 82">
            <a:extLst>
              <a:ext uri="{FF2B5EF4-FFF2-40B4-BE49-F238E27FC236}">
                <a16:creationId xmlns:a16="http://schemas.microsoft.com/office/drawing/2014/main" id="{4BDB46C7-0CE1-466F-ABB4-6E3992A21EBE}"/>
              </a:ext>
            </a:extLst>
          </p:cNvPr>
          <p:cNvSpPr>
            <a:spLocks noGrp="1"/>
          </p:cNvSpPr>
          <p:nvPr>
            <p:ph type="body" sz="quarter" idx="45"/>
          </p:nvPr>
        </p:nvSpPr>
        <p:spPr>
          <a:xfrm>
            <a:off x="7520626" y="1118054"/>
            <a:ext cx="1852201" cy="400110"/>
          </a:xfrm>
        </p:spPr>
        <p:txBody>
          <a:bodyPr/>
          <a:lstStyle/>
          <a:p>
            <a:r>
              <a:rPr lang="en-US" dirty="0">
                <a:latin typeface="+mj-lt"/>
                <a:sym typeface="Source Sans Pro"/>
              </a:rPr>
              <a:t>Risk and compliance </a:t>
            </a:r>
            <a:br>
              <a:rPr lang="en-US" dirty="0">
                <a:latin typeface="+mj-lt"/>
                <a:sym typeface="Source Sans Pro"/>
              </a:rPr>
            </a:br>
            <a:r>
              <a:rPr lang="en-US" dirty="0">
                <a:latin typeface="+mj-lt"/>
                <a:sym typeface="Source Sans Pro"/>
              </a:rPr>
              <a:t>management</a:t>
            </a:r>
          </a:p>
        </p:txBody>
      </p:sp>
      <p:sp>
        <p:nvSpPr>
          <p:cNvPr id="84" name="Text Placeholder 83">
            <a:extLst>
              <a:ext uri="{FF2B5EF4-FFF2-40B4-BE49-F238E27FC236}">
                <a16:creationId xmlns:a16="http://schemas.microsoft.com/office/drawing/2014/main" id="{345C3785-D6EC-40BC-96A1-740A5340B258}"/>
              </a:ext>
            </a:extLst>
          </p:cNvPr>
          <p:cNvSpPr>
            <a:spLocks noGrp="1"/>
          </p:cNvSpPr>
          <p:nvPr>
            <p:ph type="body" sz="quarter" idx="46"/>
          </p:nvPr>
        </p:nvSpPr>
        <p:spPr>
          <a:xfrm>
            <a:off x="9876128" y="1118054"/>
            <a:ext cx="1852201" cy="400110"/>
          </a:xfrm>
        </p:spPr>
        <p:txBody>
          <a:bodyPr/>
          <a:lstStyle/>
          <a:p>
            <a:r>
              <a:rPr lang="en-US" dirty="0">
                <a:latin typeface="+mj-lt"/>
                <a:sym typeface="Source Sans Pro"/>
              </a:rPr>
              <a:t>Recommendation </a:t>
            </a:r>
            <a:br>
              <a:rPr lang="en-US" dirty="0">
                <a:latin typeface="+mj-lt"/>
                <a:sym typeface="Source Sans Pro"/>
              </a:rPr>
            </a:br>
            <a:r>
              <a:rPr lang="en-US" dirty="0">
                <a:latin typeface="+mj-lt"/>
                <a:sym typeface="Source Sans Pro"/>
              </a:rPr>
              <a:t>engine</a:t>
            </a:r>
          </a:p>
        </p:txBody>
      </p:sp>
      <p:grpSp>
        <p:nvGrpSpPr>
          <p:cNvPr id="152" name="Group 151">
            <a:extLst>
              <a:ext uri="{FF2B5EF4-FFF2-40B4-BE49-F238E27FC236}">
                <a16:creationId xmlns:a16="http://schemas.microsoft.com/office/drawing/2014/main" id="{F2C32587-31A7-B14A-BCBD-90B8019DABF8}"/>
              </a:ext>
            </a:extLst>
          </p:cNvPr>
          <p:cNvGrpSpPr/>
          <p:nvPr/>
        </p:nvGrpSpPr>
        <p:grpSpPr>
          <a:xfrm>
            <a:off x="1186508" y="3098458"/>
            <a:ext cx="417672" cy="294374"/>
            <a:chOff x="917486" y="1658380"/>
            <a:chExt cx="544658" cy="383874"/>
          </a:xfrm>
        </p:grpSpPr>
        <p:sp>
          <p:nvSpPr>
            <p:cNvPr id="153" name="Freeform 5">
              <a:extLst>
                <a:ext uri="{FF2B5EF4-FFF2-40B4-BE49-F238E27FC236}">
                  <a16:creationId xmlns:a16="http://schemas.microsoft.com/office/drawing/2014/main" id="{E3A1BD01-FC93-664C-9CC5-C1A3CCC4129D}"/>
                </a:ext>
              </a:extLst>
            </p:cNvPr>
            <p:cNvSpPr>
              <a:spLocks noEditPoints="1"/>
            </p:cNvSpPr>
            <p:nvPr/>
          </p:nvSpPr>
          <p:spPr bwMode="auto">
            <a:xfrm>
              <a:off x="917486" y="1658380"/>
              <a:ext cx="334834" cy="37411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C5C778A9-73B1-2C4F-B906-7F6EC8F43F2D}"/>
                </a:ext>
              </a:extLst>
            </p:cNvPr>
            <p:cNvSpPr/>
            <p:nvPr/>
          </p:nvSpPr>
          <p:spPr bwMode="auto">
            <a:xfrm>
              <a:off x="1292344" y="1872454"/>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5" name="Rectangle 154">
              <a:extLst>
                <a:ext uri="{FF2B5EF4-FFF2-40B4-BE49-F238E27FC236}">
                  <a16:creationId xmlns:a16="http://schemas.microsoft.com/office/drawing/2014/main" id="{8C2A8C02-F364-BC4D-AC7C-8DD20698079E}"/>
                </a:ext>
              </a:extLst>
            </p:cNvPr>
            <p:cNvSpPr/>
            <p:nvPr/>
          </p:nvSpPr>
          <p:spPr bwMode="auto">
            <a:xfrm>
              <a:off x="1292344" y="1658380"/>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56" name="Group 155">
              <a:extLst>
                <a:ext uri="{FF2B5EF4-FFF2-40B4-BE49-F238E27FC236}">
                  <a16:creationId xmlns:a16="http://schemas.microsoft.com/office/drawing/2014/main" id="{A76AD42B-8EF3-B24F-A1C7-B1986DFC5A91}"/>
                </a:ext>
              </a:extLst>
            </p:cNvPr>
            <p:cNvGrpSpPr/>
            <p:nvPr/>
          </p:nvGrpSpPr>
          <p:grpSpPr>
            <a:xfrm>
              <a:off x="1317491" y="1703232"/>
              <a:ext cx="118798" cy="103908"/>
              <a:chOff x="4043611" y="1845129"/>
              <a:chExt cx="486303" cy="444500"/>
            </a:xfrm>
            <a:solidFill>
              <a:schemeClr val="bg1"/>
            </a:solidFill>
          </p:grpSpPr>
          <p:sp>
            <p:nvSpPr>
              <p:cNvPr id="158" name="Rectangle 157">
                <a:extLst>
                  <a:ext uri="{FF2B5EF4-FFF2-40B4-BE49-F238E27FC236}">
                    <a16:creationId xmlns:a16="http://schemas.microsoft.com/office/drawing/2014/main" id="{FDB0D211-EFC7-2947-9927-DC6C5D270B77}"/>
                  </a:ext>
                </a:extLst>
              </p:cNvPr>
              <p:cNvSpPr/>
              <p:nvPr/>
            </p:nvSpPr>
            <p:spPr bwMode="auto">
              <a:xfrm>
                <a:off x="4043611" y="1845129"/>
                <a:ext cx="120588" cy="44450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9" name="Rectangle 158">
                <a:extLst>
                  <a:ext uri="{FF2B5EF4-FFF2-40B4-BE49-F238E27FC236}">
                    <a16:creationId xmlns:a16="http://schemas.microsoft.com/office/drawing/2014/main" id="{10A57776-FAB2-BE4D-B8BA-F211CB877ED4}"/>
                  </a:ext>
                </a:extLst>
              </p:cNvPr>
              <p:cNvSpPr/>
              <p:nvPr/>
            </p:nvSpPr>
            <p:spPr bwMode="auto">
              <a:xfrm>
                <a:off x="4226468" y="1943239"/>
                <a:ext cx="120588" cy="34639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0" name="Rectangle 159">
                <a:extLst>
                  <a:ext uri="{FF2B5EF4-FFF2-40B4-BE49-F238E27FC236}">
                    <a16:creationId xmlns:a16="http://schemas.microsoft.com/office/drawing/2014/main" id="{772F022C-5A69-134D-8CBA-D9ACB60E5981}"/>
                  </a:ext>
                </a:extLst>
              </p:cNvPr>
              <p:cNvSpPr/>
              <p:nvPr/>
            </p:nvSpPr>
            <p:spPr bwMode="auto">
              <a:xfrm>
                <a:off x="4409326" y="2123442"/>
                <a:ext cx="120588" cy="166187"/>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57" name="Block Arc 156">
              <a:extLst>
                <a:ext uri="{FF2B5EF4-FFF2-40B4-BE49-F238E27FC236}">
                  <a16:creationId xmlns:a16="http://schemas.microsoft.com/office/drawing/2014/main" id="{A96A3549-FA9F-6647-A288-E26576100F89}"/>
                </a:ext>
              </a:extLst>
            </p:cNvPr>
            <p:cNvSpPr/>
            <p:nvPr/>
          </p:nvSpPr>
          <p:spPr bwMode="auto">
            <a:xfrm rot="5400000">
              <a:off x="1319072" y="1899182"/>
              <a:ext cx="116343" cy="116343"/>
            </a:xfrm>
            <a:prstGeom prst="blockArc">
              <a:avLst>
                <a:gd name="adj1" fmla="val 10800000"/>
                <a:gd name="adj2" fmla="val 6194989"/>
                <a:gd name="adj3" fmla="val 35445"/>
              </a:avLst>
            </a:prstGeom>
            <a:solidFill>
              <a:schemeClr val="bg1"/>
            </a:solidFill>
            <a:ln w="15875" cap="rnd">
              <a:solidFill>
                <a:schemeClr val="tx1"/>
              </a:solidFill>
              <a:miter lim="800000"/>
              <a:headEnd/>
              <a:tailEn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grpSp>
      <p:grpSp>
        <p:nvGrpSpPr>
          <p:cNvPr id="100" name="Group 99">
            <a:extLst>
              <a:ext uri="{FF2B5EF4-FFF2-40B4-BE49-F238E27FC236}">
                <a16:creationId xmlns:a16="http://schemas.microsoft.com/office/drawing/2014/main" id="{F79493AC-AF61-9F49-A3ED-4DC7633AEE64}"/>
              </a:ext>
            </a:extLst>
          </p:cNvPr>
          <p:cNvGrpSpPr/>
          <p:nvPr/>
        </p:nvGrpSpPr>
        <p:grpSpPr>
          <a:xfrm>
            <a:off x="5934230" y="3099191"/>
            <a:ext cx="322176" cy="292908"/>
            <a:chOff x="4530976" y="2990126"/>
            <a:chExt cx="231285" cy="210274"/>
          </a:xfrm>
        </p:grpSpPr>
        <p:sp>
          <p:nvSpPr>
            <p:cNvPr id="101" name="Freeform 5">
              <a:extLst>
                <a:ext uri="{FF2B5EF4-FFF2-40B4-BE49-F238E27FC236}">
                  <a16:creationId xmlns:a16="http://schemas.microsoft.com/office/drawing/2014/main" id="{101A0B8F-4A61-3347-9DCC-144BD4390FBB}"/>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2" name="Group 101">
              <a:extLst>
                <a:ext uri="{FF2B5EF4-FFF2-40B4-BE49-F238E27FC236}">
                  <a16:creationId xmlns:a16="http://schemas.microsoft.com/office/drawing/2014/main" id="{75682166-BD46-7E46-8C8C-38F251BB9B37}"/>
                </a:ext>
              </a:extLst>
            </p:cNvPr>
            <p:cNvGrpSpPr/>
            <p:nvPr/>
          </p:nvGrpSpPr>
          <p:grpSpPr>
            <a:xfrm>
              <a:off x="4646619" y="3052307"/>
              <a:ext cx="0" cy="114206"/>
              <a:chOff x="4791447" y="2616042"/>
              <a:chExt cx="0" cy="1333767"/>
            </a:xfrm>
          </p:grpSpPr>
          <p:cxnSp>
            <p:nvCxnSpPr>
              <p:cNvPr id="103" name="Straight Connector 102">
                <a:extLst>
                  <a:ext uri="{FF2B5EF4-FFF2-40B4-BE49-F238E27FC236}">
                    <a16:creationId xmlns:a16="http://schemas.microsoft.com/office/drawing/2014/main" id="{5F039D5D-31A8-0849-8251-EC8D64985C84}"/>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081B4AE-3323-A443-9BDE-971AFCD52033}"/>
                  </a:ext>
                </a:extLst>
              </p:cNvPr>
              <p:cNvCxnSpPr>
                <a:cxnSpLocks/>
              </p:cNvCxnSpPr>
              <p:nvPr/>
            </p:nvCxnSpPr>
            <p:spPr>
              <a:xfrm>
                <a:off x="4791447" y="3793904"/>
                <a:ext cx="0" cy="15590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E9269048-0052-0744-8F8D-1668199ECD91}"/>
              </a:ext>
            </a:extLst>
          </p:cNvPr>
          <p:cNvGrpSpPr/>
          <p:nvPr/>
        </p:nvGrpSpPr>
        <p:grpSpPr>
          <a:xfrm>
            <a:off x="8233083" y="3063850"/>
            <a:ext cx="426877" cy="363590"/>
            <a:chOff x="7805727" y="1706954"/>
            <a:chExt cx="528015" cy="449734"/>
          </a:xfrm>
        </p:grpSpPr>
        <p:grpSp>
          <p:nvGrpSpPr>
            <p:cNvPr id="106" name="Group 105">
              <a:extLst>
                <a:ext uri="{FF2B5EF4-FFF2-40B4-BE49-F238E27FC236}">
                  <a16:creationId xmlns:a16="http://schemas.microsoft.com/office/drawing/2014/main" id="{E867CD01-A939-6346-BCF6-8005AE8BBC50}"/>
                </a:ext>
              </a:extLst>
            </p:cNvPr>
            <p:cNvGrpSpPr/>
            <p:nvPr/>
          </p:nvGrpSpPr>
          <p:grpSpPr>
            <a:xfrm>
              <a:off x="7921572" y="1706954"/>
              <a:ext cx="412170" cy="341878"/>
              <a:chOff x="8073681" y="1706954"/>
              <a:chExt cx="614480" cy="341878"/>
            </a:xfrm>
            <a:solidFill>
              <a:schemeClr val="bg1"/>
            </a:solidFill>
          </p:grpSpPr>
          <p:sp>
            <p:nvSpPr>
              <p:cNvPr id="112" name="Freeform 5">
                <a:extLst>
                  <a:ext uri="{FF2B5EF4-FFF2-40B4-BE49-F238E27FC236}">
                    <a16:creationId xmlns:a16="http://schemas.microsoft.com/office/drawing/2014/main" id="{ED29E458-97AA-B34A-980A-F842594FF81D}"/>
                  </a:ext>
                </a:extLst>
              </p:cNvPr>
              <p:cNvSpPr>
                <a:spLocks/>
              </p:cNvSpPr>
              <p:nvPr/>
            </p:nvSpPr>
            <p:spPr bwMode="auto">
              <a:xfrm>
                <a:off x="8073681" y="1706954"/>
                <a:ext cx="614480" cy="341877"/>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3" name="Rectangle 6">
                <a:extLst>
                  <a:ext uri="{FF2B5EF4-FFF2-40B4-BE49-F238E27FC236}">
                    <a16:creationId xmlns:a16="http://schemas.microsoft.com/office/drawing/2014/main" id="{358C0450-FC18-984C-B4F8-59A8A32E884C}"/>
                  </a:ext>
                </a:extLst>
              </p:cNvPr>
              <p:cNvSpPr>
                <a:spLocks noChangeArrowheads="1"/>
              </p:cNvSpPr>
              <p:nvPr/>
            </p:nvSpPr>
            <p:spPr bwMode="auto">
              <a:xfrm>
                <a:off x="8150170" y="1854745"/>
                <a:ext cx="46767"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5DCBEAAA-1E02-9644-B501-B9B2FABA1BAA}"/>
                  </a:ext>
                </a:extLst>
              </p:cNvPr>
              <p:cNvSpPr>
                <a:spLocks noChangeArrowheads="1"/>
              </p:cNvSpPr>
              <p:nvPr/>
            </p:nvSpPr>
            <p:spPr bwMode="auto">
              <a:xfrm>
                <a:off x="8261021" y="1749711"/>
                <a:ext cx="48804" cy="299121"/>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5207556B-955F-934C-A69B-5D19CAB9D898}"/>
                  </a:ext>
                </a:extLst>
              </p:cNvPr>
              <p:cNvSpPr>
                <a:spLocks noChangeArrowheads="1"/>
              </p:cNvSpPr>
              <p:nvPr/>
            </p:nvSpPr>
            <p:spPr bwMode="auto">
              <a:xfrm>
                <a:off x="8374123" y="1811339"/>
                <a:ext cx="48804" cy="23749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6" name="Rectangle 6">
                <a:extLst>
                  <a:ext uri="{FF2B5EF4-FFF2-40B4-BE49-F238E27FC236}">
                    <a16:creationId xmlns:a16="http://schemas.microsoft.com/office/drawing/2014/main" id="{D70556CA-C747-0747-A994-D6E50A7EB948}"/>
                  </a:ext>
                </a:extLst>
              </p:cNvPr>
              <p:cNvSpPr>
                <a:spLocks noChangeArrowheads="1"/>
              </p:cNvSpPr>
              <p:nvPr/>
            </p:nvSpPr>
            <p:spPr bwMode="auto">
              <a:xfrm>
                <a:off x="8487012" y="1922897"/>
                <a:ext cx="46767" cy="125935"/>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7" name="Rectangle 7">
                <a:extLst>
                  <a:ext uri="{FF2B5EF4-FFF2-40B4-BE49-F238E27FC236}">
                    <a16:creationId xmlns:a16="http://schemas.microsoft.com/office/drawing/2014/main" id="{E63A2484-3DED-3F4B-A5F3-F98EEA38008C}"/>
                  </a:ext>
                </a:extLst>
              </p:cNvPr>
              <p:cNvSpPr>
                <a:spLocks noChangeArrowheads="1"/>
              </p:cNvSpPr>
              <p:nvPr/>
            </p:nvSpPr>
            <p:spPr bwMode="auto">
              <a:xfrm>
                <a:off x="8597863" y="1854745"/>
                <a:ext cx="48804"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7" name="Group 106">
              <a:extLst>
                <a:ext uri="{FF2B5EF4-FFF2-40B4-BE49-F238E27FC236}">
                  <a16:creationId xmlns:a16="http://schemas.microsoft.com/office/drawing/2014/main" id="{1521F2D6-EABF-8748-ADB2-EF3A58D90A56}"/>
                </a:ext>
              </a:extLst>
            </p:cNvPr>
            <p:cNvGrpSpPr/>
            <p:nvPr/>
          </p:nvGrpSpPr>
          <p:grpSpPr>
            <a:xfrm>
              <a:off x="7805727" y="1919038"/>
              <a:ext cx="326372" cy="237650"/>
              <a:chOff x="6896100" y="2562568"/>
              <a:chExt cx="2444545" cy="1780014"/>
            </a:xfrm>
            <a:solidFill>
              <a:schemeClr val="bg1"/>
            </a:solidFill>
          </p:grpSpPr>
          <p:sp>
            <p:nvSpPr>
              <p:cNvPr id="108" name="Rounded Rectangle 109">
                <a:extLst>
                  <a:ext uri="{FF2B5EF4-FFF2-40B4-BE49-F238E27FC236}">
                    <a16:creationId xmlns:a16="http://schemas.microsoft.com/office/drawing/2014/main" id="{A05B9D40-02E7-7440-8C62-BE93BCBB5A82}"/>
                  </a:ext>
                </a:extLst>
              </p:cNvPr>
              <p:cNvSpPr/>
              <p:nvPr/>
            </p:nvSpPr>
            <p:spPr bwMode="auto">
              <a:xfrm>
                <a:off x="6896100" y="2562568"/>
                <a:ext cx="2444545" cy="1780014"/>
              </a:xfrm>
              <a:prstGeom prst="round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595EF2B0-AF42-1F41-8EA5-60CBA9CD16A9}"/>
                  </a:ext>
                </a:extLst>
              </p:cNvPr>
              <p:cNvCxnSpPr/>
              <p:nvPr/>
            </p:nvCxnSpPr>
            <p:spPr>
              <a:xfrm>
                <a:off x="6896100" y="3049104"/>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7C8004D-D8EE-6042-9D73-9E6D9A967AC1}"/>
                  </a:ext>
                </a:extLst>
              </p:cNvPr>
              <p:cNvCxnSpPr/>
              <p:nvPr/>
            </p:nvCxnSpPr>
            <p:spPr>
              <a:xfrm>
                <a:off x="6896100" y="3262707"/>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Rounded Rectangle 112">
                <a:extLst>
                  <a:ext uri="{FF2B5EF4-FFF2-40B4-BE49-F238E27FC236}">
                    <a16:creationId xmlns:a16="http://schemas.microsoft.com/office/drawing/2014/main" id="{675F0A38-DD4C-4349-914B-BAF30D5C6CE8}"/>
                  </a:ext>
                </a:extLst>
              </p:cNvPr>
              <p:cNvSpPr/>
              <p:nvPr/>
            </p:nvSpPr>
            <p:spPr bwMode="auto">
              <a:xfrm>
                <a:off x="7128691" y="3725511"/>
                <a:ext cx="569604" cy="379738"/>
              </a:xfrm>
              <a:prstGeom prst="roundRect">
                <a:avLst>
                  <a:gd name="adj" fmla="val 25028"/>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8" name="Group 117">
            <a:extLst>
              <a:ext uri="{FF2B5EF4-FFF2-40B4-BE49-F238E27FC236}">
                <a16:creationId xmlns:a16="http://schemas.microsoft.com/office/drawing/2014/main" id="{90DEBADC-3A18-6B47-A171-400371068AB4}"/>
              </a:ext>
            </a:extLst>
          </p:cNvPr>
          <p:cNvGrpSpPr/>
          <p:nvPr/>
        </p:nvGrpSpPr>
        <p:grpSpPr>
          <a:xfrm>
            <a:off x="10535828" y="3093112"/>
            <a:ext cx="533532" cy="305067"/>
            <a:chOff x="3422472" y="3216171"/>
            <a:chExt cx="773774" cy="442433"/>
          </a:xfrm>
        </p:grpSpPr>
        <p:sp useBgFill="1">
          <p:nvSpPr>
            <p:cNvPr id="119" name="Freeform 50">
              <a:extLst>
                <a:ext uri="{FF2B5EF4-FFF2-40B4-BE49-F238E27FC236}">
                  <a16:creationId xmlns:a16="http://schemas.microsoft.com/office/drawing/2014/main" id="{737435F5-A1A2-9B40-948C-4323D1578723}"/>
                </a:ext>
              </a:extLst>
            </p:cNvPr>
            <p:cNvSpPr>
              <a:spLocks noChangeArrowheads="1"/>
            </p:cNvSpPr>
            <p:nvPr/>
          </p:nvSpPr>
          <p:spPr bwMode="auto">
            <a:xfrm>
              <a:off x="3864674" y="3429829"/>
              <a:ext cx="331572" cy="22877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120" name="Group 119">
              <a:extLst>
                <a:ext uri="{FF2B5EF4-FFF2-40B4-BE49-F238E27FC236}">
                  <a16:creationId xmlns:a16="http://schemas.microsoft.com/office/drawing/2014/main" id="{42AE9562-04AD-974A-86D3-F77E0CEDA32D}"/>
                </a:ext>
              </a:extLst>
            </p:cNvPr>
            <p:cNvGrpSpPr/>
            <p:nvPr/>
          </p:nvGrpSpPr>
          <p:grpSpPr>
            <a:xfrm>
              <a:off x="3537132" y="3216171"/>
              <a:ext cx="571433" cy="360800"/>
              <a:chOff x="992778" y="1508263"/>
              <a:chExt cx="2777318" cy="1753581"/>
            </a:xfrm>
          </p:grpSpPr>
          <p:sp useBgFill="1">
            <p:nvSpPr>
              <p:cNvPr id="139" name="Freeform 52">
                <a:extLst>
                  <a:ext uri="{FF2B5EF4-FFF2-40B4-BE49-F238E27FC236}">
                    <a16:creationId xmlns:a16="http://schemas.microsoft.com/office/drawing/2014/main" id="{4E0182D9-E899-9B40-8FF2-E5E89E6D2F19}"/>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0" name="Line 54">
                <a:extLst>
                  <a:ext uri="{FF2B5EF4-FFF2-40B4-BE49-F238E27FC236}">
                    <a16:creationId xmlns:a16="http://schemas.microsoft.com/office/drawing/2014/main" id="{9167E75F-31B3-AB47-BF1A-6EC4B8B4B7D1}"/>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1" name="Line 55">
                <a:extLst>
                  <a:ext uri="{FF2B5EF4-FFF2-40B4-BE49-F238E27FC236}">
                    <a16:creationId xmlns:a16="http://schemas.microsoft.com/office/drawing/2014/main" id="{A97B12C9-FF97-2C41-9919-CACBA4C399A9}"/>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2" name="Line 56">
                <a:extLst>
                  <a:ext uri="{FF2B5EF4-FFF2-40B4-BE49-F238E27FC236}">
                    <a16:creationId xmlns:a16="http://schemas.microsoft.com/office/drawing/2014/main" id="{9815A9FF-D1B1-CC41-99FF-BC883FB98934}"/>
                  </a:ext>
                </a:extLst>
              </p:cNvPr>
              <p:cNvSpPr>
                <a:spLocks noChangeShapeType="1"/>
              </p:cNvSpPr>
              <p:nvPr/>
            </p:nvSpPr>
            <p:spPr bwMode="auto">
              <a:xfrm flipH="1">
                <a:off x="2619004" y="2629966"/>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3" name="Freeform 57">
                <a:extLst>
                  <a:ext uri="{FF2B5EF4-FFF2-40B4-BE49-F238E27FC236}">
                    <a16:creationId xmlns:a16="http://schemas.microsoft.com/office/drawing/2014/main" id="{3A32583B-7960-ED4A-AFBB-B37EFD54BEF8}"/>
                  </a:ext>
                </a:extLst>
              </p:cNvPr>
              <p:cNvSpPr>
                <a:spLocks noChangeArrowheads="1"/>
              </p:cNvSpPr>
              <p:nvPr/>
            </p:nvSpPr>
            <p:spPr bwMode="auto">
              <a:xfrm>
                <a:off x="2819836" y="2100952"/>
                <a:ext cx="298792" cy="29879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4" name="Freeform 58">
                <a:extLst>
                  <a:ext uri="{FF2B5EF4-FFF2-40B4-BE49-F238E27FC236}">
                    <a16:creationId xmlns:a16="http://schemas.microsoft.com/office/drawing/2014/main" id="{C3782D9F-5CA9-6E44-AECF-783B0FC43FA5}"/>
                  </a:ext>
                </a:extLst>
              </p:cNvPr>
              <p:cNvSpPr>
                <a:spLocks noChangeArrowheads="1"/>
              </p:cNvSpPr>
              <p:nvPr/>
            </p:nvSpPr>
            <p:spPr bwMode="auto">
              <a:xfrm>
                <a:off x="1825483" y="2350766"/>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5" name="Freeform 59">
                <a:extLst>
                  <a:ext uri="{FF2B5EF4-FFF2-40B4-BE49-F238E27FC236}">
                    <a16:creationId xmlns:a16="http://schemas.microsoft.com/office/drawing/2014/main" id="{B5121F14-830B-0E48-92E0-CA8E1A7D08BD}"/>
                  </a:ext>
                </a:extLst>
              </p:cNvPr>
              <p:cNvSpPr>
                <a:spLocks noChangeArrowheads="1"/>
              </p:cNvSpPr>
              <p:nvPr/>
            </p:nvSpPr>
            <p:spPr bwMode="auto">
              <a:xfrm>
                <a:off x="1325860" y="1851143"/>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6" name="Freeform 60">
                <a:extLst>
                  <a:ext uri="{FF2B5EF4-FFF2-40B4-BE49-F238E27FC236}">
                    <a16:creationId xmlns:a16="http://schemas.microsoft.com/office/drawing/2014/main" id="{FC80378B-B4D8-2847-85A4-5A0458CAF1C9}"/>
                  </a:ext>
                </a:extLst>
              </p:cNvPr>
              <p:cNvSpPr>
                <a:spLocks noChangeArrowheads="1"/>
              </p:cNvSpPr>
              <p:nvPr/>
            </p:nvSpPr>
            <p:spPr bwMode="auto">
              <a:xfrm>
                <a:off x="2472058" y="1753178"/>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7" name="Freeform 61">
                <a:extLst>
                  <a:ext uri="{FF2B5EF4-FFF2-40B4-BE49-F238E27FC236}">
                    <a16:creationId xmlns:a16="http://schemas.microsoft.com/office/drawing/2014/main" id="{67D73F5C-8C94-5C4F-BCE3-E6E18F5F56C4}"/>
                  </a:ext>
                </a:extLst>
              </p:cNvPr>
              <p:cNvSpPr>
                <a:spLocks noChangeArrowheads="1"/>
              </p:cNvSpPr>
              <p:nvPr/>
            </p:nvSpPr>
            <p:spPr bwMode="auto">
              <a:xfrm>
                <a:off x="3172509" y="1753178"/>
                <a:ext cx="298792"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cxnSp>
            <p:nvCxnSpPr>
              <p:cNvPr id="148" name="Straight Connector 147">
                <a:extLst>
                  <a:ext uri="{FF2B5EF4-FFF2-40B4-BE49-F238E27FC236}">
                    <a16:creationId xmlns:a16="http://schemas.microsoft.com/office/drawing/2014/main" id="{0DDDFA71-B8E3-C847-8554-C4052FBDB9B3}"/>
                  </a:ext>
                </a:extLst>
              </p:cNvPr>
              <p:cNvCxnSpPr>
                <a:cxnSpLocks/>
                <a:stCxn id="146" idx="3"/>
                <a:endCxn id="144" idx="7"/>
              </p:cNvCxnSpPr>
              <p:nvPr/>
            </p:nvCxnSpPr>
            <p:spPr>
              <a:xfrm flipH="1">
                <a:off x="2080522" y="2008213"/>
                <a:ext cx="435294" cy="38631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47198AF-28A6-8441-B13B-A0EA58D8C62D}"/>
                  </a:ext>
                </a:extLst>
              </p:cNvPr>
              <p:cNvCxnSpPr>
                <a:cxnSpLocks/>
                <a:stCxn id="145" idx="5"/>
                <a:endCxn id="144" idx="1"/>
              </p:cNvCxnSpPr>
              <p:nvPr/>
            </p:nvCxnSpPr>
            <p:spPr>
              <a:xfrm>
                <a:off x="1580899" y="2106178"/>
                <a:ext cx="288342" cy="28834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33839394-29D7-484C-928E-026B09462667}"/>
                  </a:ext>
                </a:extLst>
              </p:cNvPr>
              <p:cNvCxnSpPr>
                <a:cxnSpLocks/>
                <a:stCxn id="146" idx="5"/>
                <a:endCxn id="143" idx="1"/>
              </p:cNvCxnSpPr>
              <p:nvPr/>
            </p:nvCxnSpPr>
            <p:spPr>
              <a:xfrm>
                <a:off x="2727097" y="2008213"/>
                <a:ext cx="136496"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6F252B9-0A51-CC47-80CB-E5A2A1CC6D58}"/>
                  </a:ext>
                </a:extLst>
              </p:cNvPr>
              <p:cNvCxnSpPr>
                <a:cxnSpLocks/>
                <a:stCxn id="143" idx="7"/>
                <a:endCxn id="147" idx="3"/>
              </p:cNvCxnSpPr>
              <p:nvPr/>
            </p:nvCxnSpPr>
            <p:spPr>
              <a:xfrm flipV="1">
                <a:off x="3074871" y="2008213"/>
                <a:ext cx="141395"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CE48A6B1-388A-E94F-8511-F21C480A764F}"/>
                </a:ext>
              </a:extLst>
            </p:cNvPr>
            <p:cNvGrpSpPr/>
            <p:nvPr/>
          </p:nvGrpSpPr>
          <p:grpSpPr>
            <a:xfrm>
              <a:off x="3422472" y="3429829"/>
              <a:ext cx="311507" cy="228775"/>
              <a:chOff x="710910" y="2546699"/>
              <a:chExt cx="1514008" cy="1111905"/>
            </a:xfrm>
          </p:grpSpPr>
          <p:sp useBgFill="1">
            <p:nvSpPr>
              <p:cNvPr id="122" name="Freeform 66">
                <a:extLst>
                  <a:ext uri="{FF2B5EF4-FFF2-40B4-BE49-F238E27FC236}">
                    <a16:creationId xmlns:a16="http://schemas.microsoft.com/office/drawing/2014/main" id="{FF498D76-60D6-DB47-BBD7-F191A26B958D}"/>
                  </a:ext>
                </a:extLst>
              </p:cNvPr>
              <p:cNvSpPr>
                <a:spLocks noChangeArrowheads="1"/>
              </p:cNvSpPr>
              <p:nvPr/>
            </p:nvSpPr>
            <p:spPr bwMode="auto">
              <a:xfrm>
                <a:off x="710910" y="2546699"/>
                <a:ext cx="1514008" cy="111190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123" name="Group 122">
                <a:extLst>
                  <a:ext uri="{FF2B5EF4-FFF2-40B4-BE49-F238E27FC236}">
                    <a16:creationId xmlns:a16="http://schemas.microsoft.com/office/drawing/2014/main" id="{C4C6BC40-50F1-6B48-BED1-026ADE3BF75B}"/>
                  </a:ext>
                </a:extLst>
              </p:cNvPr>
              <p:cNvGrpSpPr/>
              <p:nvPr/>
            </p:nvGrpSpPr>
            <p:grpSpPr>
              <a:xfrm>
                <a:off x="1619756" y="3207967"/>
                <a:ext cx="406559" cy="313488"/>
                <a:chOff x="1619756" y="3207967"/>
                <a:chExt cx="406559" cy="313488"/>
              </a:xfrm>
            </p:grpSpPr>
            <p:sp useBgFill="1">
              <p:nvSpPr>
                <p:cNvPr id="134" name="Line 68">
                  <a:extLst>
                    <a:ext uri="{FF2B5EF4-FFF2-40B4-BE49-F238E27FC236}">
                      <a16:creationId xmlns:a16="http://schemas.microsoft.com/office/drawing/2014/main" id="{B809C8F6-EA45-B743-B943-457EAE54D34A}"/>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5" name="Line 69">
                  <a:extLst>
                    <a:ext uri="{FF2B5EF4-FFF2-40B4-BE49-F238E27FC236}">
                      <a16:creationId xmlns:a16="http://schemas.microsoft.com/office/drawing/2014/main" id="{400622B1-260F-2742-8620-A1EC8BCD288D}"/>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6" name="Line 70">
                  <a:extLst>
                    <a:ext uri="{FF2B5EF4-FFF2-40B4-BE49-F238E27FC236}">
                      <a16:creationId xmlns:a16="http://schemas.microsoft.com/office/drawing/2014/main" id="{3AB302A4-E962-0940-8448-A67CF1859F46}"/>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7" name="Line 71">
                  <a:extLst>
                    <a:ext uri="{FF2B5EF4-FFF2-40B4-BE49-F238E27FC236}">
                      <a16:creationId xmlns:a16="http://schemas.microsoft.com/office/drawing/2014/main" id="{C8FEC9A0-7D15-D24B-A362-4D22A80342E2}"/>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8" name="Line 72">
                  <a:extLst>
                    <a:ext uri="{FF2B5EF4-FFF2-40B4-BE49-F238E27FC236}">
                      <a16:creationId xmlns:a16="http://schemas.microsoft.com/office/drawing/2014/main" id="{F1475B7C-63C6-1441-83F0-A943DE56AF47}"/>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useBgFill="1">
            <p:nvSpPr>
              <p:cNvPr id="124" name="Line 73">
                <a:extLst>
                  <a:ext uri="{FF2B5EF4-FFF2-40B4-BE49-F238E27FC236}">
                    <a16:creationId xmlns:a16="http://schemas.microsoft.com/office/drawing/2014/main" id="{88D0F260-A793-7040-B93F-6DB319624502}"/>
                  </a:ext>
                </a:extLst>
              </p:cNvPr>
              <p:cNvSpPr>
                <a:spLocks noChangeShapeType="1"/>
              </p:cNvSpPr>
              <p:nvPr/>
            </p:nvSpPr>
            <p:spPr bwMode="auto">
              <a:xfrm>
                <a:off x="968292" y="3389202"/>
                <a:ext cx="249810"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5" name="Line 74">
                <a:extLst>
                  <a:ext uri="{FF2B5EF4-FFF2-40B4-BE49-F238E27FC236}">
                    <a16:creationId xmlns:a16="http://schemas.microsoft.com/office/drawing/2014/main" id="{B56B5B39-AFCE-774A-847D-B253EA5AFA47}"/>
                  </a:ext>
                </a:extLst>
              </p:cNvPr>
              <p:cNvSpPr>
                <a:spLocks noChangeShapeType="1"/>
              </p:cNvSpPr>
              <p:nvPr/>
            </p:nvSpPr>
            <p:spPr bwMode="auto">
              <a:xfrm>
                <a:off x="968292" y="3492061"/>
                <a:ext cx="37716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6" name="Freeform 75">
                <a:extLst>
                  <a:ext uri="{FF2B5EF4-FFF2-40B4-BE49-F238E27FC236}">
                    <a16:creationId xmlns:a16="http://schemas.microsoft.com/office/drawing/2014/main" id="{72EA28FE-7EAA-F34F-860A-E15FA24F20F4}"/>
                  </a:ext>
                </a:extLst>
              </p:cNvPr>
              <p:cNvSpPr>
                <a:spLocks noChangeArrowheads="1"/>
              </p:cNvSpPr>
              <p:nvPr/>
            </p:nvSpPr>
            <p:spPr bwMode="auto">
              <a:xfrm>
                <a:off x="943796" y="2718134"/>
                <a:ext cx="529014" cy="529013"/>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7" name="Line 78">
                <a:extLst>
                  <a:ext uri="{FF2B5EF4-FFF2-40B4-BE49-F238E27FC236}">
                    <a16:creationId xmlns:a16="http://schemas.microsoft.com/office/drawing/2014/main" id="{7DAC28C1-832E-DF47-874F-DA2C671F227A}"/>
                  </a:ext>
                </a:extLst>
              </p:cNvPr>
              <p:cNvSpPr>
                <a:spLocks noChangeShapeType="1"/>
              </p:cNvSpPr>
              <p:nvPr/>
            </p:nvSpPr>
            <p:spPr bwMode="auto">
              <a:xfrm>
                <a:off x="1698129" y="2856119"/>
                <a:ext cx="27082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8" name="Line 79">
                <a:extLst>
                  <a:ext uri="{FF2B5EF4-FFF2-40B4-BE49-F238E27FC236}">
                    <a16:creationId xmlns:a16="http://schemas.microsoft.com/office/drawing/2014/main" id="{29EF9082-D398-6D48-ACA4-B3F6A6172CBE}"/>
                  </a:ext>
                </a:extLst>
              </p:cNvPr>
              <p:cNvSpPr>
                <a:spLocks noChangeShapeType="1"/>
              </p:cNvSpPr>
              <p:nvPr/>
            </p:nvSpPr>
            <p:spPr bwMode="auto">
              <a:xfrm>
                <a:off x="1915495" y="2733665"/>
                <a:ext cx="11082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9" name="Line 80">
                <a:extLst>
                  <a:ext uri="{FF2B5EF4-FFF2-40B4-BE49-F238E27FC236}">
                    <a16:creationId xmlns:a16="http://schemas.microsoft.com/office/drawing/2014/main" id="{7F7E8F02-01AC-BE4B-B6F0-12F2521B1120}"/>
                  </a:ext>
                </a:extLst>
              </p:cNvPr>
              <p:cNvSpPr>
                <a:spLocks noChangeShapeType="1"/>
              </p:cNvSpPr>
              <p:nvPr/>
            </p:nvSpPr>
            <p:spPr bwMode="auto">
              <a:xfrm>
                <a:off x="1698129" y="2733665"/>
                <a:ext cx="9393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0" name="Freeform 81">
                <a:extLst>
                  <a:ext uri="{FF2B5EF4-FFF2-40B4-BE49-F238E27FC236}">
                    <a16:creationId xmlns:a16="http://schemas.microsoft.com/office/drawing/2014/main" id="{E81D2C38-B6DE-FE46-BD36-290F7B4A720B}"/>
                  </a:ext>
                </a:extLst>
              </p:cNvPr>
              <p:cNvSpPr>
                <a:spLocks noChangeArrowheads="1"/>
              </p:cNvSpPr>
              <p:nvPr/>
            </p:nvSpPr>
            <p:spPr bwMode="auto">
              <a:xfrm>
                <a:off x="1833351" y="2713238"/>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1" name="Freeform 82">
                <a:extLst>
                  <a:ext uri="{FF2B5EF4-FFF2-40B4-BE49-F238E27FC236}">
                    <a16:creationId xmlns:a16="http://schemas.microsoft.com/office/drawing/2014/main" id="{17DD01C7-504E-0B42-9BA7-9DFE166D88AD}"/>
                  </a:ext>
                </a:extLst>
              </p:cNvPr>
              <p:cNvSpPr>
                <a:spLocks noChangeArrowheads="1"/>
              </p:cNvSpPr>
              <p:nvPr/>
            </p:nvSpPr>
            <p:spPr bwMode="auto">
              <a:xfrm>
                <a:off x="2006723" y="2835692"/>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32" name="Partial Circle 136">
                <a:extLst>
                  <a:ext uri="{FF2B5EF4-FFF2-40B4-BE49-F238E27FC236}">
                    <a16:creationId xmlns:a16="http://schemas.microsoft.com/office/drawing/2014/main" id="{BD685769-37AD-F845-BADC-94098C35F221}"/>
                  </a:ext>
                </a:extLst>
              </p:cNvPr>
              <p:cNvSpPr/>
              <p:nvPr/>
            </p:nvSpPr>
            <p:spPr bwMode="auto">
              <a:xfrm>
                <a:off x="943792" y="2718135"/>
                <a:ext cx="529014" cy="529013"/>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Partial Circle 137">
                <a:extLst>
                  <a:ext uri="{FF2B5EF4-FFF2-40B4-BE49-F238E27FC236}">
                    <a16:creationId xmlns:a16="http://schemas.microsoft.com/office/drawing/2014/main" id="{14923A14-360B-A24F-84F4-8FFFF29F8FD2}"/>
                  </a:ext>
                </a:extLst>
              </p:cNvPr>
              <p:cNvSpPr/>
              <p:nvPr/>
            </p:nvSpPr>
            <p:spPr bwMode="auto">
              <a:xfrm>
                <a:off x="943795" y="2718134"/>
                <a:ext cx="529013" cy="529013"/>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90" name="Group 89">
            <a:extLst>
              <a:ext uri="{FF2B5EF4-FFF2-40B4-BE49-F238E27FC236}">
                <a16:creationId xmlns:a16="http://schemas.microsoft.com/office/drawing/2014/main" id="{3E874798-4825-CA4C-B413-B084E46EA00C}"/>
              </a:ext>
            </a:extLst>
          </p:cNvPr>
          <p:cNvGrpSpPr/>
          <p:nvPr/>
        </p:nvGrpSpPr>
        <p:grpSpPr>
          <a:xfrm>
            <a:off x="3535273" y="3099178"/>
            <a:ext cx="435252" cy="286414"/>
            <a:chOff x="3400425" y="3031525"/>
            <a:chExt cx="666750" cy="438750"/>
          </a:xfrm>
        </p:grpSpPr>
        <p:grpSp>
          <p:nvGrpSpPr>
            <p:cNvPr id="91" name="Group 90">
              <a:extLst>
                <a:ext uri="{FF2B5EF4-FFF2-40B4-BE49-F238E27FC236}">
                  <a16:creationId xmlns:a16="http://schemas.microsoft.com/office/drawing/2014/main" id="{606EE104-F7F4-5947-874A-474C86BE3741}"/>
                </a:ext>
              </a:extLst>
            </p:cNvPr>
            <p:cNvGrpSpPr/>
            <p:nvPr/>
          </p:nvGrpSpPr>
          <p:grpSpPr>
            <a:xfrm>
              <a:off x="3702921" y="3100327"/>
              <a:ext cx="65876" cy="183670"/>
              <a:chOff x="6411171" y="5732451"/>
              <a:chExt cx="102309" cy="285249"/>
            </a:xfrm>
          </p:grpSpPr>
          <p:sp>
            <p:nvSpPr>
              <p:cNvPr id="162" name="Freeform: Shape 545">
                <a:extLst>
                  <a:ext uri="{FF2B5EF4-FFF2-40B4-BE49-F238E27FC236}">
                    <a16:creationId xmlns:a16="http://schemas.microsoft.com/office/drawing/2014/main" id="{74FFCED2-97A0-6B42-8039-5F1A1786C5D9}"/>
                  </a:ext>
                </a:extLst>
              </p:cNvPr>
              <p:cNvSpPr/>
              <p:nvPr/>
            </p:nvSpPr>
            <p:spPr bwMode="auto">
              <a:xfrm>
                <a:off x="6411171" y="5769978"/>
                <a:ext cx="102309" cy="210195"/>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63" name="Straight Connector 162">
                <a:extLst>
                  <a:ext uri="{FF2B5EF4-FFF2-40B4-BE49-F238E27FC236}">
                    <a16:creationId xmlns:a16="http://schemas.microsoft.com/office/drawing/2014/main" id="{8254517B-F8C9-474F-A5ED-19EB42A03AF2}"/>
                  </a:ext>
                </a:extLst>
              </p:cNvPr>
              <p:cNvCxnSpPr>
                <a:cxnSpLocks/>
              </p:cNvCxnSpPr>
              <p:nvPr/>
            </p:nvCxnSpPr>
            <p:spPr>
              <a:xfrm>
                <a:off x="6464043" y="5732451"/>
                <a:ext cx="0" cy="285249"/>
              </a:xfrm>
              <a:prstGeom prst="line">
                <a:avLst/>
              </a:prstGeom>
              <a:ln w="158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2" name="Rectangle 91">
              <a:extLst>
                <a:ext uri="{FF2B5EF4-FFF2-40B4-BE49-F238E27FC236}">
                  <a16:creationId xmlns:a16="http://schemas.microsoft.com/office/drawing/2014/main" id="{CB0180CF-A71F-4743-8DA9-7543B1FAB02A}"/>
                </a:ext>
              </a:extLst>
            </p:cNvPr>
            <p:cNvSpPr/>
            <p:nvPr/>
          </p:nvSpPr>
          <p:spPr bwMode="auto">
            <a:xfrm>
              <a:off x="3410465" y="3031525"/>
              <a:ext cx="650789" cy="321275"/>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93" name="Straight Connector 92">
              <a:extLst>
                <a:ext uri="{FF2B5EF4-FFF2-40B4-BE49-F238E27FC236}">
                  <a16:creationId xmlns:a16="http://schemas.microsoft.com/office/drawing/2014/main" id="{0453D3B4-4D7C-8E42-B656-77CE0C787F4B}"/>
                </a:ext>
              </a:extLst>
            </p:cNvPr>
            <p:cNvCxnSpPr>
              <a:cxnSpLocks/>
            </p:cNvCxnSpPr>
            <p:nvPr/>
          </p:nvCxnSpPr>
          <p:spPr>
            <a:xfrm>
              <a:off x="3400425" y="33940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87DDB23-0ACC-B341-BA82-848C492D3C92}"/>
                </a:ext>
              </a:extLst>
            </p:cNvPr>
            <p:cNvCxnSpPr>
              <a:cxnSpLocks/>
            </p:cNvCxnSpPr>
            <p:nvPr/>
          </p:nvCxnSpPr>
          <p:spPr>
            <a:xfrm>
              <a:off x="3400425" y="34321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1B289B3-BCFC-774F-90DD-5CB438A861F3}"/>
                </a:ext>
              </a:extLst>
            </p:cNvPr>
            <p:cNvCxnSpPr>
              <a:cxnSpLocks/>
            </p:cNvCxnSpPr>
            <p:nvPr/>
          </p:nvCxnSpPr>
          <p:spPr>
            <a:xfrm>
              <a:off x="3400425" y="34702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1664A59-17D5-BB49-8745-C1E6A0FF6F77}"/>
                </a:ext>
              </a:extLst>
            </p:cNvPr>
            <p:cNvCxnSpPr>
              <a:cxnSpLocks/>
            </p:cNvCxnSpPr>
            <p:nvPr/>
          </p:nvCxnSpPr>
          <p:spPr>
            <a:xfrm>
              <a:off x="3446252"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5AE306D-C7F2-0541-8B54-B2B3BAC38F47}"/>
                </a:ext>
              </a:extLst>
            </p:cNvPr>
            <p:cNvCxnSpPr>
              <a:cxnSpLocks/>
            </p:cNvCxnSpPr>
            <p:nvPr/>
          </p:nvCxnSpPr>
          <p:spPr>
            <a:xfrm>
              <a:off x="3968684"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51F9876-B64E-4449-8062-1DFB034ABF35}"/>
                </a:ext>
              </a:extLst>
            </p:cNvPr>
            <p:cNvCxnSpPr>
              <a:cxnSpLocks/>
            </p:cNvCxnSpPr>
            <p:nvPr/>
          </p:nvCxnSpPr>
          <p:spPr>
            <a:xfrm>
              <a:off x="3446252"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5DDAA57-0DA9-0D45-AEDB-149F1CFE8F8F}"/>
                </a:ext>
              </a:extLst>
            </p:cNvPr>
            <p:cNvCxnSpPr>
              <a:cxnSpLocks/>
            </p:cNvCxnSpPr>
            <p:nvPr/>
          </p:nvCxnSpPr>
          <p:spPr>
            <a:xfrm>
              <a:off x="3968684"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4" name="Freeform 3">
            <a:extLst>
              <a:ext uri="{FF2B5EF4-FFF2-40B4-BE49-F238E27FC236}">
                <a16:creationId xmlns:a16="http://schemas.microsoft.com/office/drawing/2014/main" id="{10D83F5F-0B22-4248-802F-8D3EF6B79D51}"/>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5" name="Freeform 177">
            <a:extLst>
              <a:ext uri="{FF2B5EF4-FFF2-40B4-BE49-F238E27FC236}">
                <a16:creationId xmlns:a16="http://schemas.microsoft.com/office/drawing/2014/main" id="{B58469EC-9F7C-4773-95B5-5DF4365A6A72}"/>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79">
            <a:extLst>
              <a:ext uri="{FF2B5EF4-FFF2-40B4-BE49-F238E27FC236}">
                <a16:creationId xmlns:a16="http://schemas.microsoft.com/office/drawing/2014/main" id="{8F37AFEC-12A2-44C9-9447-5092AED6687F}"/>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181">
            <a:extLst>
              <a:ext uri="{FF2B5EF4-FFF2-40B4-BE49-F238E27FC236}">
                <a16:creationId xmlns:a16="http://schemas.microsoft.com/office/drawing/2014/main" id="{4A945B92-340A-48F6-867B-F78B9E23991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83">
            <a:extLst>
              <a:ext uri="{FF2B5EF4-FFF2-40B4-BE49-F238E27FC236}">
                <a16:creationId xmlns:a16="http://schemas.microsoft.com/office/drawing/2014/main" id="{2F43A71D-F736-452D-AE80-03CB1E7F9B6B}"/>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Title 1">
            <a:extLst>
              <a:ext uri="{FF2B5EF4-FFF2-40B4-BE49-F238E27FC236}">
                <a16:creationId xmlns:a16="http://schemas.microsoft.com/office/drawing/2014/main" id="{7812FA95-ED8E-46D6-9898-A5B285B0D56C}"/>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r>
              <a:rPr lang="en-IN" spc="-150" dirty="0"/>
              <a:t>Financial services use cases</a:t>
            </a:r>
          </a:p>
        </p:txBody>
      </p:sp>
    </p:spTree>
    <p:extLst>
      <p:ext uri="{BB962C8B-B14F-4D97-AF65-F5344CB8AC3E}">
        <p14:creationId xmlns:p14="http://schemas.microsoft.com/office/powerpoint/2010/main" val="165075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animEffect transition="in" filter="fade">
                                      <p:cBhvr>
                                        <p:cTn id="7" dur="500"/>
                                        <p:tgtEl>
                                          <p:spTgt spid="164"/>
                                        </p:tgtEl>
                                      </p:cBhvr>
                                    </p:animEffect>
                                  </p:childTnLst>
                                </p:cTn>
                              </p:par>
                              <p:par>
                                <p:cTn id="8" presetID="10" presetClass="entr" presetSubtype="0" fill="hold" nodeType="withEffect">
                                  <p:stCondLst>
                                    <p:cond delay="0"/>
                                  </p:stCondLst>
                                  <p:childTnLst>
                                    <p:set>
                                      <p:cBhvr>
                                        <p:cTn id="9" dur="1" fill="hold">
                                          <p:stCondLst>
                                            <p:cond delay="0"/>
                                          </p:stCondLst>
                                        </p:cTn>
                                        <p:tgtEl>
                                          <p:spTgt spid="169"/>
                                        </p:tgtEl>
                                        <p:attrNameLst>
                                          <p:attrName>style.visibility</p:attrName>
                                        </p:attrNameLst>
                                      </p:cBhvr>
                                      <p:to>
                                        <p:strVal val="visible"/>
                                      </p:to>
                                    </p:set>
                                    <p:animEffect transition="in" filter="fade">
                                      <p:cBhvr>
                                        <p:cTn id="10" dur="500"/>
                                        <p:tgtEl>
                                          <p:spTgt spid="1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9"/>
                                        </p:tgtEl>
                                        <p:attrNameLst>
                                          <p:attrName>style.visibility</p:attrName>
                                        </p:attrNameLst>
                                      </p:cBhvr>
                                      <p:to>
                                        <p:strVal val="visible"/>
                                      </p:to>
                                    </p:set>
                                    <p:animEffect transition="in" filter="fade">
                                      <p:cBhvr>
                                        <p:cTn id="13" dur="500"/>
                                        <p:tgtEl>
                                          <p:spTgt spid="17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500"/>
                                        <p:tgtEl>
                                          <p:spTgt spid="8">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xEl>
                                              <p:pRg st="0" end="0"/>
                                            </p:txEl>
                                          </p:spTgt>
                                        </p:tgtEl>
                                        <p:attrNameLst>
                                          <p:attrName>style.visibility</p:attrName>
                                        </p:attrNameLst>
                                      </p:cBhvr>
                                      <p:to>
                                        <p:strVal val="visible"/>
                                      </p:to>
                                    </p:set>
                                    <p:animEffect transition="in" filter="fade">
                                      <p:cBhvr>
                                        <p:cTn id="19" dur="500"/>
                                        <p:tgtEl>
                                          <p:spTgt spid="13">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7"/>
                                        </p:tgtEl>
                                        <p:attrNameLst>
                                          <p:attrName>style.visibility</p:attrName>
                                        </p:attrNameLst>
                                      </p:cBhvr>
                                      <p:to>
                                        <p:strVal val="visible"/>
                                      </p:to>
                                    </p:set>
                                    <p:animEffect transition="in" filter="fade">
                                      <p:cBhvr>
                                        <p:cTn id="22" dur="500"/>
                                        <p:tgtEl>
                                          <p:spTgt spid="7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500"/>
                                        <p:tgtEl>
                                          <p:spTgt spid="28">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64"/>
                                        </p:tgtEl>
                                        <p:attrNameLst>
                                          <p:attrName>style.opacity</p:attrName>
                                        </p:attrNameLst>
                                      </p:cBhvr>
                                      <p:to>
                                        <p:strVal val="0.1"/>
                                      </p:to>
                                    </p:set>
                                    <p:animEffect filter="image" prLst="opacity: 0.1">
                                      <p:cBhvr rctx="IE">
                                        <p:cTn id="36" dur="indefinite"/>
                                        <p:tgtEl>
                                          <p:spTgt spid="164"/>
                                        </p:tgtEl>
                                      </p:cBhvr>
                                    </p:animEffect>
                                  </p:childTnLst>
                                </p:cTn>
                              </p:par>
                              <p:par>
                                <p:cTn id="37" presetID="9" presetClass="emph" presetSubtype="0" nodeType="withEffect">
                                  <p:stCondLst>
                                    <p:cond delay="0"/>
                                  </p:stCondLst>
                                  <p:childTnLst>
                                    <p:set>
                                      <p:cBhvr>
                                        <p:cTn id="38" dur="indefinite"/>
                                        <p:tgtEl>
                                          <p:spTgt spid="169"/>
                                        </p:tgtEl>
                                        <p:attrNameLst>
                                          <p:attrName>style.opacity</p:attrName>
                                        </p:attrNameLst>
                                      </p:cBhvr>
                                      <p:to>
                                        <p:strVal val="0.1"/>
                                      </p:to>
                                    </p:set>
                                    <p:animEffect filter="image" prLst="opacity: 0.1">
                                      <p:cBhvr rctx="IE">
                                        <p:cTn id="39" dur="indefinite"/>
                                        <p:tgtEl>
                                          <p:spTgt spid="169"/>
                                        </p:tgtEl>
                                      </p:cBhvr>
                                    </p:animEffect>
                                  </p:childTnLst>
                                </p:cTn>
                              </p:par>
                              <p:par>
                                <p:cTn id="40" presetID="9" presetClass="emph" presetSubtype="0" grpId="1" nodeType="withEffect">
                                  <p:stCondLst>
                                    <p:cond delay="0"/>
                                  </p:stCondLst>
                                  <p:childTnLst>
                                    <p:set>
                                      <p:cBhvr>
                                        <p:cTn id="41" dur="indefinite"/>
                                        <p:tgtEl>
                                          <p:spTgt spid="179"/>
                                        </p:tgtEl>
                                        <p:attrNameLst>
                                          <p:attrName>style.opacity</p:attrName>
                                        </p:attrNameLst>
                                      </p:cBhvr>
                                      <p:to>
                                        <p:strVal val="0.1"/>
                                      </p:to>
                                    </p:set>
                                    <p:animEffect filter="image" prLst="opacity: 0.1">
                                      <p:cBhvr rctx="IE">
                                        <p:cTn id="42" dur="indefinite"/>
                                        <p:tgtEl>
                                          <p:spTgt spid="179"/>
                                        </p:tgtEl>
                                      </p:cBhvr>
                                    </p:animEffect>
                                  </p:childTnLst>
                                </p:cTn>
                              </p:par>
                              <p:par>
                                <p:cTn id="43" presetID="9" presetClass="emph" presetSubtype="0" grpId="1" nodeType="withEffect">
                                  <p:stCondLst>
                                    <p:cond delay="0"/>
                                  </p:stCondLst>
                                  <p:childTnLst>
                                    <p:set>
                                      <p:cBhvr>
                                        <p:cTn id="44" dur="indefinite"/>
                                        <p:tgtEl>
                                          <p:spTgt spid="8">
                                            <p:txEl>
                                              <p:pRg st="0" end="0"/>
                                            </p:txEl>
                                          </p:spTgt>
                                        </p:tgtEl>
                                        <p:attrNameLst>
                                          <p:attrName>style.opacity</p:attrName>
                                        </p:attrNameLst>
                                      </p:cBhvr>
                                      <p:to>
                                        <p:strVal val="0.1"/>
                                      </p:to>
                                    </p:set>
                                    <p:animEffect filter="image" prLst="opacity: 0.1">
                                      <p:cBhvr rctx="IE">
                                        <p:cTn id="45" dur="indefinite"/>
                                        <p:tgtEl>
                                          <p:spTgt spid="8">
                                            <p:txEl>
                                              <p:pRg st="0" end="0"/>
                                            </p:txEl>
                                          </p:spTgt>
                                        </p:tgtEl>
                                      </p:cBhvr>
                                    </p:animEffect>
                                  </p:childTnLst>
                                </p:cTn>
                              </p:par>
                              <p:par>
                                <p:cTn id="46" presetID="9" presetClass="emph" presetSubtype="0" grpId="1" nodeType="withEffect">
                                  <p:stCondLst>
                                    <p:cond delay="0"/>
                                  </p:stCondLst>
                                  <p:childTnLst>
                                    <p:set>
                                      <p:cBhvr>
                                        <p:cTn id="47" dur="indefinite"/>
                                        <p:tgtEl>
                                          <p:spTgt spid="13">
                                            <p:txEl>
                                              <p:pRg st="0" end="0"/>
                                            </p:txEl>
                                          </p:spTgt>
                                        </p:tgtEl>
                                        <p:attrNameLst>
                                          <p:attrName>style.opacity</p:attrName>
                                        </p:attrNameLst>
                                      </p:cBhvr>
                                      <p:to>
                                        <p:strVal val="0.1"/>
                                      </p:to>
                                    </p:set>
                                    <p:animEffect filter="image" prLst="opacity: 0.1">
                                      <p:cBhvr rctx="IE">
                                        <p:cTn id="48" dur="indefinite"/>
                                        <p:tgtEl>
                                          <p:spTgt spid="13">
                                            <p:txEl>
                                              <p:pRg st="0" end="0"/>
                                            </p:txEl>
                                          </p:spTgt>
                                        </p:tgtEl>
                                      </p:cBhvr>
                                    </p:animEffect>
                                  </p:childTnLst>
                                </p:cTn>
                              </p:par>
                              <p:par>
                                <p:cTn id="49" presetID="9" presetClass="emph" presetSubtype="0" grpId="1" nodeType="withEffect">
                                  <p:stCondLst>
                                    <p:cond delay="0"/>
                                  </p:stCondLst>
                                  <p:childTnLst>
                                    <p:set>
                                      <p:cBhvr>
                                        <p:cTn id="50" dur="indefinite"/>
                                        <p:tgtEl>
                                          <p:spTgt spid="77"/>
                                        </p:tgtEl>
                                        <p:attrNameLst>
                                          <p:attrName>style.opacity</p:attrName>
                                        </p:attrNameLst>
                                      </p:cBhvr>
                                      <p:to>
                                        <p:strVal val="0.1"/>
                                      </p:to>
                                    </p:set>
                                    <p:animEffect filter="image" prLst="opacity: 0.1">
                                      <p:cBhvr rctx="IE">
                                        <p:cTn id="51" dur="indefinite"/>
                                        <p:tgtEl>
                                          <p:spTgt spid="77"/>
                                        </p:tgtEl>
                                      </p:cBhvr>
                                    </p:animEffect>
                                  </p:childTnLst>
                                </p:cTn>
                              </p:par>
                              <p:par>
                                <p:cTn id="52" presetID="9" presetClass="emph" presetSubtype="0" grpId="1" nodeType="withEffect">
                                  <p:stCondLst>
                                    <p:cond delay="0"/>
                                  </p:stCondLst>
                                  <p:childTnLst>
                                    <p:set>
                                      <p:cBhvr>
                                        <p:cTn id="53" dur="indefinite"/>
                                        <p:tgtEl>
                                          <p:spTgt spid="22"/>
                                        </p:tgtEl>
                                        <p:attrNameLst>
                                          <p:attrName>style.opacity</p:attrName>
                                        </p:attrNameLst>
                                      </p:cBhvr>
                                      <p:to>
                                        <p:strVal val="0.1"/>
                                      </p:to>
                                    </p:set>
                                    <p:animEffect filter="image" prLst="opacity: 0.1">
                                      <p:cBhvr rctx="IE">
                                        <p:cTn id="54" dur="indefinite"/>
                                        <p:tgtEl>
                                          <p:spTgt spid="22"/>
                                        </p:tgtEl>
                                      </p:cBhvr>
                                    </p:animEffect>
                                  </p:childTnLst>
                                </p:cTn>
                              </p:par>
                              <p:par>
                                <p:cTn id="55" presetID="9" presetClass="emph" presetSubtype="0" grpId="1" nodeType="withEffect">
                                  <p:stCondLst>
                                    <p:cond delay="0"/>
                                  </p:stCondLst>
                                  <p:childTnLst>
                                    <p:set>
                                      <p:cBhvr>
                                        <p:cTn id="56" dur="indefinite"/>
                                        <p:tgtEl>
                                          <p:spTgt spid="28">
                                            <p:txEl>
                                              <p:pRg st="0" end="0"/>
                                            </p:txEl>
                                          </p:spTgt>
                                        </p:tgtEl>
                                        <p:attrNameLst>
                                          <p:attrName>style.opacity</p:attrName>
                                        </p:attrNameLst>
                                      </p:cBhvr>
                                      <p:to>
                                        <p:strVal val="0.1"/>
                                      </p:to>
                                    </p:set>
                                    <p:animEffect filter="image" prLst="opacity: 0.1">
                                      <p:cBhvr rctx="IE">
                                        <p:cTn id="57" dur="indefinite"/>
                                        <p:tgtEl>
                                          <p:spTgt spid="28">
                                            <p:txEl>
                                              <p:pRg st="0" end="0"/>
                                            </p:txEl>
                                          </p:spTgt>
                                        </p:tgtEl>
                                      </p:cBhvr>
                                    </p:animEffect>
                                  </p:childTnLst>
                                </p:cTn>
                              </p:par>
                              <p:par>
                                <p:cTn id="58" presetID="9" presetClass="emph" presetSubtype="0" nodeType="withEffect">
                                  <p:stCondLst>
                                    <p:cond delay="0"/>
                                  </p:stCondLst>
                                  <p:childTnLst>
                                    <p:set>
                                      <p:cBhvr>
                                        <p:cTn id="59" dur="indefinite"/>
                                        <p:tgtEl>
                                          <p:spTgt spid="152"/>
                                        </p:tgtEl>
                                        <p:attrNameLst>
                                          <p:attrName>style.opacity</p:attrName>
                                        </p:attrNameLst>
                                      </p:cBhvr>
                                      <p:to>
                                        <p:strVal val="0.1"/>
                                      </p:to>
                                    </p:set>
                                    <p:animEffect filter="image" prLst="opacity: 0.1">
                                      <p:cBhvr rctx="IE">
                                        <p:cTn id="60" dur="indefinite"/>
                                        <p:tgtEl>
                                          <p:spTgt spid="15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5"/>
                                        </p:tgtEl>
                                        <p:attrNameLst>
                                          <p:attrName>style.visibility</p:attrName>
                                        </p:attrNameLst>
                                      </p:cBhvr>
                                      <p:to>
                                        <p:strVal val="visible"/>
                                      </p:to>
                                    </p:set>
                                    <p:animEffect transition="in" filter="fade">
                                      <p:cBhvr>
                                        <p:cTn id="63" dur="500"/>
                                        <p:tgtEl>
                                          <p:spTgt spid="165"/>
                                        </p:tgtEl>
                                      </p:cBhvr>
                                    </p:animEffect>
                                  </p:childTnLst>
                                </p:cTn>
                              </p:par>
                              <p:par>
                                <p:cTn id="64" presetID="10" presetClass="entr" presetSubtype="0" fill="hold" nodeType="withEffect">
                                  <p:stCondLst>
                                    <p:cond delay="0"/>
                                  </p:stCondLst>
                                  <p:childTnLst>
                                    <p:set>
                                      <p:cBhvr>
                                        <p:cTn id="65" dur="1" fill="hold">
                                          <p:stCondLst>
                                            <p:cond delay="0"/>
                                          </p:stCondLst>
                                        </p:cTn>
                                        <p:tgtEl>
                                          <p:spTgt spid="170"/>
                                        </p:tgtEl>
                                        <p:attrNameLst>
                                          <p:attrName>style.visibility</p:attrName>
                                        </p:attrNameLst>
                                      </p:cBhvr>
                                      <p:to>
                                        <p:strVal val="visible"/>
                                      </p:to>
                                    </p:set>
                                    <p:animEffect transition="in" filter="fade">
                                      <p:cBhvr>
                                        <p:cTn id="66" dur="500"/>
                                        <p:tgtEl>
                                          <p:spTgt spid="17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0"/>
                                        </p:tgtEl>
                                        <p:attrNameLst>
                                          <p:attrName>style.visibility</p:attrName>
                                        </p:attrNameLst>
                                      </p:cBhvr>
                                      <p:to>
                                        <p:strVal val="visible"/>
                                      </p:to>
                                    </p:set>
                                    <p:animEffect transition="in" filter="fade">
                                      <p:cBhvr>
                                        <p:cTn id="69" dur="500"/>
                                        <p:tgtEl>
                                          <p:spTgt spid="18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3">
                                            <p:txEl>
                                              <p:pRg st="0" end="0"/>
                                            </p:txEl>
                                          </p:spTgt>
                                        </p:tgtEl>
                                        <p:attrNameLst>
                                          <p:attrName>style.visibility</p:attrName>
                                        </p:attrNameLst>
                                      </p:cBhvr>
                                      <p:to>
                                        <p:strVal val="visible"/>
                                      </p:to>
                                    </p:set>
                                    <p:animEffect transition="in" filter="fade">
                                      <p:cBhvr>
                                        <p:cTn id="72" dur="500"/>
                                        <p:tgtEl>
                                          <p:spTgt spid="73">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4">
                                            <p:txEl>
                                              <p:pRg st="0" end="0"/>
                                            </p:txEl>
                                          </p:spTgt>
                                        </p:tgtEl>
                                        <p:attrNameLst>
                                          <p:attrName>style.visibility</p:attrName>
                                        </p:attrNameLst>
                                      </p:cBhvr>
                                      <p:to>
                                        <p:strVal val="visible"/>
                                      </p:to>
                                    </p:set>
                                    <p:animEffect transition="in" filter="fade">
                                      <p:cBhvr>
                                        <p:cTn id="75" dur="500"/>
                                        <p:tgtEl>
                                          <p:spTgt spid="14">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fade">
                                      <p:cBhvr>
                                        <p:cTn id="81" dur="500"/>
                                        <p:tgtEl>
                                          <p:spTgt spid="2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9">
                                            <p:txEl>
                                              <p:pRg st="0" end="0"/>
                                            </p:txEl>
                                          </p:spTgt>
                                        </p:tgtEl>
                                        <p:attrNameLst>
                                          <p:attrName>style.visibility</p:attrName>
                                        </p:attrNameLst>
                                      </p:cBhvr>
                                      <p:to>
                                        <p:strVal val="visible"/>
                                      </p:to>
                                    </p:set>
                                    <p:animEffect transition="in" filter="fade">
                                      <p:cBhvr>
                                        <p:cTn id="84" dur="500"/>
                                        <p:tgtEl>
                                          <p:spTgt spid="29">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90"/>
                                        </p:tgtEl>
                                        <p:attrNameLst>
                                          <p:attrName>style.visibility</p:attrName>
                                        </p:attrNameLst>
                                      </p:cBhvr>
                                      <p:to>
                                        <p:strVal val="visible"/>
                                      </p:to>
                                    </p:set>
                                    <p:animEffect transition="in" filter="fade">
                                      <p:cBhvr>
                                        <p:cTn id="87" dur="500"/>
                                        <p:tgtEl>
                                          <p:spTgt spid="90"/>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65"/>
                                        </p:tgtEl>
                                        <p:attrNameLst>
                                          <p:attrName>style.opacity</p:attrName>
                                        </p:attrNameLst>
                                      </p:cBhvr>
                                      <p:to>
                                        <p:strVal val="0.1"/>
                                      </p:to>
                                    </p:set>
                                    <p:animEffect filter="image" prLst="opacity: 0.1">
                                      <p:cBhvr rctx="IE">
                                        <p:cTn id="92" dur="indefinite"/>
                                        <p:tgtEl>
                                          <p:spTgt spid="165"/>
                                        </p:tgtEl>
                                      </p:cBhvr>
                                    </p:animEffect>
                                  </p:childTnLst>
                                </p:cTn>
                              </p:par>
                              <p:par>
                                <p:cTn id="93" presetID="9" presetClass="emph" presetSubtype="0" nodeType="withEffect">
                                  <p:stCondLst>
                                    <p:cond delay="0"/>
                                  </p:stCondLst>
                                  <p:childTnLst>
                                    <p:set>
                                      <p:cBhvr>
                                        <p:cTn id="94" dur="indefinite"/>
                                        <p:tgtEl>
                                          <p:spTgt spid="170"/>
                                        </p:tgtEl>
                                        <p:attrNameLst>
                                          <p:attrName>style.opacity</p:attrName>
                                        </p:attrNameLst>
                                      </p:cBhvr>
                                      <p:to>
                                        <p:strVal val="0.1"/>
                                      </p:to>
                                    </p:set>
                                    <p:animEffect filter="image" prLst="opacity: 0.1">
                                      <p:cBhvr rctx="IE">
                                        <p:cTn id="95" dur="indefinite"/>
                                        <p:tgtEl>
                                          <p:spTgt spid="170"/>
                                        </p:tgtEl>
                                      </p:cBhvr>
                                    </p:animEffect>
                                  </p:childTnLst>
                                </p:cTn>
                              </p:par>
                              <p:par>
                                <p:cTn id="96" presetID="9" presetClass="emph" presetSubtype="0" grpId="1" nodeType="withEffect">
                                  <p:stCondLst>
                                    <p:cond delay="0"/>
                                  </p:stCondLst>
                                  <p:childTnLst>
                                    <p:set>
                                      <p:cBhvr>
                                        <p:cTn id="97" dur="indefinite"/>
                                        <p:tgtEl>
                                          <p:spTgt spid="180"/>
                                        </p:tgtEl>
                                        <p:attrNameLst>
                                          <p:attrName>style.opacity</p:attrName>
                                        </p:attrNameLst>
                                      </p:cBhvr>
                                      <p:to>
                                        <p:strVal val="0.1"/>
                                      </p:to>
                                    </p:set>
                                    <p:animEffect filter="image" prLst="opacity: 0.1">
                                      <p:cBhvr rctx="IE">
                                        <p:cTn id="98" dur="indefinite"/>
                                        <p:tgtEl>
                                          <p:spTgt spid="180"/>
                                        </p:tgtEl>
                                      </p:cBhvr>
                                    </p:animEffect>
                                  </p:childTnLst>
                                </p:cTn>
                              </p:par>
                              <p:par>
                                <p:cTn id="99" presetID="9" presetClass="emph" presetSubtype="0" grpId="1" nodeType="withEffect">
                                  <p:stCondLst>
                                    <p:cond delay="0"/>
                                  </p:stCondLst>
                                  <p:childTnLst>
                                    <p:set>
                                      <p:cBhvr>
                                        <p:cTn id="100" dur="indefinite"/>
                                        <p:tgtEl>
                                          <p:spTgt spid="73">
                                            <p:txEl>
                                              <p:pRg st="0" end="0"/>
                                            </p:txEl>
                                          </p:spTgt>
                                        </p:tgtEl>
                                        <p:attrNameLst>
                                          <p:attrName>style.opacity</p:attrName>
                                        </p:attrNameLst>
                                      </p:cBhvr>
                                      <p:to>
                                        <p:strVal val="0.1"/>
                                      </p:to>
                                    </p:set>
                                    <p:animEffect filter="image" prLst="opacity: 0.1">
                                      <p:cBhvr rctx="IE">
                                        <p:cTn id="101" dur="indefinite"/>
                                        <p:tgtEl>
                                          <p:spTgt spid="73">
                                            <p:txEl>
                                              <p:pRg st="0" end="0"/>
                                            </p:txEl>
                                          </p:spTgt>
                                        </p:tgtEl>
                                      </p:cBhvr>
                                    </p:animEffect>
                                  </p:childTnLst>
                                </p:cTn>
                              </p:par>
                              <p:par>
                                <p:cTn id="102" presetID="9" presetClass="emph" presetSubtype="0" grpId="1" nodeType="withEffect">
                                  <p:stCondLst>
                                    <p:cond delay="0"/>
                                  </p:stCondLst>
                                  <p:childTnLst>
                                    <p:set>
                                      <p:cBhvr>
                                        <p:cTn id="103" dur="indefinite"/>
                                        <p:tgtEl>
                                          <p:spTgt spid="14">
                                            <p:txEl>
                                              <p:pRg st="0" end="0"/>
                                            </p:txEl>
                                          </p:spTgt>
                                        </p:tgtEl>
                                        <p:attrNameLst>
                                          <p:attrName>style.opacity</p:attrName>
                                        </p:attrNameLst>
                                      </p:cBhvr>
                                      <p:to>
                                        <p:strVal val="0.1"/>
                                      </p:to>
                                    </p:set>
                                    <p:animEffect filter="image" prLst="opacity: 0.1">
                                      <p:cBhvr rctx="IE">
                                        <p:cTn id="104" dur="indefinite"/>
                                        <p:tgtEl>
                                          <p:spTgt spid="14">
                                            <p:txEl>
                                              <p:pRg st="0" end="0"/>
                                            </p:txEl>
                                          </p:spTgt>
                                        </p:tgtEl>
                                      </p:cBhvr>
                                    </p:animEffect>
                                  </p:childTnLst>
                                </p:cTn>
                              </p:par>
                              <p:par>
                                <p:cTn id="105" presetID="9" presetClass="emph" presetSubtype="0" grpId="1" nodeType="withEffect">
                                  <p:stCondLst>
                                    <p:cond delay="0"/>
                                  </p:stCondLst>
                                  <p:childTnLst>
                                    <p:set>
                                      <p:cBhvr>
                                        <p:cTn id="106" dur="indefinite"/>
                                        <p:tgtEl>
                                          <p:spTgt spid="78"/>
                                        </p:tgtEl>
                                        <p:attrNameLst>
                                          <p:attrName>style.opacity</p:attrName>
                                        </p:attrNameLst>
                                      </p:cBhvr>
                                      <p:to>
                                        <p:strVal val="0.1"/>
                                      </p:to>
                                    </p:set>
                                    <p:animEffect filter="image" prLst="opacity: 0.1">
                                      <p:cBhvr rctx="IE">
                                        <p:cTn id="107" dur="indefinite"/>
                                        <p:tgtEl>
                                          <p:spTgt spid="78"/>
                                        </p:tgtEl>
                                      </p:cBhvr>
                                    </p:animEffect>
                                  </p:childTnLst>
                                </p:cTn>
                              </p:par>
                              <p:par>
                                <p:cTn id="108" presetID="9" presetClass="emph" presetSubtype="0" grpId="1" nodeType="withEffect">
                                  <p:stCondLst>
                                    <p:cond delay="0"/>
                                  </p:stCondLst>
                                  <p:childTnLst>
                                    <p:set>
                                      <p:cBhvr>
                                        <p:cTn id="109" dur="indefinite"/>
                                        <p:tgtEl>
                                          <p:spTgt spid="23"/>
                                        </p:tgtEl>
                                        <p:attrNameLst>
                                          <p:attrName>style.opacity</p:attrName>
                                        </p:attrNameLst>
                                      </p:cBhvr>
                                      <p:to>
                                        <p:strVal val="0.1"/>
                                      </p:to>
                                    </p:set>
                                    <p:animEffect filter="image" prLst="opacity: 0.1">
                                      <p:cBhvr rctx="IE">
                                        <p:cTn id="110" dur="indefinite"/>
                                        <p:tgtEl>
                                          <p:spTgt spid="23"/>
                                        </p:tgtEl>
                                      </p:cBhvr>
                                    </p:animEffect>
                                  </p:childTnLst>
                                </p:cTn>
                              </p:par>
                              <p:par>
                                <p:cTn id="111" presetID="9" presetClass="emph" presetSubtype="0" grpId="1" nodeType="withEffect">
                                  <p:stCondLst>
                                    <p:cond delay="0"/>
                                  </p:stCondLst>
                                  <p:childTnLst>
                                    <p:set>
                                      <p:cBhvr>
                                        <p:cTn id="112" dur="indefinite"/>
                                        <p:tgtEl>
                                          <p:spTgt spid="29">
                                            <p:txEl>
                                              <p:pRg st="0" end="0"/>
                                            </p:txEl>
                                          </p:spTgt>
                                        </p:tgtEl>
                                        <p:attrNameLst>
                                          <p:attrName>style.opacity</p:attrName>
                                        </p:attrNameLst>
                                      </p:cBhvr>
                                      <p:to>
                                        <p:strVal val="0.1"/>
                                      </p:to>
                                    </p:set>
                                    <p:animEffect filter="image" prLst="opacity: 0.1">
                                      <p:cBhvr rctx="IE">
                                        <p:cTn id="113" dur="indefinite"/>
                                        <p:tgtEl>
                                          <p:spTgt spid="29">
                                            <p:txEl>
                                              <p:pRg st="0" end="0"/>
                                            </p:txEl>
                                          </p:spTgt>
                                        </p:tgtEl>
                                      </p:cBhvr>
                                    </p:animEffect>
                                  </p:childTnLst>
                                </p:cTn>
                              </p:par>
                              <p:par>
                                <p:cTn id="114" presetID="9" presetClass="emph" presetSubtype="0" nodeType="withEffect">
                                  <p:stCondLst>
                                    <p:cond delay="0"/>
                                  </p:stCondLst>
                                  <p:childTnLst>
                                    <p:set>
                                      <p:cBhvr>
                                        <p:cTn id="115" dur="indefinite"/>
                                        <p:tgtEl>
                                          <p:spTgt spid="90"/>
                                        </p:tgtEl>
                                        <p:attrNameLst>
                                          <p:attrName>style.opacity</p:attrName>
                                        </p:attrNameLst>
                                      </p:cBhvr>
                                      <p:to>
                                        <p:strVal val="0.1"/>
                                      </p:to>
                                    </p:set>
                                    <p:animEffect filter="image" prLst="opacity: 0.1">
                                      <p:cBhvr rctx="IE">
                                        <p:cTn id="116" dur="indefinite"/>
                                        <p:tgtEl>
                                          <p:spTgt spid="90"/>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6"/>
                                        </p:tgtEl>
                                        <p:attrNameLst>
                                          <p:attrName>style.visibility</p:attrName>
                                        </p:attrNameLst>
                                      </p:cBhvr>
                                      <p:to>
                                        <p:strVal val="visible"/>
                                      </p:to>
                                    </p:set>
                                    <p:animEffect transition="in" filter="fade">
                                      <p:cBhvr>
                                        <p:cTn id="119" dur="500"/>
                                        <p:tgtEl>
                                          <p:spTgt spid="166"/>
                                        </p:tgtEl>
                                      </p:cBhvr>
                                    </p:animEffect>
                                  </p:childTnLst>
                                </p:cTn>
                              </p:par>
                              <p:par>
                                <p:cTn id="120" presetID="10" presetClass="entr" presetSubtype="0" fill="hold" nodeType="withEffect">
                                  <p:stCondLst>
                                    <p:cond delay="0"/>
                                  </p:stCondLst>
                                  <p:childTnLst>
                                    <p:set>
                                      <p:cBhvr>
                                        <p:cTn id="121" dur="1" fill="hold">
                                          <p:stCondLst>
                                            <p:cond delay="0"/>
                                          </p:stCondLst>
                                        </p:cTn>
                                        <p:tgtEl>
                                          <p:spTgt spid="171"/>
                                        </p:tgtEl>
                                        <p:attrNameLst>
                                          <p:attrName>style.visibility</p:attrName>
                                        </p:attrNameLst>
                                      </p:cBhvr>
                                      <p:to>
                                        <p:strVal val="visible"/>
                                      </p:to>
                                    </p:set>
                                    <p:animEffect transition="in" filter="fade">
                                      <p:cBhvr>
                                        <p:cTn id="122" dur="500"/>
                                        <p:tgtEl>
                                          <p:spTgt spid="171"/>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1"/>
                                        </p:tgtEl>
                                        <p:attrNameLst>
                                          <p:attrName>style.visibility</p:attrName>
                                        </p:attrNameLst>
                                      </p:cBhvr>
                                      <p:to>
                                        <p:strVal val="visible"/>
                                      </p:to>
                                    </p:set>
                                    <p:animEffect transition="in" filter="fade">
                                      <p:cBhvr>
                                        <p:cTn id="125" dur="500"/>
                                        <p:tgtEl>
                                          <p:spTgt spid="181"/>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74">
                                            <p:txEl>
                                              <p:pRg st="0" end="0"/>
                                            </p:txEl>
                                          </p:spTgt>
                                        </p:tgtEl>
                                        <p:attrNameLst>
                                          <p:attrName>style.visibility</p:attrName>
                                        </p:attrNameLst>
                                      </p:cBhvr>
                                      <p:to>
                                        <p:strVal val="visible"/>
                                      </p:to>
                                    </p:set>
                                    <p:animEffect transition="in" filter="fade">
                                      <p:cBhvr>
                                        <p:cTn id="128" dur="500"/>
                                        <p:tgtEl>
                                          <p:spTgt spid="74">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5">
                                            <p:txEl>
                                              <p:pRg st="0" end="0"/>
                                            </p:txEl>
                                          </p:spTgt>
                                        </p:tgtEl>
                                        <p:attrNameLst>
                                          <p:attrName>style.visibility</p:attrName>
                                        </p:attrNameLst>
                                      </p:cBhvr>
                                      <p:to>
                                        <p:strVal val="visible"/>
                                      </p:to>
                                    </p:set>
                                    <p:animEffect transition="in" filter="fade">
                                      <p:cBhvr>
                                        <p:cTn id="131" dur="500"/>
                                        <p:tgtEl>
                                          <p:spTgt spid="15">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4"/>
                                        </p:tgtEl>
                                        <p:attrNameLst>
                                          <p:attrName>style.visibility</p:attrName>
                                        </p:attrNameLst>
                                      </p:cBhvr>
                                      <p:to>
                                        <p:strVal val="visible"/>
                                      </p:to>
                                    </p:set>
                                    <p:animEffect transition="in" filter="fade">
                                      <p:cBhvr>
                                        <p:cTn id="134" dur="500"/>
                                        <p:tgtEl>
                                          <p:spTgt spid="2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81"/>
                                        </p:tgtEl>
                                        <p:attrNameLst>
                                          <p:attrName>style.visibility</p:attrName>
                                        </p:attrNameLst>
                                      </p:cBhvr>
                                      <p:to>
                                        <p:strVal val="visible"/>
                                      </p:to>
                                    </p:set>
                                    <p:animEffect transition="in" filter="fade">
                                      <p:cBhvr>
                                        <p:cTn id="137" dur="500"/>
                                        <p:tgtEl>
                                          <p:spTgt spid="81"/>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2">
                                            <p:txEl>
                                              <p:pRg st="0" end="0"/>
                                            </p:txEl>
                                          </p:spTgt>
                                        </p:tgtEl>
                                        <p:attrNameLst>
                                          <p:attrName>style.visibility</p:attrName>
                                        </p:attrNameLst>
                                      </p:cBhvr>
                                      <p:to>
                                        <p:strVal val="visible"/>
                                      </p:to>
                                    </p:set>
                                    <p:animEffect transition="in" filter="fade">
                                      <p:cBhvr>
                                        <p:cTn id="140" dur="500"/>
                                        <p:tgtEl>
                                          <p:spTgt spid="82">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00"/>
                                        </p:tgtEl>
                                        <p:attrNameLst>
                                          <p:attrName>style.visibility</p:attrName>
                                        </p:attrNameLst>
                                      </p:cBhvr>
                                      <p:to>
                                        <p:strVal val="visible"/>
                                      </p:to>
                                    </p:set>
                                    <p:animEffect transition="in" filter="fade">
                                      <p:cBhvr>
                                        <p:cTn id="143" dur="500"/>
                                        <p:tgtEl>
                                          <p:spTgt spid="100"/>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66"/>
                                        </p:tgtEl>
                                        <p:attrNameLst>
                                          <p:attrName>style.opacity</p:attrName>
                                        </p:attrNameLst>
                                      </p:cBhvr>
                                      <p:to>
                                        <p:strVal val="0.1"/>
                                      </p:to>
                                    </p:set>
                                    <p:animEffect filter="image" prLst="opacity: 0.1">
                                      <p:cBhvr rctx="IE">
                                        <p:cTn id="148" dur="indefinite"/>
                                        <p:tgtEl>
                                          <p:spTgt spid="166"/>
                                        </p:tgtEl>
                                      </p:cBhvr>
                                    </p:animEffect>
                                  </p:childTnLst>
                                </p:cTn>
                              </p:par>
                              <p:par>
                                <p:cTn id="149" presetID="9" presetClass="emph" presetSubtype="0" nodeType="withEffect">
                                  <p:stCondLst>
                                    <p:cond delay="0"/>
                                  </p:stCondLst>
                                  <p:childTnLst>
                                    <p:set>
                                      <p:cBhvr>
                                        <p:cTn id="150" dur="indefinite"/>
                                        <p:tgtEl>
                                          <p:spTgt spid="171"/>
                                        </p:tgtEl>
                                        <p:attrNameLst>
                                          <p:attrName>style.opacity</p:attrName>
                                        </p:attrNameLst>
                                      </p:cBhvr>
                                      <p:to>
                                        <p:strVal val="0.1"/>
                                      </p:to>
                                    </p:set>
                                    <p:animEffect filter="image" prLst="opacity: 0.1">
                                      <p:cBhvr rctx="IE">
                                        <p:cTn id="151" dur="indefinite"/>
                                        <p:tgtEl>
                                          <p:spTgt spid="171"/>
                                        </p:tgtEl>
                                      </p:cBhvr>
                                    </p:animEffect>
                                  </p:childTnLst>
                                </p:cTn>
                              </p:par>
                              <p:par>
                                <p:cTn id="152" presetID="9" presetClass="emph" presetSubtype="0" grpId="1" nodeType="withEffect">
                                  <p:stCondLst>
                                    <p:cond delay="0"/>
                                  </p:stCondLst>
                                  <p:childTnLst>
                                    <p:set>
                                      <p:cBhvr>
                                        <p:cTn id="153" dur="indefinite"/>
                                        <p:tgtEl>
                                          <p:spTgt spid="181"/>
                                        </p:tgtEl>
                                        <p:attrNameLst>
                                          <p:attrName>style.opacity</p:attrName>
                                        </p:attrNameLst>
                                      </p:cBhvr>
                                      <p:to>
                                        <p:strVal val="0.1"/>
                                      </p:to>
                                    </p:set>
                                    <p:animEffect filter="image" prLst="opacity: 0.1">
                                      <p:cBhvr rctx="IE">
                                        <p:cTn id="154" dur="indefinite"/>
                                        <p:tgtEl>
                                          <p:spTgt spid="181"/>
                                        </p:tgtEl>
                                      </p:cBhvr>
                                    </p:animEffect>
                                  </p:childTnLst>
                                </p:cTn>
                              </p:par>
                              <p:par>
                                <p:cTn id="155" presetID="9" presetClass="emph" presetSubtype="0" grpId="1" nodeType="withEffect">
                                  <p:stCondLst>
                                    <p:cond delay="0"/>
                                  </p:stCondLst>
                                  <p:childTnLst>
                                    <p:set>
                                      <p:cBhvr>
                                        <p:cTn id="156" dur="indefinite"/>
                                        <p:tgtEl>
                                          <p:spTgt spid="74">
                                            <p:txEl>
                                              <p:pRg st="0" end="0"/>
                                            </p:txEl>
                                          </p:spTgt>
                                        </p:tgtEl>
                                        <p:attrNameLst>
                                          <p:attrName>style.opacity</p:attrName>
                                        </p:attrNameLst>
                                      </p:cBhvr>
                                      <p:to>
                                        <p:strVal val="0.1"/>
                                      </p:to>
                                    </p:set>
                                    <p:animEffect filter="image" prLst="opacity: 0.1">
                                      <p:cBhvr rctx="IE">
                                        <p:cTn id="157" dur="indefinite"/>
                                        <p:tgtEl>
                                          <p:spTgt spid="74">
                                            <p:txEl>
                                              <p:pRg st="0" end="0"/>
                                            </p:txEl>
                                          </p:spTgt>
                                        </p:tgtEl>
                                      </p:cBhvr>
                                    </p:animEffect>
                                  </p:childTnLst>
                                </p:cTn>
                              </p:par>
                              <p:par>
                                <p:cTn id="158" presetID="9" presetClass="emph" presetSubtype="0" grpId="1" nodeType="withEffect">
                                  <p:stCondLst>
                                    <p:cond delay="0"/>
                                  </p:stCondLst>
                                  <p:childTnLst>
                                    <p:set>
                                      <p:cBhvr>
                                        <p:cTn id="159" dur="indefinite"/>
                                        <p:tgtEl>
                                          <p:spTgt spid="15">
                                            <p:txEl>
                                              <p:pRg st="0" end="0"/>
                                            </p:txEl>
                                          </p:spTgt>
                                        </p:tgtEl>
                                        <p:attrNameLst>
                                          <p:attrName>style.opacity</p:attrName>
                                        </p:attrNameLst>
                                      </p:cBhvr>
                                      <p:to>
                                        <p:strVal val="0.1"/>
                                      </p:to>
                                    </p:set>
                                    <p:animEffect filter="image" prLst="opacity: 0.1">
                                      <p:cBhvr rctx="IE">
                                        <p:cTn id="160" dur="indefinite"/>
                                        <p:tgtEl>
                                          <p:spTgt spid="15">
                                            <p:txEl>
                                              <p:pRg st="0" end="0"/>
                                            </p:txEl>
                                          </p:spTgt>
                                        </p:tgtEl>
                                      </p:cBhvr>
                                    </p:animEffect>
                                  </p:childTnLst>
                                </p:cTn>
                              </p:par>
                              <p:par>
                                <p:cTn id="161" presetID="9" presetClass="emph" presetSubtype="0" grpId="1" nodeType="withEffect">
                                  <p:stCondLst>
                                    <p:cond delay="0"/>
                                  </p:stCondLst>
                                  <p:childTnLst>
                                    <p:set>
                                      <p:cBhvr>
                                        <p:cTn id="162" dur="indefinite"/>
                                        <p:tgtEl>
                                          <p:spTgt spid="24"/>
                                        </p:tgtEl>
                                        <p:attrNameLst>
                                          <p:attrName>style.opacity</p:attrName>
                                        </p:attrNameLst>
                                      </p:cBhvr>
                                      <p:to>
                                        <p:strVal val="0.1"/>
                                      </p:to>
                                    </p:set>
                                    <p:animEffect filter="image" prLst="opacity: 0.1">
                                      <p:cBhvr rctx="IE">
                                        <p:cTn id="163" dur="indefinite"/>
                                        <p:tgtEl>
                                          <p:spTgt spid="24"/>
                                        </p:tgtEl>
                                      </p:cBhvr>
                                    </p:animEffect>
                                  </p:childTnLst>
                                </p:cTn>
                              </p:par>
                              <p:par>
                                <p:cTn id="164" presetID="9" presetClass="emph" presetSubtype="0" grpId="1" nodeType="withEffect">
                                  <p:stCondLst>
                                    <p:cond delay="0"/>
                                  </p:stCondLst>
                                  <p:childTnLst>
                                    <p:set>
                                      <p:cBhvr>
                                        <p:cTn id="165" dur="indefinite"/>
                                        <p:tgtEl>
                                          <p:spTgt spid="81"/>
                                        </p:tgtEl>
                                        <p:attrNameLst>
                                          <p:attrName>style.opacity</p:attrName>
                                        </p:attrNameLst>
                                      </p:cBhvr>
                                      <p:to>
                                        <p:strVal val="0.1"/>
                                      </p:to>
                                    </p:set>
                                    <p:animEffect filter="image" prLst="opacity: 0.1">
                                      <p:cBhvr rctx="IE">
                                        <p:cTn id="166" dur="indefinite"/>
                                        <p:tgtEl>
                                          <p:spTgt spid="81"/>
                                        </p:tgtEl>
                                      </p:cBhvr>
                                    </p:animEffect>
                                  </p:childTnLst>
                                </p:cTn>
                              </p:par>
                              <p:par>
                                <p:cTn id="167" presetID="9" presetClass="emph" presetSubtype="0" grpId="1" nodeType="withEffect">
                                  <p:stCondLst>
                                    <p:cond delay="0"/>
                                  </p:stCondLst>
                                  <p:childTnLst>
                                    <p:set>
                                      <p:cBhvr>
                                        <p:cTn id="168" dur="indefinite"/>
                                        <p:tgtEl>
                                          <p:spTgt spid="82">
                                            <p:txEl>
                                              <p:pRg st="0" end="0"/>
                                            </p:txEl>
                                          </p:spTgt>
                                        </p:tgtEl>
                                        <p:attrNameLst>
                                          <p:attrName>style.opacity</p:attrName>
                                        </p:attrNameLst>
                                      </p:cBhvr>
                                      <p:to>
                                        <p:strVal val="0.1"/>
                                      </p:to>
                                    </p:set>
                                    <p:animEffect filter="image" prLst="opacity: 0.1">
                                      <p:cBhvr rctx="IE">
                                        <p:cTn id="169" dur="indefinite"/>
                                        <p:tgtEl>
                                          <p:spTgt spid="82">
                                            <p:txEl>
                                              <p:pRg st="0" end="0"/>
                                            </p:txEl>
                                          </p:spTgt>
                                        </p:tgtEl>
                                      </p:cBhvr>
                                    </p:animEffect>
                                  </p:childTnLst>
                                </p:cTn>
                              </p:par>
                              <p:par>
                                <p:cTn id="170" presetID="9" presetClass="emph" presetSubtype="0" nodeType="withEffect">
                                  <p:stCondLst>
                                    <p:cond delay="0"/>
                                  </p:stCondLst>
                                  <p:childTnLst>
                                    <p:set>
                                      <p:cBhvr>
                                        <p:cTn id="171" dur="indefinite"/>
                                        <p:tgtEl>
                                          <p:spTgt spid="100"/>
                                        </p:tgtEl>
                                        <p:attrNameLst>
                                          <p:attrName>style.opacity</p:attrName>
                                        </p:attrNameLst>
                                      </p:cBhvr>
                                      <p:to>
                                        <p:strVal val="0.1"/>
                                      </p:to>
                                    </p:set>
                                    <p:animEffect filter="image" prLst="opacity: 0.1">
                                      <p:cBhvr rctx="IE">
                                        <p:cTn id="172" dur="indefinite"/>
                                        <p:tgtEl>
                                          <p:spTgt spid="100"/>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67"/>
                                        </p:tgtEl>
                                        <p:attrNameLst>
                                          <p:attrName>style.visibility</p:attrName>
                                        </p:attrNameLst>
                                      </p:cBhvr>
                                      <p:to>
                                        <p:strVal val="visible"/>
                                      </p:to>
                                    </p:set>
                                    <p:animEffect transition="in" filter="fade">
                                      <p:cBhvr>
                                        <p:cTn id="175" dur="500"/>
                                        <p:tgtEl>
                                          <p:spTgt spid="167"/>
                                        </p:tgtEl>
                                      </p:cBhvr>
                                    </p:animEffect>
                                  </p:childTnLst>
                                </p:cTn>
                              </p:par>
                              <p:par>
                                <p:cTn id="176" presetID="10" presetClass="entr" presetSubtype="0" fill="hold" nodeType="withEffect">
                                  <p:stCondLst>
                                    <p:cond delay="0"/>
                                  </p:stCondLst>
                                  <p:childTnLst>
                                    <p:set>
                                      <p:cBhvr>
                                        <p:cTn id="177" dur="1" fill="hold">
                                          <p:stCondLst>
                                            <p:cond delay="0"/>
                                          </p:stCondLst>
                                        </p:cTn>
                                        <p:tgtEl>
                                          <p:spTgt spid="172"/>
                                        </p:tgtEl>
                                        <p:attrNameLst>
                                          <p:attrName>style.visibility</p:attrName>
                                        </p:attrNameLst>
                                      </p:cBhvr>
                                      <p:to>
                                        <p:strVal val="visible"/>
                                      </p:to>
                                    </p:set>
                                    <p:animEffect transition="in" filter="fade">
                                      <p:cBhvr>
                                        <p:cTn id="178" dur="500"/>
                                        <p:tgtEl>
                                          <p:spTgt spid="172"/>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82"/>
                                        </p:tgtEl>
                                        <p:attrNameLst>
                                          <p:attrName>style.visibility</p:attrName>
                                        </p:attrNameLst>
                                      </p:cBhvr>
                                      <p:to>
                                        <p:strVal val="visible"/>
                                      </p:to>
                                    </p:set>
                                    <p:animEffect transition="in" filter="fade">
                                      <p:cBhvr>
                                        <p:cTn id="181" dur="500"/>
                                        <p:tgtEl>
                                          <p:spTgt spid="182"/>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75">
                                            <p:txEl>
                                              <p:pRg st="0" end="0"/>
                                            </p:txEl>
                                          </p:spTgt>
                                        </p:tgtEl>
                                        <p:attrNameLst>
                                          <p:attrName>style.visibility</p:attrName>
                                        </p:attrNameLst>
                                      </p:cBhvr>
                                      <p:to>
                                        <p:strVal val="visible"/>
                                      </p:to>
                                    </p:set>
                                    <p:animEffect transition="in" filter="fade">
                                      <p:cBhvr>
                                        <p:cTn id="184" dur="500"/>
                                        <p:tgtEl>
                                          <p:spTgt spid="75">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6">
                                            <p:txEl>
                                              <p:pRg st="0" end="0"/>
                                            </p:txEl>
                                          </p:spTgt>
                                        </p:tgtEl>
                                        <p:attrNameLst>
                                          <p:attrName>style.visibility</p:attrName>
                                        </p:attrNameLst>
                                      </p:cBhvr>
                                      <p:to>
                                        <p:strVal val="visible"/>
                                      </p:to>
                                    </p:set>
                                    <p:animEffect transition="in" filter="fade">
                                      <p:cBhvr>
                                        <p:cTn id="187" dur="500"/>
                                        <p:tgtEl>
                                          <p:spTgt spid="16">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9"/>
                                        </p:tgtEl>
                                        <p:attrNameLst>
                                          <p:attrName>style.visibility</p:attrName>
                                        </p:attrNameLst>
                                      </p:cBhvr>
                                      <p:to>
                                        <p:strVal val="visible"/>
                                      </p:to>
                                    </p:set>
                                    <p:animEffect transition="in" filter="fade">
                                      <p:cBhvr>
                                        <p:cTn id="190" dur="500"/>
                                        <p:tgtEl>
                                          <p:spTgt spid="79"/>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25"/>
                                        </p:tgtEl>
                                        <p:attrNameLst>
                                          <p:attrName>style.visibility</p:attrName>
                                        </p:attrNameLst>
                                      </p:cBhvr>
                                      <p:to>
                                        <p:strVal val="visible"/>
                                      </p:to>
                                    </p:set>
                                    <p:animEffect transition="in" filter="fade">
                                      <p:cBhvr>
                                        <p:cTn id="193" dur="500"/>
                                        <p:tgtEl>
                                          <p:spTgt spid="25"/>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83">
                                            <p:txEl>
                                              <p:pRg st="0" end="0"/>
                                            </p:txEl>
                                          </p:spTgt>
                                        </p:tgtEl>
                                        <p:attrNameLst>
                                          <p:attrName>style.visibility</p:attrName>
                                        </p:attrNameLst>
                                      </p:cBhvr>
                                      <p:to>
                                        <p:strVal val="visible"/>
                                      </p:to>
                                    </p:set>
                                    <p:animEffect transition="in" filter="fade">
                                      <p:cBhvr>
                                        <p:cTn id="196" dur="500"/>
                                        <p:tgtEl>
                                          <p:spTgt spid="83">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05"/>
                                        </p:tgtEl>
                                        <p:attrNameLst>
                                          <p:attrName>style.visibility</p:attrName>
                                        </p:attrNameLst>
                                      </p:cBhvr>
                                      <p:to>
                                        <p:strVal val="visible"/>
                                      </p:to>
                                    </p:set>
                                    <p:animEffect transition="in" filter="fade">
                                      <p:cBhvr>
                                        <p:cTn id="199" dur="500"/>
                                        <p:tgtEl>
                                          <p:spTgt spid="105"/>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67"/>
                                        </p:tgtEl>
                                        <p:attrNameLst>
                                          <p:attrName>style.opacity</p:attrName>
                                        </p:attrNameLst>
                                      </p:cBhvr>
                                      <p:to>
                                        <p:strVal val="0.1"/>
                                      </p:to>
                                    </p:set>
                                    <p:animEffect filter="image" prLst="opacity: 0.1">
                                      <p:cBhvr rctx="IE">
                                        <p:cTn id="204" dur="indefinite"/>
                                        <p:tgtEl>
                                          <p:spTgt spid="167"/>
                                        </p:tgtEl>
                                      </p:cBhvr>
                                    </p:animEffect>
                                  </p:childTnLst>
                                </p:cTn>
                              </p:par>
                              <p:par>
                                <p:cTn id="205" presetID="9" presetClass="emph" presetSubtype="0" nodeType="withEffect">
                                  <p:stCondLst>
                                    <p:cond delay="0"/>
                                  </p:stCondLst>
                                  <p:childTnLst>
                                    <p:set>
                                      <p:cBhvr>
                                        <p:cTn id="206" dur="indefinite"/>
                                        <p:tgtEl>
                                          <p:spTgt spid="172"/>
                                        </p:tgtEl>
                                        <p:attrNameLst>
                                          <p:attrName>style.opacity</p:attrName>
                                        </p:attrNameLst>
                                      </p:cBhvr>
                                      <p:to>
                                        <p:strVal val="0.1"/>
                                      </p:to>
                                    </p:set>
                                    <p:animEffect filter="image" prLst="opacity: 0.1">
                                      <p:cBhvr rctx="IE">
                                        <p:cTn id="207" dur="indefinite"/>
                                        <p:tgtEl>
                                          <p:spTgt spid="172"/>
                                        </p:tgtEl>
                                      </p:cBhvr>
                                    </p:animEffect>
                                  </p:childTnLst>
                                </p:cTn>
                              </p:par>
                              <p:par>
                                <p:cTn id="208" presetID="9" presetClass="emph" presetSubtype="0" grpId="1" nodeType="withEffect">
                                  <p:stCondLst>
                                    <p:cond delay="0"/>
                                  </p:stCondLst>
                                  <p:childTnLst>
                                    <p:set>
                                      <p:cBhvr>
                                        <p:cTn id="209" dur="indefinite"/>
                                        <p:tgtEl>
                                          <p:spTgt spid="182"/>
                                        </p:tgtEl>
                                        <p:attrNameLst>
                                          <p:attrName>style.opacity</p:attrName>
                                        </p:attrNameLst>
                                      </p:cBhvr>
                                      <p:to>
                                        <p:strVal val="0.1"/>
                                      </p:to>
                                    </p:set>
                                    <p:animEffect filter="image" prLst="opacity: 0.1">
                                      <p:cBhvr rctx="IE">
                                        <p:cTn id="210" dur="indefinite"/>
                                        <p:tgtEl>
                                          <p:spTgt spid="182"/>
                                        </p:tgtEl>
                                      </p:cBhvr>
                                    </p:animEffect>
                                  </p:childTnLst>
                                </p:cTn>
                              </p:par>
                              <p:par>
                                <p:cTn id="211" presetID="9" presetClass="emph" presetSubtype="0" grpId="1" nodeType="withEffect">
                                  <p:stCondLst>
                                    <p:cond delay="0"/>
                                  </p:stCondLst>
                                  <p:childTnLst>
                                    <p:set>
                                      <p:cBhvr>
                                        <p:cTn id="212" dur="indefinite"/>
                                        <p:tgtEl>
                                          <p:spTgt spid="75">
                                            <p:txEl>
                                              <p:pRg st="0" end="0"/>
                                            </p:txEl>
                                          </p:spTgt>
                                        </p:tgtEl>
                                        <p:attrNameLst>
                                          <p:attrName>style.opacity</p:attrName>
                                        </p:attrNameLst>
                                      </p:cBhvr>
                                      <p:to>
                                        <p:strVal val="0.1"/>
                                      </p:to>
                                    </p:set>
                                    <p:animEffect filter="image" prLst="opacity: 0.1">
                                      <p:cBhvr rctx="IE">
                                        <p:cTn id="213" dur="indefinite"/>
                                        <p:tgtEl>
                                          <p:spTgt spid="75">
                                            <p:txEl>
                                              <p:pRg st="0" end="0"/>
                                            </p:txEl>
                                          </p:spTgt>
                                        </p:tgtEl>
                                      </p:cBhvr>
                                    </p:animEffect>
                                  </p:childTnLst>
                                </p:cTn>
                              </p:par>
                              <p:par>
                                <p:cTn id="214" presetID="9" presetClass="emph" presetSubtype="0" grpId="1" nodeType="withEffect">
                                  <p:stCondLst>
                                    <p:cond delay="0"/>
                                  </p:stCondLst>
                                  <p:childTnLst>
                                    <p:set>
                                      <p:cBhvr>
                                        <p:cTn id="215" dur="indefinite"/>
                                        <p:tgtEl>
                                          <p:spTgt spid="16">
                                            <p:txEl>
                                              <p:pRg st="0" end="0"/>
                                            </p:txEl>
                                          </p:spTgt>
                                        </p:tgtEl>
                                        <p:attrNameLst>
                                          <p:attrName>style.opacity</p:attrName>
                                        </p:attrNameLst>
                                      </p:cBhvr>
                                      <p:to>
                                        <p:strVal val="0.1"/>
                                      </p:to>
                                    </p:set>
                                    <p:animEffect filter="image" prLst="opacity: 0.1">
                                      <p:cBhvr rctx="IE">
                                        <p:cTn id="216" dur="indefinite"/>
                                        <p:tgtEl>
                                          <p:spTgt spid="16">
                                            <p:txEl>
                                              <p:pRg st="0" end="0"/>
                                            </p:txEl>
                                          </p:spTgt>
                                        </p:tgtEl>
                                      </p:cBhvr>
                                    </p:animEffect>
                                  </p:childTnLst>
                                </p:cTn>
                              </p:par>
                              <p:par>
                                <p:cTn id="217" presetID="9" presetClass="emph" presetSubtype="0" grpId="1" nodeType="withEffect">
                                  <p:stCondLst>
                                    <p:cond delay="0"/>
                                  </p:stCondLst>
                                  <p:childTnLst>
                                    <p:set>
                                      <p:cBhvr>
                                        <p:cTn id="218" dur="indefinite"/>
                                        <p:tgtEl>
                                          <p:spTgt spid="79"/>
                                        </p:tgtEl>
                                        <p:attrNameLst>
                                          <p:attrName>style.opacity</p:attrName>
                                        </p:attrNameLst>
                                      </p:cBhvr>
                                      <p:to>
                                        <p:strVal val="0.1"/>
                                      </p:to>
                                    </p:set>
                                    <p:animEffect filter="image" prLst="opacity: 0.1">
                                      <p:cBhvr rctx="IE">
                                        <p:cTn id="219" dur="indefinite"/>
                                        <p:tgtEl>
                                          <p:spTgt spid="79"/>
                                        </p:tgtEl>
                                      </p:cBhvr>
                                    </p:animEffect>
                                  </p:childTnLst>
                                </p:cTn>
                              </p:par>
                              <p:par>
                                <p:cTn id="220" presetID="9" presetClass="emph" presetSubtype="0" grpId="1" nodeType="withEffect">
                                  <p:stCondLst>
                                    <p:cond delay="0"/>
                                  </p:stCondLst>
                                  <p:childTnLst>
                                    <p:set>
                                      <p:cBhvr>
                                        <p:cTn id="221" dur="indefinite"/>
                                        <p:tgtEl>
                                          <p:spTgt spid="25"/>
                                        </p:tgtEl>
                                        <p:attrNameLst>
                                          <p:attrName>style.opacity</p:attrName>
                                        </p:attrNameLst>
                                      </p:cBhvr>
                                      <p:to>
                                        <p:strVal val="0.1"/>
                                      </p:to>
                                    </p:set>
                                    <p:animEffect filter="image" prLst="opacity: 0.1">
                                      <p:cBhvr rctx="IE">
                                        <p:cTn id="222" dur="indefinite"/>
                                        <p:tgtEl>
                                          <p:spTgt spid="25"/>
                                        </p:tgtEl>
                                      </p:cBhvr>
                                    </p:animEffect>
                                  </p:childTnLst>
                                </p:cTn>
                              </p:par>
                              <p:par>
                                <p:cTn id="223" presetID="9" presetClass="emph" presetSubtype="0" grpId="1" nodeType="withEffect">
                                  <p:stCondLst>
                                    <p:cond delay="0"/>
                                  </p:stCondLst>
                                  <p:childTnLst>
                                    <p:set>
                                      <p:cBhvr>
                                        <p:cTn id="224" dur="indefinite"/>
                                        <p:tgtEl>
                                          <p:spTgt spid="83">
                                            <p:txEl>
                                              <p:pRg st="0" end="0"/>
                                            </p:txEl>
                                          </p:spTgt>
                                        </p:tgtEl>
                                        <p:attrNameLst>
                                          <p:attrName>style.opacity</p:attrName>
                                        </p:attrNameLst>
                                      </p:cBhvr>
                                      <p:to>
                                        <p:strVal val="0.1"/>
                                      </p:to>
                                    </p:set>
                                    <p:animEffect filter="image" prLst="opacity: 0.1">
                                      <p:cBhvr rctx="IE">
                                        <p:cTn id="225" dur="indefinite"/>
                                        <p:tgtEl>
                                          <p:spTgt spid="83">
                                            <p:txEl>
                                              <p:pRg st="0" end="0"/>
                                            </p:txEl>
                                          </p:spTgt>
                                        </p:tgtEl>
                                      </p:cBhvr>
                                    </p:animEffect>
                                  </p:childTnLst>
                                </p:cTn>
                              </p:par>
                              <p:par>
                                <p:cTn id="226" presetID="9" presetClass="emph" presetSubtype="0" nodeType="withEffect">
                                  <p:stCondLst>
                                    <p:cond delay="0"/>
                                  </p:stCondLst>
                                  <p:childTnLst>
                                    <p:set>
                                      <p:cBhvr>
                                        <p:cTn id="227" dur="indefinite"/>
                                        <p:tgtEl>
                                          <p:spTgt spid="105"/>
                                        </p:tgtEl>
                                        <p:attrNameLst>
                                          <p:attrName>style.opacity</p:attrName>
                                        </p:attrNameLst>
                                      </p:cBhvr>
                                      <p:to>
                                        <p:strVal val="0.1"/>
                                      </p:to>
                                    </p:set>
                                    <p:animEffect filter="image" prLst="opacity: 0.1">
                                      <p:cBhvr rctx="IE">
                                        <p:cTn id="228" dur="indefinite"/>
                                        <p:tgtEl>
                                          <p:spTgt spid="105"/>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68"/>
                                        </p:tgtEl>
                                        <p:attrNameLst>
                                          <p:attrName>style.visibility</p:attrName>
                                        </p:attrNameLst>
                                      </p:cBhvr>
                                      <p:to>
                                        <p:strVal val="visible"/>
                                      </p:to>
                                    </p:set>
                                    <p:animEffect transition="in" filter="fade">
                                      <p:cBhvr>
                                        <p:cTn id="231" dur="500"/>
                                        <p:tgtEl>
                                          <p:spTgt spid="168"/>
                                        </p:tgtEl>
                                      </p:cBhvr>
                                    </p:animEffect>
                                  </p:childTnLst>
                                </p:cTn>
                              </p:par>
                              <p:par>
                                <p:cTn id="232" presetID="10" presetClass="entr" presetSubtype="0" fill="hold" nodeType="withEffect">
                                  <p:stCondLst>
                                    <p:cond delay="0"/>
                                  </p:stCondLst>
                                  <p:childTnLst>
                                    <p:set>
                                      <p:cBhvr>
                                        <p:cTn id="233" dur="1" fill="hold">
                                          <p:stCondLst>
                                            <p:cond delay="0"/>
                                          </p:stCondLst>
                                        </p:cTn>
                                        <p:tgtEl>
                                          <p:spTgt spid="173"/>
                                        </p:tgtEl>
                                        <p:attrNameLst>
                                          <p:attrName>style.visibility</p:attrName>
                                        </p:attrNameLst>
                                      </p:cBhvr>
                                      <p:to>
                                        <p:strVal val="visible"/>
                                      </p:to>
                                    </p:set>
                                    <p:animEffect transition="in" filter="fade">
                                      <p:cBhvr>
                                        <p:cTn id="234" dur="500"/>
                                        <p:tgtEl>
                                          <p:spTgt spid="173"/>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83"/>
                                        </p:tgtEl>
                                        <p:attrNameLst>
                                          <p:attrName>style.visibility</p:attrName>
                                        </p:attrNameLst>
                                      </p:cBhvr>
                                      <p:to>
                                        <p:strVal val="visible"/>
                                      </p:to>
                                    </p:set>
                                    <p:animEffect transition="in" filter="fade">
                                      <p:cBhvr>
                                        <p:cTn id="237" dur="500"/>
                                        <p:tgtEl>
                                          <p:spTgt spid="183"/>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76">
                                            <p:txEl>
                                              <p:pRg st="0" end="0"/>
                                            </p:txEl>
                                          </p:spTgt>
                                        </p:tgtEl>
                                        <p:attrNameLst>
                                          <p:attrName>style.visibility</p:attrName>
                                        </p:attrNameLst>
                                      </p:cBhvr>
                                      <p:to>
                                        <p:strVal val="visible"/>
                                      </p:to>
                                    </p:set>
                                    <p:animEffect transition="in" filter="fade">
                                      <p:cBhvr>
                                        <p:cTn id="240" dur="500"/>
                                        <p:tgtEl>
                                          <p:spTgt spid="76">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7">
                                            <p:txEl>
                                              <p:pRg st="0" end="0"/>
                                            </p:txEl>
                                          </p:spTgt>
                                        </p:tgtEl>
                                        <p:attrNameLst>
                                          <p:attrName>style.visibility</p:attrName>
                                        </p:attrNameLst>
                                      </p:cBhvr>
                                      <p:to>
                                        <p:strVal val="visible"/>
                                      </p:to>
                                    </p:set>
                                    <p:animEffect transition="in" filter="fade">
                                      <p:cBhvr>
                                        <p:cTn id="243" dur="500"/>
                                        <p:tgtEl>
                                          <p:spTgt spid="17">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80"/>
                                        </p:tgtEl>
                                        <p:attrNameLst>
                                          <p:attrName>style.visibility</p:attrName>
                                        </p:attrNameLst>
                                      </p:cBhvr>
                                      <p:to>
                                        <p:strVal val="visible"/>
                                      </p:to>
                                    </p:set>
                                    <p:animEffect transition="in" filter="fade">
                                      <p:cBhvr>
                                        <p:cTn id="246" dur="500"/>
                                        <p:tgtEl>
                                          <p:spTgt spid="80"/>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26"/>
                                        </p:tgtEl>
                                        <p:attrNameLst>
                                          <p:attrName>style.visibility</p:attrName>
                                        </p:attrNameLst>
                                      </p:cBhvr>
                                      <p:to>
                                        <p:strVal val="visible"/>
                                      </p:to>
                                    </p:set>
                                    <p:animEffect transition="in" filter="fade">
                                      <p:cBhvr>
                                        <p:cTn id="249" dur="500"/>
                                        <p:tgtEl>
                                          <p:spTgt spid="26"/>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84">
                                            <p:txEl>
                                              <p:pRg st="0" end="0"/>
                                            </p:txEl>
                                          </p:spTgt>
                                        </p:tgtEl>
                                        <p:attrNameLst>
                                          <p:attrName>style.visibility</p:attrName>
                                        </p:attrNameLst>
                                      </p:cBhvr>
                                      <p:to>
                                        <p:strVal val="visible"/>
                                      </p:to>
                                    </p:set>
                                    <p:animEffect transition="in" filter="fade">
                                      <p:cBhvr>
                                        <p:cTn id="252" dur="500"/>
                                        <p:tgtEl>
                                          <p:spTgt spid="84">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18"/>
                                        </p:tgtEl>
                                        <p:attrNameLst>
                                          <p:attrName>style.visibility</p:attrName>
                                        </p:attrNameLst>
                                      </p:cBhvr>
                                      <p:to>
                                        <p:strVal val="visible"/>
                                      </p:to>
                                    </p:set>
                                    <p:animEffect transition="in" filter="fade">
                                      <p:cBhvr>
                                        <p:cTn id="255" dur="500"/>
                                        <p:tgtEl>
                                          <p:spTgt spid="118"/>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64"/>
                                        </p:tgtEl>
                                        <p:attrNameLst>
                                          <p:attrName>style.opacity</p:attrName>
                                        </p:attrNameLst>
                                      </p:cBhvr>
                                      <p:to>
                                        <p:strVal val="1"/>
                                      </p:to>
                                    </p:set>
                                    <p:animEffect filter="image" prLst="opacity: 1">
                                      <p:cBhvr rctx="IE">
                                        <p:cTn id="260" dur="indefinite"/>
                                        <p:tgtEl>
                                          <p:spTgt spid="164"/>
                                        </p:tgtEl>
                                      </p:cBhvr>
                                    </p:animEffect>
                                  </p:childTnLst>
                                </p:cTn>
                              </p:par>
                              <p:par>
                                <p:cTn id="261" presetID="9" presetClass="emph" presetSubtype="0" grpId="2" nodeType="withEffect">
                                  <p:stCondLst>
                                    <p:cond delay="0"/>
                                  </p:stCondLst>
                                  <p:childTnLst>
                                    <p:set>
                                      <p:cBhvr>
                                        <p:cTn id="262" dur="indefinite"/>
                                        <p:tgtEl>
                                          <p:spTgt spid="165"/>
                                        </p:tgtEl>
                                        <p:attrNameLst>
                                          <p:attrName>style.opacity</p:attrName>
                                        </p:attrNameLst>
                                      </p:cBhvr>
                                      <p:to>
                                        <p:strVal val="1"/>
                                      </p:to>
                                    </p:set>
                                    <p:animEffect filter="image" prLst="opacity: 1">
                                      <p:cBhvr rctx="IE">
                                        <p:cTn id="263" dur="indefinite"/>
                                        <p:tgtEl>
                                          <p:spTgt spid="165"/>
                                        </p:tgtEl>
                                      </p:cBhvr>
                                    </p:animEffect>
                                  </p:childTnLst>
                                </p:cTn>
                              </p:par>
                              <p:par>
                                <p:cTn id="264" presetID="9" presetClass="emph" presetSubtype="0" grpId="2" nodeType="withEffect">
                                  <p:stCondLst>
                                    <p:cond delay="0"/>
                                  </p:stCondLst>
                                  <p:childTnLst>
                                    <p:set>
                                      <p:cBhvr>
                                        <p:cTn id="265" dur="indefinite"/>
                                        <p:tgtEl>
                                          <p:spTgt spid="166"/>
                                        </p:tgtEl>
                                        <p:attrNameLst>
                                          <p:attrName>style.opacity</p:attrName>
                                        </p:attrNameLst>
                                      </p:cBhvr>
                                      <p:to>
                                        <p:strVal val="1"/>
                                      </p:to>
                                    </p:set>
                                    <p:animEffect filter="image" prLst="opacity: 1">
                                      <p:cBhvr rctx="IE">
                                        <p:cTn id="266" dur="indefinite"/>
                                        <p:tgtEl>
                                          <p:spTgt spid="166"/>
                                        </p:tgtEl>
                                      </p:cBhvr>
                                    </p:animEffect>
                                  </p:childTnLst>
                                </p:cTn>
                              </p:par>
                              <p:par>
                                <p:cTn id="267" presetID="9" presetClass="emph" presetSubtype="0" grpId="2" nodeType="withEffect">
                                  <p:stCondLst>
                                    <p:cond delay="0"/>
                                  </p:stCondLst>
                                  <p:childTnLst>
                                    <p:set>
                                      <p:cBhvr>
                                        <p:cTn id="268" dur="indefinite"/>
                                        <p:tgtEl>
                                          <p:spTgt spid="167"/>
                                        </p:tgtEl>
                                        <p:attrNameLst>
                                          <p:attrName>style.opacity</p:attrName>
                                        </p:attrNameLst>
                                      </p:cBhvr>
                                      <p:to>
                                        <p:strVal val="1"/>
                                      </p:to>
                                    </p:set>
                                    <p:animEffect filter="image" prLst="opacity: 1">
                                      <p:cBhvr rctx="IE">
                                        <p:cTn id="269" dur="indefinite"/>
                                        <p:tgtEl>
                                          <p:spTgt spid="167"/>
                                        </p:tgtEl>
                                      </p:cBhvr>
                                    </p:animEffect>
                                  </p:childTnLst>
                                </p:cTn>
                              </p:par>
                              <p:par>
                                <p:cTn id="270" presetID="9" presetClass="emph" presetSubtype="0" nodeType="withEffect">
                                  <p:stCondLst>
                                    <p:cond delay="0"/>
                                  </p:stCondLst>
                                  <p:childTnLst>
                                    <p:set>
                                      <p:cBhvr>
                                        <p:cTn id="271" dur="indefinite"/>
                                        <p:tgtEl>
                                          <p:spTgt spid="169"/>
                                        </p:tgtEl>
                                        <p:attrNameLst>
                                          <p:attrName>style.opacity</p:attrName>
                                        </p:attrNameLst>
                                      </p:cBhvr>
                                      <p:to>
                                        <p:strVal val="1"/>
                                      </p:to>
                                    </p:set>
                                    <p:animEffect filter="image" prLst="opacity: 1">
                                      <p:cBhvr rctx="IE">
                                        <p:cTn id="272" dur="indefinite"/>
                                        <p:tgtEl>
                                          <p:spTgt spid="169"/>
                                        </p:tgtEl>
                                      </p:cBhvr>
                                    </p:animEffect>
                                  </p:childTnLst>
                                </p:cTn>
                              </p:par>
                              <p:par>
                                <p:cTn id="273" presetID="9" presetClass="emph" presetSubtype="0" nodeType="withEffect">
                                  <p:stCondLst>
                                    <p:cond delay="0"/>
                                  </p:stCondLst>
                                  <p:childTnLst>
                                    <p:set>
                                      <p:cBhvr>
                                        <p:cTn id="274" dur="indefinite"/>
                                        <p:tgtEl>
                                          <p:spTgt spid="170"/>
                                        </p:tgtEl>
                                        <p:attrNameLst>
                                          <p:attrName>style.opacity</p:attrName>
                                        </p:attrNameLst>
                                      </p:cBhvr>
                                      <p:to>
                                        <p:strVal val="1"/>
                                      </p:to>
                                    </p:set>
                                    <p:animEffect filter="image" prLst="opacity: 1">
                                      <p:cBhvr rctx="IE">
                                        <p:cTn id="275" dur="indefinite"/>
                                        <p:tgtEl>
                                          <p:spTgt spid="170"/>
                                        </p:tgtEl>
                                      </p:cBhvr>
                                    </p:animEffect>
                                  </p:childTnLst>
                                </p:cTn>
                              </p:par>
                              <p:par>
                                <p:cTn id="276" presetID="9" presetClass="emph" presetSubtype="0" nodeType="withEffect">
                                  <p:stCondLst>
                                    <p:cond delay="0"/>
                                  </p:stCondLst>
                                  <p:childTnLst>
                                    <p:set>
                                      <p:cBhvr>
                                        <p:cTn id="277" dur="indefinite"/>
                                        <p:tgtEl>
                                          <p:spTgt spid="171"/>
                                        </p:tgtEl>
                                        <p:attrNameLst>
                                          <p:attrName>style.opacity</p:attrName>
                                        </p:attrNameLst>
                                      </p:cBhvr>
                                      <p:to>
                                        <p:strVal val="1"/>
                                      </p:to>
                                    </p:set>
                                    <p:animEffect filter="image" prLst="opacity: 1">
                                      <p:cBhvr rctx="IE">
                                        <p:cTn id="278" dur="indefinite"/>
                                        <p:tgtEl>
                                          <p:spTgt spid="171"/>
                                        </p:tgtEl>
                                      </p:cBhvr>
                                    </p:animEffect>
                                  </p:childTnLst>
                                </p:cTn>
                              </p:par>
                              <p:par>
                                <p:cTn id="279" presetID="9" presetClass="emph" presetSubtype="0" nodeType="withEffect">
                                  <p:stCondLst>
                                    <p:cond delay="0"/>
                                  </p:stCondLst>
                                  <p:childTnLst>
                                    <p:set>
                                      <p:cBhvr>
                                        <p:cTn id="280" dur="indefinite"/>
                                        <p:tgtEl>
                                          <p:spTgt spid="172"/>
                                        </p:tgtEl>
                                        <p:attrNameLst>
                                          <p:attrName>style.opacity</p:attrName>
                                        </p:attrNameLst>
                                      </p:cBhvr>
                                      <p:to>
                                        <p:strVal val="1"/>
                                      </p:to>
                                    </p:set>
                                    <p:animEffect filter="image" prLst="opacity: 1">
                                      <p:cBhvr rctx="IE">
                                        <p:cTn id="281" dur="indefinite"/>
                                        <p:tgtEl>
                                          <p:spTgt spid="172"/>
                                        </p:tgtEl>
                                      </p:cBhvr>
                                    </p:animEffect>
                                  </p:childTnLst>
                                </p:cTn>
                              </p:par>
                              <p:par>
                                <p:cTn id="282" presetID="9" presetClass="emph" presetSubtype="0" grpId="2" nodeType="withEffect">
                                  <p:stCondLst>
                                    <p:cond delay="0"/>
                                  </p:stCondLst>
                                  <p:childTnLst>
                                    <p:set>
                                      <p:cBhvr>
                                        <p:cTn id="283" dur="indefinite"/>
                                        <p:tgtEl>
                                          <p:spTgt spid="179"/>
                                        </p:tgtEl>
                                        <p:attrNameLst>
                                          <p:attrName>style.opacity</p:attrName>
                                        </p:attrNameLst>
                                      </p:cBhvr>
                                      <p:to>
                                        <p:strVal val="1"/>
                                      </p:to>
                                    </p:set>
                                    <p:animEffect filter="image" prLst="opacity: 1">
                                      <p:cBhvr rctx="IE">
                                        <p:cTn id="284" dur="indefinite"/>
                                        <p:tgtEl>
                                          <p:spTgt spid="179"/>
                                        </p:tgtEl>
                                      </p:cBhvr>
                                    </p:animEffect>
                                  </p:childTnLst>
                                </p:cTn>
                              </p:par>
                              <p:par>
                                <p:cTn id="285" presetID="9" presetClass="emph" presetSubtype="0" grpId="2" nodeType="withEffect">
                                  <p:stCondLst>
                                    <p:cond delay="0"/>
                                  </p:stCondLst>
                                  <p:childTnLst>
                                    <p:set>
                                      <p:cBhvr>
                                        <p:cTn id="286" dur="indefinite"/>
                                        <p:tgtEl>
                                          <p:spTgt spid="180"/>
                                        </p:tgtEl>
                                        <p:attrNameLst>
                                          <p:attrName>style.opacity</p:attrName>
                                        </p:attrNameLst>
                                      </p:cBhvr>
                                      <p:to>
                                        <p:strVal val="1"/>
                                      </p:to>
                                    </p:set>
                                    <p:animEffect filter="image" prLst="opacity: 1">
                                      <p:cBhvr rctx="IE">
                                        <p:cTn id="287" dur="indefinite"/>
                                        <p:tgtEl>
                                          <p:spTgt spid="180"/>
                                        </p:tgtEl>
                                      </p:cBhvr>
                                    </p:animEffect>
                                  </p:childTnLst>
                                </p:cTn>
                              </p:par>
                              <p:par>
                                <p:cTn id="288" presetID="9" presetClass="emph" presetSubtype="0" grpId="2" nodeType="withEffect">
                                  <p:stCondLst>
                                    <p:cond delay="0"/>
                                  </p:stCondLst>
                                  <p:childTnLst>
                                    <p:set>
                                      <p:cBhvr>
                                        <p:cTn id="289" dur="indefinite"/>
                                        <p:tgtEl>
                                          <p:spTgt spid="181"/>
                                        </p:tgtEl>
                                        <p:attrNameLst>
                                          <p:attrName>style.opacity</p:attrName>
                                        </p:attrNameLst>
                                      </p:cBhvr>
                                      <p:to>
                                        <p:strVal val="1"/>
                                      </p:to>
                                    </p:set>
                                    <p:animEffect filter="image" prLst="opacity: 1">
                                      <p:cBhvr rctx="IE">
                                        <p:cTn id="290" dur="indefinite"/>
                                        <p:tgtEl>
                                          <p:spTgt spid="181"/>
                                        </p:tgtEl>
                                      </p:cBhvr>
                                    </p:animEffect>
                                  </p:childTnLst>
                                </p:cTn>
                              </p:par>
                              <p:par>
                                <p:cTn id="291" presetID="9" presetClass="emph" presetSubtype="0" grpId="2" nodeType="withEffect">
                                  <p:stCondLst>
                                    <p:cond delay="0"/>
                                  </p:stCondLst>
                                  <p:childTnLst>
                                    <p:set>
                                      <p:cBhvr>
                                        <p:cTn id="292" dur="indefinite"/>
                                        <p:tgtEl>
                                          <p:spTgt spid="182"/>
                                        </p:tgtEl>
                                        <p:attrNameLst>
                                          <p:attrName>style.opacity</p:attrName>
                                        </p:attrNameLst>
                                      </p:cBhvr>
                                      <p:to>
                                        <p:strVal val="1"/>
                                      </p:to>
                                    </p:set>
                                    <p:animEffect filter="image" prLst="opacity: 1">
                                      <p:cBhvr rctx="IE">
                                        <p:cTn id="293" dur="indefinite"/>
                                        <p:tgtEl>
                                          <p:spTgt spid="182"/>
                                        </p:tgtEl>
                                      </p:cBhvr>
                                    </p:animEffect>
                                  </p:childTnLst>
                                </p:cTn>
                              </p:par>
                              <p:par>
                                <p:cTn id="294" presetID="9" presetClass="emph" presetSubtype="0" grpId="2" nodeType="withEffect">
                                  <p:stCondLst>
                                    <p:cond delay="0"/>
                                  </p:stCondLst>
                                  <p:childTnLst>
                                    <p:set>
                                      <p:cBhvr>
                                        <p:cTn id="295" dur="indefinite"/>
                                        <p:tgtEl>
                                          <p:spTgt spid="8">
                                            <p:txEl>
                                              <p:pRg st="0" end="0"/>
                                            </p:txEl>
                                          </p:spTgt>
                                        </p:tgtEl>
                                        <p:attrNameLst>
                                          <p:attrName>style.opacity</p:attrName>
                                        </p:attrNameLst>
                                      </p:cBhvr>
                                      <p:to>
                                        <p:strVal val="1"/>
                                      </p:to>
                                    </p:set>
                                    <p:animEffect filter="image" prLst="opacity: 1">
                                      <p:cBhvr rctx="IE">
                                        <p:cTn id="296" dur="indefinite"/>
                                        <p:tgtEl>
                                          <p:spTgt spid="8">
                                            <p:txEl>
                                              <p:pRg st="0" end="0"/>
                                            </p:txEl>
                                          </p:spTgt>
                                        </p:tgtEl>
                                      </p:cBhvr>
                                    </p:animEffect>
                                  </p:childTnLst>
                                </p:cTn>
                              </p:par>
                              <p:par>
                                <p:cTn id="297" presetID="9" presetClass="emph" presetSubtype="0" grpId="2" nodeType="withEffect">
                                  <p:stCondLst>
                                    <p:cond delay="0"/>
                                  </p:stCondLst>
                                  <p:childTnLst>
                                    <p:set>
                                      <p:cBhvr>
                                        <p:cTn id="298" dur="indefinite"/>
                                        <p:tgtEl>
                                          <p:spTgt spid="73">
                                            <p:txEl>
                                              <p:pRg st="0" end="0"/>
                                            </p:txEl>
                                          </p:spTgt>
                                        </p:tgtEl>
                                        <p:attrNameLst>
                                          <p:attrName>style.opacity</p:attrName>
                                        </p:attrNameLst>
                                      </p:cBhvr>
                                      <p:to>
                                        <p:strVal val="1"/>
                                      </p:to>
                                    </p:set>
                                    <p:animEffect filter="image" prLst="opacity: 1">
                                      <p:cBhvr rctx="IE">
                                        <p:cTn id="299" dur="indefinite"/>
                                        <p:tgtEl>
                                          <p:spTgt spid="73">
                                            <p:txEl>
                                              <p:pRg st="0" end="0"/>
                                            </p:txEl>
                                          </p:spTgt>
                                        </p:tgtEl>
                                      </p:cBhvr>
                                    </p:animEffect>
                                  </p:childTnLst>
                                </p:cTn>
                              </p:par>
                              <p:par>
                                <p:cTn id="300" presetID="9" presetClass="emph" presetSubtype="0" grpId="2" nodeType="withEffect">
                                  <p:stCondLst>
                                    <p:cond delay="0"/>
                                  </p:stCondLst>
                                  <p:childTnLst>
                                    <p:set>
                                      <p:cBhvr>
                                        <p:cTn id="301" dur="indefinite"/>
                                        <p:tgtEl>
                                          <p:spTgt spid="74">
                                            <p:txEl>
                                              <p:pRg st="0" end="0"/>
                                            </p:txEl>
                                          </p:spTgt>
                                        </p:tgtEl>
                                        <p:attrNameLst>
                                          <p:attrName>style.opacity</p:attrName>
                                        </p:attrNameLst>
                                      </p:cBhvr>
                                      <p:to>
                                        <p:strVal val="1"/>
                                      </p:to>
                                    </p:set>
                                    <p:animEffect filter="image" prLst="opacity: 1">
                                      <p:cBhvr rctx="IE">
                                        <p:cTn id="302" dur="indefinite"/>
                                        <p:tgtEl>
                                          <p:spTgt spid="74">
                                            <p:txEl>
                                              <p:pRg st="0" end="0"/>
                                            </p:txEl>
                                          </p:spTgt>
                                        </p:tgtEl>
                                      </p:cBhvr>
                                    </p:animEffect>
                                  </p:childTnLst>
                                </p:cTn>
                              </p:par>
                              <p:par>
                                <p:cTn id="303" presetID="9" presetClass="emph" presetSubtype="0" grpId="2" nodeType="withEffect">
                                  <p:stCondLst>
                                    <p:cond delay="0"/>
                                  </p:stCondLst>
                                  <p:childTnLst>
                                    <p:set>
                                      <p:cBhvr>
                                        <p:cTn id="304" dur="indefinite"/>
                                        <p:tgtEl>
                                          <p:spTgt spid="75">
                                            <p:txEl>
                                              <p:pRg st="0" end="0"/>
                                            </p:txEl>
                                          </p:spTgt>
                                        </p:tgtEl>
                                        <p:attrNameLst>
                                          <p:attrName>style.opacity</p:attrName>
                                        </p:attrNameLst>
                                      </p:cBhvr>
                                      <p:to>
                                        <p:strVal val="1"/>
                                      </p:to>
                                    </p:set>
                                    <p:animEffect filter="image" prLst="opacity: 1">
                                      <p:cBhvr rctx="IE">
                                        <p:cTn id="305" dur="indefinite"/>
                                        <p:tgtEl>
                                          <p:spTgt spid="75">
                                            <p:txEl>
                                              <p:pRg st="0" end="0"/>
                                            </p:txEl>
                                          </p:spTgt>
                                        </p:tgtEl>
                                      </p:cBhvr>
                                    </p:animEffect>
                                  </p:childTnLst>
                                </p:cTn>
                              </p:par>
                              <p:par>
                                <p:cTn id="306" presetID="9" presetClass="emph" presetSubtype="0" grpId="2" nodeType="withEffect">
                                  <p:stCondLst>
                                    <p:cond delay="0"/>
                                  </p:stCondLst>
                                  <p:childTnLst>
                                    <p:set>
                                      <p:cBhvr>
                                        <p:cTn id="307" dur="indefinite"/>
                                        <p:tgtEl>
                                          <p:spTgt spid="13">
                                            <p:txEl>
                                              <p:pRg st="0" end="0"/>
                                            </p:txEl>
                                          </p:spTgt>
                                        </p:tgtEl>
                                        <p:attrNameLst>
                                          <p:attrName>style.opacity</p:attrName>
                                        </p:attrNameLst>
                                      </p:cBhvr>
                                      <p:to>
                                        <p:strVal val="1"/>
                                      </p:to>
                                    </p:set>
                                    <p:animEffect filter="image" prLst="opacity: 1">
                                      <p:cBhvr rctx="IE">
                                        <p:cTn id="308" dur="indefinite"/>
                                        <p:tgtEl>
                                          <p:spTgt spid="13">
                                            <p:txEl>
                                              <p:pRg st="0" end="0"/>
                                            </p:txEl>
                                          </p:spTgt>
                                        </p:tgtEl>
                                      </p:cBhvr>
                                    </p:animEffect>
                                  </p:childTnLst>
                                </p:cTn>
                              </p:par>
                              <p:par>
                                <p:cTn id="309" presetID="9" presetClass="emph" presetSubtype="0" grpId="2" nodeType="withEffect">
                                  <p:stCondLst>
                                    <p:cond delay="0"/>
                                  </p:stCondLst>
                                  <p:childTnLst>
                                    <p:set>
                                      <p:cBhvr>
                                        <p:cTn id="310" dur="indefinite"/>
                                        <p:tgtEl>
                                          <p:spTgt spid="14">
                                            <p:txEl>
                                              <p:pRg st="0" end="0"/>
                                            </p:txEl>
                                          </p:spTgt>
                                        </p:tgtEl>
                                        <p:attrNameLst>
                                          <p:attrName>style.opacity</p:attrName>
                                        </p:attrNameLst>
                                      </p:cBhvr>
                                      <p:to>
                                        <p:strVal val="1"/>
                                      </p:to>
                                    </p:set>
                                    <p:animEffect filter="image" prLst="opacity: 1">
                                      <p:cBhvr rctx="IE">
                                        <p:cTn id="311" dur="indefinite"/>
                                        <p:tgtEl>
                                          <p:spTgt spid="14">
                                            <p:txEl>
                                              <p:pRg st="0" end="0"/>
                                            </p:txEl>
                                          </p:spTgt>
                                        </p:tgtEl>
                                      </p:cBhvr>
                                    </p:animEffect>
                                  </p:childTnLst>
                                </p:cTn>
                              </p:par>
                              <p:par>
                                <p:cTn id="312" presetID="9" presetClass="emph" presetSubtype="0" grpId="2" nodeType="withEffect">
                                  <p:stCondLst>
                                    <p:cond delay="0"/>
                                  </p:stCondLst>
                                  <p:childTnLst>
                                    <p:set>
                                      <p:cBhvr>
                                        <p:cTn id="313" dur="indefinite"/>
                                        <p:tgtEl>
                                          <p:spTgt spid="15">
                                            <p:txEl>
                                              <p:pRg st="0" end="0"/>
                                            </p:txEl>
                                          </p:spTgt>
                                        </p:tgtEl>
                                        <p:attrNameLst>
                                          <p:attrName>style.opacity</p:attrName>
                                        </p:attrNameLst>
                                      </p:cBhvr>
                                      <p:to>
                                        <p:strVal val="1"/>
                                      </p:to>
                                    </p:set>
                                    <p:animEffect filter="image" prLst="opacity: 1">
                                      <p:cBhvr rctx="IE">
                                        <p:cTn id="314" dur="indefinite"/>
                                        <p:tgtEl>
                                          <p:spTgt spid="15">
                                            <p:txEl>
                                              <p:pRg st="0" end="0"/>
                                            </p:txEl>
                                          </p:spTgt>
                                        </p:tgtEl>
                                      </p:cBhvr>
                                    </p:animEffect>
                                  </p:childTnLst>
                                </p:cTn>
                              </p:par>
                              <p:par>
                                <p:cTn id="315" presetID="9" presetClass="emph" presetSubtype="0" grpId="2" nodeType="withEffect">
                                  <p:stCondLst>
                                    <p:cond delay="0"/>
                                  </p:stCondLst>
                                  <p:childTnLst>
                                    <p:set>
                                      <p:cBhvr>
                                        <p:cTn id="316" dur="indefinite"/>
                                        <p:tgtEl>
                                          <p:spTgt spid="16">
                                            <p:txEl>
                                              <p:pRg st="0" end="0"/>
                                            </p:txEl>
                                          </p:spTgt>
                                        </p:tgtEl>
                                        <p:attrNameLst>
                                          <p:attrName>style.opacity</p:attrName>
                                        </p:attrNameLst>
                                      </p:cBhvr>
                                      <p:to>
                                        <p:strVal val="1"/>
                                      </p:to>
                                    </p:set>
                                    <p:animEffect filter="image" prLst="opacity: 1">
                                      <p:cBhvr rctx="IE">
                                        <p:cTn id="317" dur="indefinite"/>
                                        <p:tgtEl>
                                          <p:spTgt spid="16">
                                            <p:txEl>
                                              <p:pRg st="0" end="0"/>
                                            </p:txEl>
                                          </p:spTgt>
                                        </p:tgtEl>
                                      </p:cBhvr>
                                    </p:animEffect>
                                  </p:childTnLst>
                                </p:cTn>
                              </p:par>
                              <p:par>
                                <p:cTn id="318" presetID="9" presetClass="emph" presetSubtype="0" grpId="2" nodeType="withEffect">
                                  <p:stCondLst>
                                    <p:cond delay="0"/>
                                  </p:stCondLst>
                                  <p:childTnLst>
                                    <p:set>
                                      <p:cBhvr>
                                        <p:cTn id="319" dur="indefinite"/>
                                        <p:tgtEl>
                                          <p:spTgt spid="77"/>
                                        </p:tgtEl>
                                        <p:attrNameLst>
                                          <p:attrName>style.opacity</p:attrName>
                                        </p:attrNameLst>
                                      </p:cBhvr>
                                      <p:to>
                                        <p:strVal val="1"/>
                                      </p:to>
                                    </p:set>
                                    <p:animEffect filter="image" prLst="opacity: 1">
                                      <p:cBhvr rctx="IE">
                                        <p:cTn id="320" dur="indefinite"/>
                                        <p:tgtEl>
                                          <p:spTgt spid="77"/>
                                        </p:tgtEl>
                                      </p:cBhvr>
                                    </p:animEffect>
                                  </p:childTnLst>
                                </p:cTn>
                              </p:par>
                              <p:par>
                                <p:cTn id="321" presetID="9" presetClass="emph" presetSubtype="0" grpId="2" nodeType="withEffect">
                                  <p:stCondLst>
                                    <p:cond delay="0"/>
                                  </p:stCondLst>
                                  <p:childTnLst>
                                    <p:set>
                                      <p:cBhvr>
                                        <p:cTn id="322" dur="indefinite"/>
                                        <p:tgtEl>
                                          <p:spTgt spid="78"/>
                                        </p:tgtEl>
                                        <p:attrNameLst>
                                          <p:attrName>style.opacity</p:attrName>
                                        </p:attrNameLst>
                                      </p:cBhvr>
                                      <p:to>
                                        <p:strVal val="1"/>
                                      </p:to>
                                    </p:set>
                                    <p:animEffect filter="image" prLst="opacity: 1">
                                      <p:cBhvr rctx="IE">
                                        <p:cTn id="323" dur="indefinite"/>
                                        <p:tgtEl>
                                          <p:spTgt spid="78"/>
                                        </p:tgtEl>
                                      </p:cBhvr>
                                    </p:animEffect>
                                  </p:childTnLst>
                                </p:cTn>
                              </p:par>
                              <p:par>
                                <p:cTn id="324" presetID="9" presetClass="emph" presetSubtype="0" grpId="2" nodeType="withEffect">
                                  <p:stCondLst>
                                    <p:cond delay="0"/>
                                  </p:stCondLst>
                                  <p:childTnLst>
                                    <p:set>
                                      <p:cBhvr>
                                        <p:cTn id="325" dur="indefinite"/>
                                        <p:tgtEl>
                                          <p:spTgt spid="79"/>
                                        </p:tgtEl>
                                        <p:attrNameLst>
                                          <p:attrName>style.opacity</p:attrName>
                                        </p:attrNameLst>
                                      </p:cBhvr>
                                      <p:to>
                                        <p:strVal val="1"/>
                                      </p:to>
                                    </p:set>
                                    <p:animEffect filter="image" prLst="opacity: 1">
                                      <p:cBhvr rctx="IE">
                                        <p:cTn id="326" dur="indefinite"/>
                                        <p:tgtEl>
                                          <p:spTgt spid="79"/>
                                        </p:tgtEl>
                                      </p:cBhvr>
                                    </p:animEffect>
                                  </p:childTnLst>
                                </p:cTn>
                              </p:par>
                              <p:par>
                                <p:cTn id="327" presetID="9" presetClass="emph" presetSubtype="0" grpId="2" nodeType="withEffect">
                                  <p:stCondLst>
                                    <p:cond delay="0"/>
                                  </p:stCondLst>
                                  <p:childTnLst>
                                    <p:set>
                                      <p:cBhvr>
                                        <p:cTn id="328" dur="indefinite"/>
                                        <p:tgtEl>
                                          <p:spTgt spid="22"/>
                                        </p:tgtEl>
                                        <p:attrNameLst>
                                          <p:attrName>style.opacity</p:attrName>
                                        </p:attrNameLst>
                                      </p:cBhvr>
                                      <p:to>
                                        <p:strVal val="1"/>
                                      </p:to>
                                    </p:set>
                                    <p:animEffect filter="image" prLst="opacity: 1">
                                      <p:cBhvr rctx="IE">
                                        <p:cTn id="329" dur="indefinite"/>
                                        <p:tgtEl>
                                          <p:spTgt spid="22"/>
                                        </p:tgtEl>
                                      </p:cBhvr>
                                    </p:animEffect>
                                  </p:childTnLst>
                                </p:cTn>
                              </p:par>
                              <p:par>
                                <p:cTn id="330" presetID="9" presetClass="emph" presetSubtype="0" grpId="2" nodeType="withEffect">
                                  <p:stCondLst>
                                    <p:cond delay="0"/>
                                  </p:stCondLst>
                                  <p:childTnLst>
                                    <p:set>
                                      <p:cBhvr>
                                        <p:cTn id="331" dur="indefinite"/>
                                        <p:tgtEl>
                                          <p:spTgt spid="23"/>
                                        </p:tgtEl>
                                        <p:attrNameLst>
                                          <p:attrName>style.opacity</p:attrName>
                                        </p:attrNameLst>
                                      </p:cBhvr>
                                      <p:to>
                                        <p:strVal val="1"/>
                                      </p:to>
                                    </p:set>
                                    <p:animEffect filter="image" prLst="opacity: 1">
                                      <p:cBhvr rctx="IE">
                                        <p:cTn id="332" dur="indefinite"/>
                                        <p:tgtEl>
                                          <p:spTgt spid="23"/>
                                        </p:tgtEl>
                                      </p:cBhvr>
                                    </p:animEffect>
                                  </p:childTnLst>
                                </p:cTn>
                              </p:par>
                              <p:par>
                                <p:cTn id="333" presetID="9" presetClass="emph" presetSubtype="0" grpId="2" nodeType="withEffect">
                                  <p:stCondLst>
                                    <p:cond delay="0"/>
                                  </p:stCondLst>
                                  <p:childTnLst>
                                    <p:set>
                                      <p:cBhvr>
                                        <p:cTn id="334" dur="indefinite"/>
                                        <p:tgtEl>
                                          <p:spTgt spid="24"/>
                                        </p:tgtEl>
                                        <p:attrNameLst>
                                          <p:attrName>style.opacity</p:attrName>
                                        </p:attrNameLst>
                                      </p:cBhvr>
                                      <p:to>
                                        <p:strVal val="1"/>
                                      </p:to>
                                    </p:set>
                                    <p:animEffect filter="image" prLst="opacity: 1">
                                      <p:cBhvr rctx="IE">
                                        <p:cTn id="335" dur="indefinite"/>
                                        <p:tgtEl>
                                          <p:spTgt spid="24"/>
                                        </p:tgtEl>
                                      </p:cBhvr>
                                    </p:animEffect>
                                  </p:childTnLst>
                                </p:cTn>
                              </p:par>
                              <p:par>
                                <p:cTn id="336" presetID="9" presetClass="emph" presetSubtype="0" grpId="2" nodeType="withEffect">
                                  <p:stCondLst>
                                    <p:cond delay="0"/>
                                  </p:stCondLst>
                                  <p:childTnLst>
                                    <p:set>
                                      <p:cBhvr>
                                        <p:cTn id="337" dur="indefinite"/>
                                        <p:tgtEl>
                                          <p:spTgt spid="25"/>
                                        </p:tgtEl>
                                        <p:attrNameLst>
                                          <p:attrName>style.opacity</p:attrName>
                                        </p:attrNameLst>
                                      </p:cBhvr>
                                      <p:to>
                                        <p:strVal val="1"/>
                                      </p:to>
                                    </p:set>
                                    <p:animEffect filter="image" prLst="opacity: 1">
                                      <p:cBhvr rctx="IE">
                                        <p:cTn id="338" dur="indefinite"/>
                                        <p:tgtEl>
                                          <p:spTgt spid="25"/>
                                        </p:tgtEl>
                                      </p:cBhvr>
                                    </p:animEffect>
                                  </p:childTnLst>
                                </p:cTn>
                              </p:par>
                              <p:par>
                                <p:cTn id="339" presetID="9" presetClass="emph" presetSubtype="0" grpId="2" nodeType="withEffect">
                                  <p:stCondLst>
                                    <p:cond delay="0"/>
                                  </p:stCondLst>
                                  <p:childTnLst>
                                    <p:set>
                                      <p:cBhvr>
                                        <p:cTn id="340" dur="indefinite"/>
                                        <p:tgtEl>
                                          <p:spTgt spid="81"/>
                                        </p:tgtEl>
                                        <p:attrNameLst>
                                          <p:attrName>style.opacity</p:attrName>
                                        </p:attrNameLst>
                                      </p:cBhvr>
                                      <p:to>
                                        <p:strVal val="1"/>
                                      </p:to>
                                    </p:set>
                                    <p:animEffect filter="image" prLst="opacity: 1">
                                      <p:cBhvr rctx="IE">
                                        <p:cTn id="341" dur="indefinite"/>
                                        <p:tgtEl>
                                          <p:spTgt spid="81"/>
                                        </p:tgtEl>
                                      </p:cBhvr>
                                    </p:animEffect>
                                  </p:childTnLst>
                                </p:cTn>
                              </p:par>
                              <p:par>
                                <p:cTn id="342" presetID="9" presetClass="emph" presetSubtype="0" grpId="2" nodeType="withEffect">
                                  <p:stCondLst>
                                    <p:cond delay="0"/>
                                  </p:stCondLst>
                                  <p:childTnLst>
                                    <p:set>
                                      <p:cBhvr>
                                        <p:cTn id="343" dur="indefinite"/>
                                        <p:tgtEl>
                                          <p:spTgt spid="28">
                                            <p:txEl>
                                              <p:pRg st="0" end="0"/>
                                            </p:txEl>
                                          </p:spTgt>
                                        </p:tgtEl>
                                        <p:attrNameLst>
                                          <p:attrName>style.opacity</p:attrName>
                                        </p:attrNameLst>
                                      </p:cBhvr>
                                      <p:to>
                                        <p:strVal val="1"/>
                                      </p:to>
                                    </p:set>
                                    <p:animEffect filter="image" prLst="opacity: 1">
                                      <p:cBhvr rctx="IE">
                                        <p:cTn id="344" dur="indefinite"/>
                                        <p:tgtEl>
                                          <p:spTgt spid="28">
                                            <p:txEl>
                                              <p:pRg st="0" end="0"/>
                                            </p:txEl>
                                          </p:spTgt>
                                        </p:tgtEl>
                                      </p:cBhvr>
                                    </p:animEffect>
                                  </p:childTnLst>
                                </p:cTn>
                              </p:par>
                              <p:par>
                                <p:cTn id="345" presetID="9" presetClass="emph" presetSubtype="0" grpId="2" nodeType="withEffect">
                                  <p:stCondLst>
                                    <p:cond delay="0"/>
                                  </p:stCondLst>
                                  <p:childTnLst>
                                    <p:set>
                                      <p:cBhvr>
                                        <p:cTn id="346" dur="indefinite"/>
                                        <p:tgtEl>
                                          <p:spTgt spid="29">
                                            <p:txEl>
                                              <p:pRg st="0" end="0"/>
                                            </p:txEl>
                                          </p:spTgt>
                                        </p:tgtEl>
                                        <p:attrNameLst>
                                          <p:attrName>style.opacity</p:attrName>
                                        </p:attrNameLst>
                                      </p:cBhvr>
                                      <p:to>
                                        <p:strVal val="1"/>
                                      </p:to>
                                    </p:set>
                                    <p:animEffect filter="image" prLst="opacity: 1">
                                      <p:cBhvr rctx="IE">
                                        <p:cTn id="347" dur="indefinite"/>
                                        <p:tgtEl>
                                          <p:spTgt spid="29">
                                            <p:txEl>
                                              <p:pRg st="0" end="0"/>
                                            </p:txEl>
                                          </p:spTgt>
                                        </p:tgtEl>
                                      </p:cBhvr>
                                    </p:animEffect>
                                  </p:childTnLst>
                                </p:cTn>
                              </p:par>
                              <p:par>
                                <p:cTn id="348" presetID="9" presetClass="emph" presetSubtype="0" grpId="2" nodeType="withEffect">
                                  <p:stCondLst>
                                    <p:cond delay="0"/>
                                  </p:stCondLst>
                                  <p:childTnLst>
                                    <p:set>
                                      <p:cBhvr>
                                        <p:cTn id="349" dur="indefinite"/>
                                        <p:tgtEl>
                                          <p:spTgt spid="82">
                                            <p:txEl>
                                              <p:pRg st="0" end="0"/>
                                            </p:txEl>
                                          </p:spTgt>
                                        </p:tgtEl>
                                        <p:attrNameLst>
                                          <p:attrName>style.opacity</p:attrName>
                                        </p:attrNameLst>
                                      </p:cBhvr>
                                      <p:to>
                                        <p:strVal val="1"/>
                                      </p:to>
                                    </p:set>
                                    <p:animEffect filter="image" prLst="opacity: 1">
                                      <p:cBhvr rctx="IE">
                                        <p:cTn id="350" dur="indefinite"/>
                                        <p:tgtEl>
                                          <p:spTgt spid="82">
                                            <p:txEl>
                                              <p:pRg st="0" end="0"/>
                                            </p:txEl>
                                          </p:spTgt>
                                        </p:tgtEl>
                                      </p:cBhvr>
                                    </p:animEffect>
                                  </p:childTnLst>
                                </p:cTn>
                              </p:par>
                              <p:par>
                                <p:cTn id="351" presetID="9" presetClass="emph" presetSubtype="0" grpId="2" nodeType="withEffect">
                                  <p:stCondLst>
                                    <p:cond delay="0"/>
                                  </p:stCondLst>
                                  <p:childTnLst>
                                    <p:set>
                                      <p:cBhvr>
                                        <p:cTn id="352" dur="indefinite"/>
                                        <p:tgtEl>
                                          <p:spTgt spid="83">
                                            <p:txEl>
                                              <p:pRg st="0" end="0"/>
                                            </p:txEl>
                                          </p:spTgt>
                                        </p:tgtEl>
                                        <p:attrNameLst>
                                          <p:attrName>style.opacity</p:attrName>
                                        </p:attrNameLst>
                                      </p:cBhvr>
                                      <p:to>
                                        <p:strVal val="1"/>
                                      </p:to>
                                    </p:set>
                                    <p:animEffect filter="image" prLst="opacity: 1">
                                      <p:cBhvr rctx="IE">
                                        <p:cTn id="353" dur="indefinite"/>
                                        <p:tgtEl>
                                          <p:spTgt spid="83">
                                            <p:txEl>
                                              <p:pRg st="0" end="0"/>
                                            </p:txEl>
                                          </p:spTgt>
                                        </p:tgtEl>
                                      </p:cBhvr>
                                    </p:animEffect>
                                  </p:childTnLst>
                                </p:cTn>
                              </p:par>
                              <p:par>
                                <p:cTn id="354" presetID="9" presetClass="emph" presetSubtype="0" nodeType="withEffect">
                                  <p:stCondLst>
                                    <p:cond delay="0"/>
                                  </p:stCondLst>
                                  <p:childTnLst>
                                    <p:set>
                                      <p:cBhvr>
                                        <p:cTn id="355" dur="indefinite"/>
                                        <p:tgtEl>
                                          <p:spTgt spid="152"/>
                                        </p:tgtEl>
                                        <p:attrNameLst>
                                          <p:attrName>style.opacity</p:attrName>
                                        </p:attrNameLst>
                                      </p:cBhvr>
                                      <p:to>
                                        <p:strVal val="1"/>
                                      </p:to>
                                    </p:set>
                                    <p:animEffect filter="image" prLst="opacity: 1">
                                      <p:cBhvr rctx="IE">
                                        <p:cTn id="356" dur="indefinite"/>
                                        <p:tgtEl>
                                          <p:spTgt spid="152"/>
                                        </p:tgtEl>
                                      </p:cBhvr>
                                    </p:animEffect>
                                  </p:childTnLst>
                                </p:cTn>
                              </p:par>
                              <p:par>
                                <p:cTn id="357" presetID="9" presetClass="emph" presetSubtype="0" nodeType="withEffect">
                                  <p:stCondLst>
                                    <p:cond delay="0"/>
                                  </p:stCondLst>
                                  <p:childTnLst>
                                    <p:set>
                                      <p:cBhvr>
                                        <p:cTn id="358" dur="indefinite"/>
                                        <p:tgtEl>
                                          <p:spTgt spid="100"/>
                                        </p:tgtEl>
                                        <p:attrNameLst>
                                          <p:attrName>style.opacity</p:attrName>
                                        </p:attrNameLst>
                                      </p:cBhvr>
                                      <p:to>
                                        <p:strVal val="1"/>
                                      </p:to>
                                    </p:set>
                                    <p:animEffect filter="image" prLst="opacity: 1">
                                      <p:cBhvr rctx="IE">
                                        <p:cTn id="359" dur="indefinite"/>
                                        <p:tgtEl>
                                          <p:spTgt spid="100"/>
                                        </p:tgtEl>
                                      </p:cBhvr>
                                    </p:animEffect>
                                  </p:childTnLst>
                                </p:cTn>
                              </p:par>
                              <p:par>
                                <p:cTn id="360" presetID="9" presetClass="emph" presetSubtype="0" nodeType="withEffect">
                                  <p:stCondLst>
                                    <p:cond delay="0"/>
                                  </p:stCondLst>
                                  <p:childTnLst>
                                    <p:set>
                                      <p:cBhvr>
                                        <p:cTn id="361" dur="indefinite"/>
                                        <p:tgtEl>
                                          <p:spTgt spid="105"/>
                                        </p:tgtEl>
                                        <p:attrNameLst>
                                          <p:attrName>style.opacity</p:attrName>
                                        </p:attrNameLst>
                                      </p:cBhvr>
                                      <p:to>
                                        <p:strVal val="1"/>
                                      </p:to>
                                    </p:set>
                                    <p:animEffect filter="image" prLst="opacity: 1">
                                      <p:cBhvr rctx="IE">
                                        <p:cTn id="362" dur="indefinite"/>
                                        <p:tgtEl>
                                          <p:spTgt spid="105"/>
                                        </p:tgtEl>
                                      </p:cBhvr>
                                    </p:animEffect>
                                  </p:childTnLst>
                                </p:cTn>
                              </p:par>
                              <p:par>
                                <p:cTn id="363" presetID="9" presetClass="emph" presetSubtype="0" nodeType="withEffect">
                                  <p:stCondLst>
                                    <p:cond delay="0"/>
                                  </p:stCondLst>
                                  <p:childTnLst>
                                    <p:set>
                                      <p:cBhvr>
                                        <p:cTn id="364" dur="indefinite"/>
                                        <p:tgtEl>
                                          <p:spTgt spid="90"/>
                                        </p:tgtEl>
                                        <p:attrNameLst>
                                          <p:attrName>style.opacity</p:attrName>
                                        </p:attrNameLst>
                                      </p:cBhvr>
                                      <p:to>
                                        <p:strVal val="1"/>
                                      </p:to>
                                    </p:set>
                                    <p:animEffect filter="image" prLst="opacity: 1">
                                      <p:cBhvr rctx="IE">
                                        <p:cTn id="365" dur="indefinite"/>
                                        <p:tgtEl>
                                          <p:spTgt spid="90"/>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84"/>
                                        </p:tgtEl>
                                        <p:attrNameLst>
                                          <p:attrName>style.visibility</p:attrName>
                                        </p:attrNameLst>
                                      </p:cBhvr>
                                      <p:to>
                                        <p:strVal val="visible"/>
                                      </p:to>
                                    </p:set>
                                    <p:animEffect transition="in" filter="fade">
                                      <p:cBhvr>
                                        <p:cTn id="368" dur="500"/>
                                        <p:tgtEl>
                                          <p:spTgt spid="184"/>
                                        </p:tgtEl>
                                      </p:cBhvr>
                                    </p:animEffect>
                                  </p:childTnLst>
                                </p:cTn>
                              </p:par>
                              <p:par>
                                <p:cTn id="369" presetID="9" presetClass="emph" presetSubtype="0" grpId="1" nodeType="withEffect">
                                  <p:stCondLst>
                                    <p:cond delay="0"/>
                                  </p:stCondLst>
                                  <p:childTnLst>
                                    <p:set>
                                      <p:cBhvr>
                                        <p:cTn id="370" dur="indefinite"/>
                                        <p:tgtEl>
                                          <p:spTgt spid="184"/>
                                        </p:tgtEl>
                                        <p:attrNameLst>
                                          <p:attrName>style.opacity</p:attrName>
                                        </p:attrNameLst>
                                      </p:cBhvr>
                                      <p:to>
                                        <p:strVal val="0.1"/>
                                      </p:to>
                                    </p:set>
                                    <p:animEffect filter="image" prLst="opacity: 0.1">
                                      <p:cBhvr rctx="IE">
                                        <p:cTn id="371" dur="indefinite"/>
                                        <p:tgtEl>
                                          <p:spTgt spid="184"/>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85"/>
                                        </p:tgtEl>
                                        <p:attrNameLst>
                                          <p:attrName>style.visibility</p:attrName>
                                        </p:attrNameLst>
                                      </p:cBhvr>
                                      <p:to>
                                        <p:strVal val="visible"/>
                                      </p:to>
                                    </p:set>
                                    <p:animEffect transition="in" filter="fade">
                                      <p:cBhvr>
                                        <p:cTn id="374" dur="500"/>
                                        <p:tgtEl>
                                          <p:spTgt spid="185"/>
                                        </p:tgtEl>
                                      </p:cBhvr>
                                    </p:animEffect>
                                  </p:childTnLst>
                                </p:cTn>
                              </p:par>
                              <p:par>
                                <p:cTn id="375" presetID="9" presetClass="emph" presetSubtype="0" grpId="1" nodeType="withEffect">
                                  <p:stCondLst>
                                    <p:cond delay="0"/>
                                  </p:stCondLst>
                                  <p:childTnLst>
                                    <p:set>
                                      <p:cBhvr>
                                        <p:cTn id="376" dur="indefinite"/>
                                        <p:tgtEl>
                                          <p:spTgt spid="185"/>
                                        </p:tgtEl>
                                        <p:attrNameLst>
                                          <p:attrName>style.opacity</p:attrName>
                                        </p:attrNameLst>
                                      </p:cBhvr>
                                      <p:to>
                                        <p:strVal val="0.1"/>
                                      </p:to>
                                    </p:set>
                                    <p:animEffect filter="image" prLst="opacity: 0.1">
                                      <p:cBhvr rctx="IE">
                                        <p:cTn id="377" dur="indefinite"/>
                                        <p:tgtEl>
                                          <p:spTgt spid="185"/>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6"/>
                                        </p:tgtEl>
                                        <p:attrNameLst>
                                          <p:attrName>style.visibility</p:attrName>
                                        </p:attrNameLst>
                                      </p:cBhvr>
                                      <p:to>
                                        <p:strVal val="visible"/>
                                      </p:to>
                                    </p:set>
                                    <p:animEffect transition="in" filter="fade">
                                      <p:cBhvr>
                                        <p:cTn id="380" dur="500"/>
                                        <p:tgtEl>
                                          <p:spTgt spid="186"/>
                                        </p:tgtEl>
                                      </p:cBhvr>
                                    </p:animEffect>
                                  </p:childTnLst>
                                </p:cTn>
                              </p:par>
                              <p:par>
                                <p:cTn id="381" presetID="9" presetClass="emph" presetSubtype="0" grpId="1" nodeType="withEffect">
                                  <p:stCondLst>
                                    <p:cond delay="0"/>
                                  </p:stCondLst>
                                  <p:childTnLst>
                                    <p:set>
                                      <p:cBhvr>
                                        <p:cTn id="382" dur="indefinite"/>
                                        <p:tgtEl>
                                          <p:spTgt spid="186"/>
                                        </p:tgtEl>
                                        <p:attrNameLst>
                                          <p:attrName>style.opacity</p:attrName>
                                        </p:attrNameLst>
                                      </p:cBhvr>
                                      <p:to>
                                        <p:strVal val="0.1"/>
                                      </p:to>
                                    </p:set>
                                    <p:animEffect filter="image" prLst="opacity: 0.1">
                                      <p:cBhvr rctx="IE">
                                        <p:cTn id="383" dur="indefinite"/>
                                        <p:tgtEl>
                                          <p:spTgt spid="186"/>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87"/>
                                        </p:tgtEl>
                                        <p:attrNameLst>
                                          <p:attrName>style.visibility</p:attrName>
                                        </p:attrNameLst>
                                      </p:cBhvr>
                                      <p:to>
                                        <p:strVal val="visible"/>
                                      </p:to>
                                    </p:set>
                                    <p:animEffect transition="in" filter="fade">
                                      <p:cBhvr>
                                        <p:cTn id="386" dur="500"/>
                                        <p:tgtEl>
                                          <p:spTgt spid="187"/>
                                        </p:tgtEl>
                                      </p:cBhvr>
                                    </p:animEffect>
                                  </p:childTnLst>
                                </p:cTn>
                              </p:par>
                              <p:par>
                                <p:cTn id="387" presetID="9" presetClass="emph" presetSubtype="0" grpId="1" nodeType="withEffect">
                                  <p:stCondLst>
                                    <p:cond delay="0"/>
                                  </p:stCondLst>
                                  <p:childTnLst>
                                    <p:set>
                                      <p:cBhvr>
                                        <p:cTn id="388" dur="indefinite"/>
                                        <p:tgtEl>
                                          <p:spTgt spid="187"/>
                                        </p:tgtEl>
                                        <p:attrNameLst>
                                          <p:attrName>style.opacity</p:attrName>
                                        </p:attrNameLst>
                                      </p:cBhvr>
                                      <p:to>
                                        <p:strVal val="0.1"/>
                                      </p:to>
                                    </p:set>
                                    <p:animEffect filter="image" prLst="opacity: 0.1">
                                      <p:cBhvr rctx="IE">
                                        <p:cTn id="389" dur="indefinite"/>
                                        <p:tgtEl>
                                          <p:spTgt spid="187"/>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88"/>
                                        </p:tgtEl>
                                        <p:attrNameLst>
                                          <p:attrName>style.visibility</p:attrName>
                                        </p:attrNameLst>
                                      </p:cBhvr>
                                      <p:to>
                                        <p:strVal val="visible"/>
                                      </p:to>
                                    </p:set>
                                    <p:animEffect transition="in" filter="fade">
                                      <p:cBhvr>
                                        <p:cTn id="392" dur="500"/>
                                        <p:tgtEl>
                                          <p:spTgt spid="188"/>
                                        </p:tgtEl>
                                      </p:cBhvr>
                                    </p:animEffect>
                                  </p:childTnLst>
                                </p:cTn>
                              </p:par>
                              <p:par>
                                <p:cTn id="393" presetID="9" presetClass="emph" presetSubtype="0" grpId="2" nodeType="withEffect">
                                  <p:stCondLst>
                                    <p:cond delay="0"/>
                                  </p:stCondLst>
                                  <p:childTnLst>
                                    <p:set>
                                      <p:cBhvr>
                                        <p:cTn id="394" dur="indefinite"/>
                                        <p:tgtEl>
                                          <p:spTgt spid="184"/>
                                        </p:tgtEl>
                                        <p:attrNameLst>
                                          <p:attrName>style.opacity</p:attrName>
                                        </p:attrNameLst>
                                      </p:cBhvr>
                                      <p:to>
                                        <p:strVal val="1"/>
                                      </p:to>
                                    </p:set>
                                    <p:animEffect filter="image" prLst="opacity: 1">
                                      <p:cBhvr rctx="IE">
                                        <p:cTn id="395" dur="indefinite"/>
                                        <p:tgtEl>
                                          <p:spTgt spid="184"/>
                                        </p:tgtEl>
                                      </p:cBhvr>
                                    </p:animEffect>
                                  </p:childTnLst>
                                </p:cTn>
                              </p:par>
                              <p:par>
                                <p:cTn id="396" presetID="9" presetClass="emph" presetSubtype="0" grpId="2" nodeType="withEffect">
                                  <p:stCondLst>
                                    <p:cond delay="0"/>
                                  </p:stCondLst>
                                  <p:childTnLst>
                                    <p:set>
                                      <p:cBhvr>
                                        <p:cTn id="397" dur="indefinite"/>
                                        <p:tgtEl>
                                          <p:spTgt spid="185"/>
                                        </p:tgtEl>
                                        <p:attrNameLst>
                                          <p:attrName>style.opacity</p:attrName>
                                        </p:attrNameLst>
                                      </p:cBhvr>
                                      <p:to>
                                        <p:strVal val="1"/>
                                      </p:to>
                                    </p:set>
                                    <p:animEffect filter="image" prLst="opacity: 1">
                                      <p:cBhvr rctx="IE">
                                        <p:cTn id="398" dur="indefinite"/>
                                        <p:tgtEl>
                                          <p:spTgt spid="185"/>
                                        </p:tgtEl>
                                      </p:cBhvr>
                                    </p:animEffect>
                                  </p:childTnLst>
                                </p:cTn>
                              </p:par>
                              <p:par>
                                <p:cTn id="399" presetID="9" presetClass="emph" presetSubtype="0" grpId="2" nodeType="withEffect">
                                  <p:stCondLst>
                                    <p:cond delay="0"/>
                                  </p:stCondLst>
                                  <p:childTnLst>
                                    <p:set>
                                      <p:cBhvr>
                                        <p:cTn id="400" dur="indefinite"/>
                                        <p:tgtEl>
                                          <p:spTgt spid="186"/>
                                        </p:tgtEl>
                                        <p:attrNameLst>
                                          <p:attrName>style.opacity</p:attrName>
                                        </p:attrNameLst>
                                      </p:cBhvr>
                                      <p:to>
                                        <p:strVal val="1"/>
                                      </p:to>
                                    </p:set>
                                    <p:animEffect filter="image" prLst="opacity: 1">
                                      <p:cBhvr rctx="IE">
                                        <p:cTn id="401" dur="indefinite"/>
                                        <p:tgtEl>
                                          <p:spTgt spid="186"/>
                                        </p:tgtEl>
                                      </p:cBhvr>
                                    </p:animEffect>
                                  </p:childTnLst>
                                </p:cTn>
                              </p:par>
                              <p:par>
                                <p:cTn id="402" presetID="9" presetClass="emph" presetSubtype="0" grpId="2" nodeType="withEffect">
                                  <p:stCondLst>
                                    <p:cond delay="0"/>
                                  </p:stCondLst>
                                  <p:childTnLst>
                                    <p:set>
                                      <p:cBhvr>
                                        <p:cTn id="403" dur="indefinite"/>
                                        <p:tgtEl>
                                          <p:spTgt spid="187"/>
                                        </p:tgtEl>
                                        <p:attrNameLst>
                                          <p:attrName>style.opacity</p:attrName>
                                        </p:attrNameLst>
                                      </p:cBhvr>
                                      <p:to>
                                        <p:strVal val="1"/>
                                      </p:to>
                                    </p:set>
                                    <p:animEffect filter="image" prLst="opacity: 1">
                                      <p:cBhvr rctx="IE">
                                        <p:cTn id="404" dur="indefinite"/>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164" grpId="1" animBg="1"/>
      <p:bldP spid="164" grpId="2" animBg="1"/>
      <p:bldP spid="165" grpId="0" animBg="1"/>
      <p:bldP spid="165" grpId="1" animBg="1"/>
      <p:bldP spid="165" grpId="2" animBg="1"/>
      <p:bldP spid="166" grpId="0" animBg="1"/>
      <p:bldP spid="166" grpId="1" animBg="1"/>
      <p:bldP spid="166" grpId="2" animBg="1"/>
      <p:bldP spid="167" grpId="0" animBg="1"/>
      <p:bldP spid="167" grpId="1" animBg="1"/>
      <p:bldP spid="167" grpId="2" animBg="1"/>
      <p:bldP spid="168" grpId="0" animBg="1"/>
      <p:bldP spid="179" grpId="0" animBg="1"/>
      <p:bldP spid="179" grpId="1" animBg="1"/>
      <p:bldP spid="179" grpId="2" animBg="1"/>
      <p:bldP spid="180" grpId="0" animBg="1"/>
      <p:bldP spid="180" grpId="1" animBg="1"/>
      <p:bldP spid="180" grpId="2" animBg="1"/>
      <p:bldP spid="181" grpId="0" animBg="1"/>
      <p:bldP spid="181" grpId="1" animBg="1"/>
      <p:bldP spid="181" grpId="2" animBg="1"/>
      <p:bldP spid="182" grpId="0" animBg="1"/>
      <p:bldP spid="182" grpId="1" animBg="1"/>
      <p:bldP spid="182" grpId="2" animBg="1"/>
      <p:bldP spid="183" grpId="0" animBg="1"/>
      <p:bldP spid="8" grpId="0" build="p"/>
      <p:bldP spid="8" grpId="1" build="p"/>
      <p:bldP spid="8" grpId="2" build="p"/>
      <p:bldP spid="73" grpId="0" build="p"/>
      <p:bldP spid="73" grpId="1" build="p"/>
      <p:bldP spid="73" grpId="2" build="p"/>
      <p:bldP spid="74" grpId="0" build="p"/>
      <p:bldP spid="74" grpId="1" build="p"/>
      <p:bldP spid="74" grpId="2" build="p"/>
      <p:bldP spid="75" grpId="0" build="p"/>
      <p:bldP spid="75" grpId="1" build="p"/>
      <p:bldP spid="75" grpId="2" build="p"/>
      <p:bldP spid="76" grpId="0" build="p"/>
      <p:bldP spid="13" grpId="0" build="p"/>
      <p:bldP spid="13" grpId="1" build="p"/>
      <p:bldP spid="13" grpId="2" build="p"/>
      <p:bldP spid="14" grpId="0" build="p"/>
      <p:bldP spid="14" grpId="1" build="p"/>
      <p:bldP spid="14" grpId="2" build="p"/>
      <p:bldP spid="15" grpId="0" build="p"/>
      <p:bldP spid="15" grpId="1" build="p"/>
      <p:bldP spid="15" grpId="2" build="p"/>
      <p:bldP spid="16" grpId="0" build="p"/>
      <p:bldP spid="16" grpId="1" build="p"/>
      <p:bldP spid="16" grpId="2" build="p"/>
      <p:bldP spid="17" grpId="0" build="p"/>
      <p:bldP spid="77" grpId="0"/>
      <p:bldP spid="77" grpId="1"/>
      <p:bldP spid="77" grpId="2"/>
      <p:bldP spid="78" grpId="0"/>
      <p:bldP spid="78" grpId="1"/>
      <p:bldP spid="78" grpId="2"/>
      <p:bldP spid="79" grpId="0"/>
      <p:bldP spid="79" grpId="1"/>
      <p:bldP spid="79" grpId="2"/>
      <p:bldP spid="80" grpId="0"/>
      <p:bldP spid="22" grpId="0"/>
      <p:bldP spid="22" grpId="1"/>
      <p:bldP spid="22" grpId="2"/>
      <p:bldP spid="23" grpId="0"/>
      <p:bldP spid="23" grpId="1"/>
      <p:bldP spid="23" grpId="2"/>
      <p:bldP spid="24" grpId="0"/>
      <p:bldP spid="24" grpId="1"/>
      <p:bldP spid="24" grpId="2"/>
      <p:bldP spid="25" grpId="0"/>
      <p:bldP spid="25" grpId="1"/>
      <p:bldP spid="25" grpId="2"/>
      <p:bldP spid="26" grpId="0"/>
      <p:bldP spid="81" grpId="0"/>
      <p:bldP spid="81" grpId="1"/>
      <p:bldP spid="81" grpId="2"/>
      <p:bldP spid="28" grpId="0" build="p"/>
      <p:bldP spid="28" grpId="1" build="p"/>
      <p:bldP spid="28" grpId="2" build="p"/>
      <p:bldP spid="29" grpId="0" build="p"/>
      <p:bldP spid="29" grpId="1" build="p"/>
      <p:bldP spid="29" grpId="2" build="p"/>
      <p:bldP spid="82" grpId="0" build="p"/>
      <p:bldP spid="82" grpId="1" build="p"/>
      <p:bldP spid="82" grpId="2" build="p"/>
      <p:bldP spid="83" grpId="0" build="p"/>
      <p:bldP spid="83" grpId="1" build="p"/>
      <p:bldP spid="83" grpId="2" build="p"/>
      <p:bldP spid="84" grpId="0" build="p"/>
      <p:bldP spid="184" grpId="0" animBg="1"/>
      <p:bldP spid="184" grpId="1" animBg="1"/>
      <p:bldP spid="184" grpId="2" animBg="1"/>
      <p:bldP spid="185" grpId="0" animBg="1"/>
      <p:bldP spid="185" grpId="1" animBg="1"/>
      <p:bldP spid="185" grpId="2" animBg="1"/>
      <p:bldP spid="186" grpId="0" animBg="1"/>
      <p:bldP spid="186" grpId="1" animBg="1"/>
      <p:bldP spid="186" grpId="2" animBg="1"/>
      <p:bldP spid="187" grpId="0" animBg="1"/>
      <p:bldP spid="187" grpId="1" animBg="1"/>
      <p:bldP spid="187" grpId="2" animBg="1"/>
      <p:bldP spid="18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38" name="Rectangle 137">
            <a:extLst>
              <a:ext uri="{FF2B5EF4-FFF2-40B4-BE49-F238E27FC236}">
                <a16:creationId xmlns:a16="http://schemas.microsoft.com/office/drawing/2014/main" id="{5AC477E6-419C-9A47-84F1-26AE75A9A75D}"/>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9" name="Rectangle 138">
            <a:extLst>
              <a:ext uri="{FF2B5EF4-FFF2-40B4-BE49-F238E27FC236}">
                <a16:creationId xmlns:a16="http://schemas.microsoft.com/office/drawing/2014/main" id="{8AB817D6-B2E8-564F-96CA-F9A859666512}"/>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0" name="Rectangle 139">
            <a:extLst>
              <a:ext uri="{FF2B5EF4-FFF2-40B4-BE49-F238E27FC236}">
                <a16:creationId xmlns:a16="http://schemas.microsoft.com/office/drawing/2014/main" id="{62901A6D-2AEA-1141-90AC-80B59C08FAE6}"/>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1" name="Rectangle 140">
            <a:extLst>
              <a:ext uri="{FF2B5EF4-FFF2-40B4-BE49-F238E27FC236}">
                <a16:creationId xmlns:a16="http://schemas.microsoft.com/office/drawing/2014/main" id="{EE168161-5C45-C445-A2A5-69AEDD77A23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2" name="Rectangle 141">
            <a:extLst>
              <a:ext uri="{FF2B5EF4-FFF2-40B4-BE49-F238E27FC236}">
                <a16:creationId xmlns:a16="http://schemas.microsoft.com/office/drawing/2014/main" id="{9B6B158E-CF63-B34C-918A-74416726274A}"/>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43" name="Shape 770">
            <a:extLst>
              <a:ext uri="{FF2B5EF4-FFF2-40B4-BE49-F238E27FC236}">
                <a16:creationId xmlns:a16="http://schemas.microsoft.com/office/drawing/2014/main" id="{C68018B2-A56D-294F-A9F8-72D289F95EB2}"/>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4" name="Shape 770">
            <a:extLst>
              <a:ext uri="{FF2B5EF4-FFF2-40B4-BE49-F238E27FC236}">
                <a16:creationId xmlns:a16="http://schemas.microsoft.com/office/drawing/2014/main" id="{B1694A47-6EAD-BE48-8B62-C64C44B1B12D}"/>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8" name="Shape 770">
            <a:extLst>
              <a:ext uri="{FF2B5EF4-FFF2-40B4-BE49-F238E27FC236}">
                <a16:creationId xmlns:a16="http://schemas.microsoft.com/office/drawing/2014/main" id="{8FBDD01D-F283-A347-9157-6DB95529AE09}"/>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9" name="Shape 770">
            <a:extLst>
              <a:ext uri="{FF2B5EF4-FFF2-40B4-BE49-F238E27FC236}">
                <a16:creationId xmlns:a16="http://schemas.microsoft.com/office/drawing/2014/main" id="{5D9E648A-1A9C-BD49-93ED-31E694BB33A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1" name="Shape 770">
            <a:extLst>
              <a:ext uri="{FF2B5EF4-FFF2-40B4-BE49-F238E27FC236}">
                <a16:creationId xmlns:a16="http://schemas.microsoft.com/office/drawing/2014/main" id="{060A84DD-34B9-064F-BA2B-BDB0505DEDB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3" name="Freeform: Shape 57">
            <a:extLst>
              <a:ext uri="{FF2B5EF4-FFF2-40B4-BE49-F238E27FC236}">
                <a16:creationId xmlns:a16="http://schemas.microsoft.com/office/drawing/2014/main" id="{060FC7E6-5880-F44D-9E81-3204EAF9ED25}"/>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4" name="Freeform: Shape 56">
            <a:extLst>
              <a:ext uri="{FF2B5EF4-FFF2-40B4-BE49-F238E27FC236}">
                <a16:creationId xmlns:a16="http://schemas.microsoft.com/office/drawing/2014/main" id="{1B03D710-CCF3-CA4E-8D61-E76B33F125F9}"/>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5" name="Freeform: Shape 55">
            <a:extLst>
              <a:ext uri="{FF2B5EF4-FFF2-40B4-BE49-F238E27FC236}">
                <a16:creationId xmlns:a16="http://schemas.microsoft.com/office/drawing/2014/main" id="{FB23A89B-6828-BD42-9D74-562902BDC2DE}"/>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6" name="Freeform: Shape 54">
            <a:extLst>
              <a:ext uri="{FF2B5EF4-FFF2-40B4-BE49-F238E27FC236}">
                <a16:creationId xmlns:a16="http://schemas.microsoft.com/office/drawing/2014/main" id="{3B4847AD-0EDF-AE4A-9399-FDF24EE21B0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7" name="Freeform: Shape 53">
            <a:extLst>
              <a:ext uri="{FF2B5EF4-FFF2-40B4-BE49-F238E27FC236}">
                <a16:creationId xmlns:a16="http://schemas.microsoft.com/office/drawing/2014/main" id="{1BAF428A-705E-E648-BCF4-1DA86AEAFE2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F6633BCC-1DFB-4545-AE59-639187FEEC5A}"/>
              </a:ext>
            </a:extLst>
          </p:cNvPr>
          <p:cNvSpPr>
            <a:spLocks noGrp="1"/>
          </p:cNvSpPr>
          <p:nvPr>
            <p:ph type="body" sz="quarter" idx="12"/>
          </p:nvPr>
        </p:nvSpPr>
        <p:spPr/>
        <p:txBody>
          <a:bodyPr/>
          <a:lstStyle/>
          <a:p>
            <a:r>
              <a:rPr lang="en-US" b="0" dirty="0">
                <a:sym typeface="Source Sans Pro"/>
              </a:rPr>
              <a:t>Genomics and precision medicine</a:t>
            </a:r>
          </a:p>
        </p:txBody>
      </p:sp>
      <p:sp>
        <p:nvSpPr>
          <p:cNvPr id="12" name="Text Placeholder 11">
            <a:extLst>
              <a:ext uri="{FF2B5EF4-FFF2-40B4-BE49-F238E27FC236}">
                <a16:creationId xmlns:a16="http://schemas.microsoft.com/office/drawing/2014/main" id="{2F1B4FFC-B538-4E73-B16B-44093D831291}"/>
              </a:ext>
            </a:extLst>
          </p:cNvPr>
          <p:cNvSpPr>
            <a:spLocks noGrp="1"/>
          </p:cNvSpPr>
          <p:nvPr>
            <p:ph type="body" sz="quarter" idx="13"/>
          </p:nvPr>
        </p:nvSpPr>
        <p:spPr/>
        <p:txBody>
          <a:bodyPr/>
          <a:lstStyle/>
          <a:p>
            <a:r>
              <a:rPr lang="en-US" b="0" dirty="0">
                <a:sym typeface="Source Sans Pro"/>
              </a:rPr>
              <a:t>Clinical and</a:t>
            </a:r>
            <a:br>
              <a:rPr lang="en-US" b="0" dirty="0">
                <a:sym typeface="Source Sans Pro"/>
              </a:rPr>
            </a:br>
            <a:r>
              <a:rPr lang="en-US" b="0" dirty="0">
                <a:sym typeface="Source Sans Pro"/>
              </a:rPr>
              <a:t>claims data</a:t>
            </a:r>
          </a:p>
        </p:txBody>
      </p:sp>
      <p:sp>
        <p:nvSpPr>
          <p:cNvPr id="16" name="Text Placeholder 15">
            <a:extLst>
              <a:ext uri="{FF2B5EF4-FFF2-40B4-BE49-F238E27FC236}">
                <a16:creationId xmlns:a16="http://schemas.microsoft.com/office/drawing/2014/main" id="{58FD0F1A-92E4-490C-8A77-F7EAA8A3A135}"/>
              </a:ext>
            </a:extLst>
          </p:cNvPr>
          <p:cNvSpPr>
            <a:spLocks noGrp="1"/>
          </p:cNvSpPr>
          <p:nvPr>
            <p:ph type="body" sz="quarter" idx="14"/>
          </p:nvPr>
        </p:nvSpPr>
        <p:spPr/>
        <p:txBody>
          <a:bodyPr/>
          <a:lstStyle/>
          <a:p>
            <a:r>
              <a:rPr lang="en-US" b="0" dirty="0">
                <a:sym typeface="Source Sans Pro"/>
              </a:rPr>
              <a:t>GPU image processing</a:t>
            </a:r>
          </a:p>
        </p:txBody>
      </p:sp>
      <p:sp>
        <p:nvSpPr>
          <p:cNvPr id="18" name="Text Placeholder 17">
            <a:extLst>
              <a:ext uri="{FF2B5EF4-FFF2-40B4-BE49-F238E27FC236}">
                <a16:creationId xmlns:a16="http://schemas.microsoft.com/office/drawing/2014/main" id="{985B1CAB-326F-4BEA-BFA3-DC33E7C49B6C}"/>
              </a:ext>
            </a:extLst>
          </p:cNvPr>
          <p:cNvSpPr>
            <a:spLocks noGrp="1"/>
          </p:cNvSpPr>
          <p:nvPr>
            <p:ph type="body" sz="quarter" idx="15"/>
          </p:nvPr>
        </p:nvSpPr>
        <p:spPr/>
        <p:txBody>
          <a:bodyPr/>
          <a:lstStyle/>
          <a:p>
            <a:r>
              <a:rPr lang="en-US" b="0" dirty="0">
                <a:sym typeface="Source Sans Pro"/>
              </a:rPr>
              <a:t>IoT device</a:t>
            </a:r>
            <a:br>
              <a:rPr lang="en-US" b="0" dirty="0">
                <a:sym typeface="Source Sans Pro"/>
              </a:rPr>
            </a:br>
            <a:r>
              <a:rPr lang="en-US" b="0" dirty="0">
                <a:sym typeface="Source Sans Pro"/>
              </a:rPr>
              <a:t>analytics</a:t>
            </a:r>
          </a:p>
        </p:txBody>
      </p:sp>
      <p:sp>
        <p:nvSpPr>
          <p:cNvPr id="19" name="Text Placeholder 18">
            <a:extLst>
              <a:ext uri="{FF2B5EF4-FFF2-40B4-BE49-F238E27FC236}">
                <a16:creationId xmlns:a16="http://schemas.microsoft.com/office/drawing/2014/main" id="{26A887BC-3D73-41AE-BF4E-E9055957B25F}"/>
              </a:ext>
            </a:extLst>
          </p:cNvPr>
          <p:cNvSpPr>
            <a:spLocks noGrp="1"/>
          </p:cNvSpPr>
          <p:nvPr>
            <p:ph type="body" sz="quarter" idx="16"/>
          </p:nvPr>
        </p:nvSpPr>
        <p:spPr/>
        <p:txBody>
          <a:bodyPr/>
          <a:lstStyle/>
          <a:p>
            <a:r>
              <a:rPr lang="en-US" b="0" dirty="0">
                <a:sym typeface="Source Sans Pro"/>
              </a:rPr>
              <a:t>Social</a:t>
            </a:r>
            <a:br>
              <a:rPr lang="en-US" b="0" dirty="0">
                <a:sym typeface="Source Sans Pro"/>
              </a:rPr>
            </a:br>
            <a:r>
              <a:rPr lang="en-US" b="0" dirty="0">
                <a:sym typeface="Source Sans Pro"/>
              </a:rPr>
              <a:t>analytics</a:t>
            </a:r>
          </a:p>
        </p:txBody>
      </p:sp>
      <p:sp>
        <p:nvSpPr>
          <p:cNvPr id="56" name="Text Placeholder 55">
            <a:extLst>
              <a:ext uri="{FF2B5EF4-FFF2-40B4-BE49-F238E27FC236}">
                <a16:creationId xmlns:a16="http://schemas.microsoft.com/office/drawing/2014/main" id="{89335236-8107-428C-93A0-921864074BED}"/>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drug development</a:t>
            </a:r>
          </a:p>
        </p:txBody>
      </p:sp>
      <p:sp>
        <p:nvSpPr>
          <p:cNvPr id="57" name="Text Placeholder 56">
            <a:extLst>
              <a:ext uri="{FF2B5EF4-FFF2-40B4-BE49-F238E27FC236}">
                <a16:creationId xmlns:a16="http://schemas.microsoft.com/office/drawing/2014/main" id="{2D5ACD1D-7FC9-4BDA-B153-ED88CDD3CA10}"/>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58" name="Text Placeholder 57">
            <a:extLst>
              <a:ext uri="{FF2B5EF4-FFF2-40B4-BE49-F238E27FC236}">
                <a16:creationId xmlns:a16="http://schemas.microsoft.com/office/drawing/2014/main" id="{19E96445-A155-4ED1-B038-85F02D54A471}"/>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Diagnostics leveraging </a:t>
            </a:r>
            <a:br>
              <a:rPr lang="en-US" b="0" dirty="0">
                <a:latin typeface="+mj-lt"/>
                <a:sym typeface="Source Sans Pro"/>
              </a:rPr>
            </a:br>
            <a:r>
              <a:rPr lang="en-US" b="0" dirty="0">
                <a:latin typeface="+mj-lt"/>
                <a:sym typeface="Source Sans Pro"/>
              </a:rPr>
              <a:t>machine learning</a:t>
            </a:r>
          </a:p>
        </p:txBody>
      </p:sp>
      <p:sp>
        <p:nvSpPr>
          <p:cNvPr id="59" name="Text Placeholder 58">
            <a:extLst>
              <a:ext uri="{FF2B5EF4-FFF2-40B4-BE49-F238E27FC236}">
                <a16:creationId xmlns:a16="http://schemas.microsoft.com/office/drawing/2014/main" id="{1680D804-81A4-4460-BC94-0554497213F3}"/>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 analytics transforms quality of care</a:t>
            </a:r>
          </a:p>
        </p:txBody>
      </p:sp>
      <p:sp>
        <p:nvSpPr>
          <p:cNvPr id="60" name="Text Placeholder 59">
            <a:extLst>
              <a:ext uri="{FF2B5EF4-FFF2-40B4-BE49-F238E27FC236}">
                <a16:creationId xmlns:a16="http://schemas.microsoft.com/office/drawing/2014/main" id="{3F0E314A-AC85-44F4-841F-2BA5F68688C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patient communications and feedback</a:t>
            </a:r>
          </a:p>
        </p:txBody>
      </p:sp>
      <p:sp>
        <p:nvSpPr>
          <p:cNvPr id="765" name="Text Placeholder 764">
            <a:extLst>
              <a:ext uri="{FF2B5EF4-FFF2-40B4-BE49-F238E27FC236}">
                <a16:creationId xmlns:a16="http://schemas.microsoft.com/office/drawing/2014/main" id="{BECE8523-50E2-40F9-A058-33B51BC1F568}"/>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AST-Q</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BA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A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VCF</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xpression</a:t>
            </a:r>
          </a:p>
        </p:txBody>
      </p:sp>
      <p:sp>
        <p:nvSpPr>
          <p:cNvPr id="766" name="Text Placeholder 765">
            <a:extLst>
              <a:ext uri="{FF2B5EF4-FFF2-40B4-BE49-F238E27FC236}">
                <a16:creationId xmlns:a16="http://schemas.microsoft.com/office/drawing/2014/main" id="{384C0E13-AF47-48C5-A8C9-C5D2B20527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HL7/CCD</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837</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harmac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gist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MR</a:t>
            </a:r>
          </a:p>
        </p:txBody>
      </p:sp>
      <p:sp>
        <p:nvSpPr>
          <p:cNvPr id="310" name="Text Placeholder 309">
            <a:extLst>
              <a:ext uri="{FF2B5EF4-FFF2-40B4-BE49-F238E27FC236}">
                <a16:creationId xmlns:a16="http://schemas.microsoft.com/office/drawing/2014/main" id="{19D68ECB-A6CA-46B5-B719-FF63FB4B9764}"/>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adin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ime seri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vent data</a:t>
            </a:r>
          </a:p>
        </p:txBody>
      </p:sp>
      <p:sp>
        <p:nvSpPr>
          <p:cNvPr id="311" name="Text Placeholder 310">
            <a:extLst>
              <a:ext uri="{FF2B5EF4-FFF2-40B4-BE49-F238E27FC236}">
                <a16:creationId xmlns:a16="http://schemas.microsoft.com/office/drawing/2014/main" id="{45CE9B21-F8D1-48D0-8048-D03CCCB0B1DE}"/>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dverse even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nstructured</a:t>
            </a:r>
          </a:p>
        </p:txBody>
      </p:sp>
      <p:sp>
        <p:nvSpPr>
          <p:cNvPr id="728" name="Text Placeholder 727">
            <a:extLst>
              <a:ext uri="{FF2B5EF4-FFF2-40B4-BE49-F238E27FC236}">
                <a16:creationId xmlns:a16="http://schemas.microsoft.com/office/drawing/2014/main" id="{22BF76D2-7B01-492F-91C1-595E41F2A8FE}"/>
              </a:ext>
            </a:extLst>
          </p:cNvPr>
          <p:cNvSpPr>
            <a:spLocks noGrp="1"/>
          </p:cNvSpPr>
          <p:nvPr>
            <p:ph type="body" sz="quarter" idx="36"/>
          </p:nvPr>
        </p:nvSpPr>
        <p:spPr>
          <a:xfrm>
            <a:off x="460375" y="4076371"/>
            <a:ext cx="1931748" cy="800219"/>
          </a:xfrm>
        </p:spPr>
        <p:txBody>
          <a:bodyPr vert="horz" wrap="square" lIns="91440" tIns="45720" rIns="91440" bIns="45720" rtlCol="0">
            <a:spAutoFit/>
          </a:bodyPr>
          <a:lstStyle/>
          <a:p>
            <a:pPr>
              <a:lnSpc>
                <a:spcPct val="90000"/>
              </a:lnSpc>
              <a:spcAft>
                <a:spcPts val="0"/>
              </a:spcAft>
            </a:pPr>
            <a:r>
              <a:rPr lang="en-US" dirty="0">
                <a:sym typeface="Source Sans Pro Light"/>
              </a:rPr>
              <a:t>Single cell sequencing</a:t>
            </a:r>
          </a:p>
          <a:p>
            <a:pPr>
              <a:lnSpc>
                <a:spcPct val="90000"/>
              </a:lnSpc>
              <a:spcAft>
                <a:spcPts val="0"/>
              </a:spcAft>
            </a:pPr>
            <a:r>
              <a:rPr lang="en-US" dirty="0">
                <a:sym typeface="Source Sans Pro Light"/>
              </a:rPr>
              <a:t>Biomarker, genetic, variant</a:t>
            </a:r>
            <a:br>
              <a:rPr lang="en-US" dirty="0">
                <a:sym typeface="Source Sans Pro Light"/>
              </a:rPr>
            </a:br>
            <a:r>
              <a:rPr lang="en-US" dirty="0">
                <a:sym typeface="Source Sans Pro Light"/>
              </a:rPr>
              <a:t>and population analytics</a:t>
            </a:r>
          </a:p>
          <a:p>
            <a:pPr>
              <a:lnSpc>
                <a:spcPct val="90000"/>
              </a:lnSpc>
              <a:spcAft>
                <a:spcPts val="0"/>
              </a:spcAft>
            </a:pPr>
            <a:r>
              <a:rPr lang="en-US" dirty="0">
                <a:sym typeface="Source Sans Pro Light"/>
              </a:rPr>
              <a:t>ADAM and HAIL on Databricks</a:t>
            </a:r>
          </a:p>
        </p:txBody>
      </p:sp>
      <p:sp>
        <p:nvSpPr>
          <p:cNvPr id="729" name="Text Placeholder 728">
            <a:extLst>
              <a:ext uri="{FF2B5EF4-FFF2-40B4-BE49-F238E27FC236}">
                <a16:creationId xmlns:a16="http://schemas.microsoft.com/office/drawing/2014/main" id="{CF0A2CE6-E497-454B-9AC7-4578EB437C15}"/>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Light"/>
              </a:rPr>
              <a:t>Claims data warehouse</a:t>
            </a:r>
          </a:p>
          <a:p>
            <a:pPr>
              <a:lnSpc>
                <a:spcPct val="90000"/>
              </a:lnSpc>
              <a:spcAft>
                <a:spcPts val="0"/>
              </a:spcAft>
            </a:pPr>
            <a:r>
              <a:rPr lang="en-US" dirty="0">
                <a:sym typeface="Source Sans Pro Light"/>
              </a:rPr>
              <a:t>Readmission predictions</a:t>
            </a:r>
          </a:p>
          <a:p>
            <a:pPr>
              <a:lnSpc>
                <a:spcPct val="90000"/>
              </a:lnSpc>
              <a:spcAft>
                <a:spcPts val="0"/>
              </a:spcAft>
            </a:pPr>
            <a:r>
              <a:rPr lang="en-US" dirty="0">
                <a:sym typeface="Source Sans Pro Light"/>
              </a:rPr>
              <a:t>Efficacy and comparative analytics</a:t>
            </a:r>
          </a:p>
          <a:p>
            <a:pPr>
              <a:lnSpc>
                <a:spcPct val="90000"/>
              </a:lnSpc>
              <a:spcAft>
                <a:spcPts val="0"/>
              </a:spcAft>
            </a:pPr>
            <a:r>
              <a:rPr lang="en-US" dirty="0">
                <a:sym typeface="Source Sans Pro Light"/>
              </a:rPr>
              <a:t>Prescription adherence</a:t>
            </a:r>
          </a:p>
          <a:p>
            <a:pPr>
              <a:lnSpc>
                <a:spcPct val="90000"/>
              </a:lnSpc>
              <a:spcAft>
                <a:spcPts val="0"/>
              </a:spcAft>
            </a:pPr>
            <a:r>
              <a:rPr lang="en-US" dirty="0">
                <a:sym typeface="Source Sans Pro Light"/>
              </a:rPr>
              <a:t>Market access analysis</a:t>
            </a:r>
          </a:p>
        </p:txBody>
      </p:sp>
      <p:sp>
        <p:nvSpPr>
          <p:cNvPr id="730" name="Text Placeholder 729">
            <a:extLst>
              <a:ext uri="{FF2B5EF4-FFF2-40B4-BE49-F238E27FC236}">
                <a16:creationId xmlns:a16="http://schemas.microsoft.com/office/drawing/2014/main" id="{FE1C3440-0D5F-4923-B6AA-BCCA8036C891}"/>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Graphic intensive workloads</a:t>
            </a:r>
          </a:p>
          <a:p>
            <a:pPr>
              <a:lnSpc>
                <a:spcPct val="90000"/>
              </a:lnSpc>
              <a:spcAft>
                <a:spcPts val="0"/>
              </a:spcAft>
            </a:pPr>
            <a:r>
              <a:rPr lang="en-US" dirty="0">
                <a:sym typeface="Source Sans Pro Light"/>
              </a:rPr>
              <a:t>Deep learning using</a:t>
            </a:r>
            <a:br>
              <a:rPr lang="en-US" dirty="0">
                <a:sym typeface="Source Sans Pro Light"/>
              </a:rPr>
            </a:br>
            <a:r>
              <a:rPr lang="en-US" dirty="0">
                <a:sym typeface="Source Sans Pro Light"/>
              </a:rPr>
              <a:t>Tensor Flow</a:t>
            </a:r>
          </a:p>
          <a:p>
            <a:pPr>
              <a:lnSpc>
                <a:spcPct val="90000"/>
              </a:lnSpc>
              <a:spcAft>
                <a:spcPts val="0"/>
              </a:spcAft>
            </a:pPr>
            <a:r>
              <a:rPr lang="en-US" dirty="0">
                <a:sym typeface="Source Sans Pro Light"/>
              </a:rPr>
              <a:t>Pattern recognition </a:t>
            </a:r>
          </a:p>
        </p:txBody>
      </p:sp>
      <p:sp>
        <p:nvSpPr>
          <p:cNvPr id="731" name="Text Placeholder 730">
            <a:extLst>
              <a:ext uri="{FF2B5EF4-FFF2-40B4-BE49-F238E27FC236}">
                <a16:creationId xmlns:a16="http://schemas.microsoft.com/office/drawing/2014/main" id="{AB7CD9BE-0F7C-43BE-89CF-FDEBB712276D}"/>
              </a:ext>
            </a:extLst>
          </p:cNvPr>
          <p:cNvSpPr>
            <a:spLocks noGrp="1"/>
          </p:cNvSpPr>
          <p:nvPr>
            <p:ph type="body" sz="quarter" idx="39"/>
          </p:nvPr>
        </p:nvSpPr>
        <p:spPr>
          <a:xfrm>
            <a:off x="7520214" y="4076371"/>
            <a:ext cx="1852613" cy="800219"/>
          </a:xfrm>
        </p:spPr>
        <p:txBody>
          <a:bodyPr vert="horz" wrap="square" lIns="91440" tIns="45720" rIns="91440" bIns="45720" rtlCol="0">
            <a:spAutoFit/>
          </a:bodyPr>
          <a:lstStyle/>
          <a:p>
            <a:pPr>
              <a:lnSpc>
                <a:spcPct val="90000"/>
              </a:lnSpc>
              <a:spcAft>
                <a:spcPts val="0"/>
              </a:spcAft>
            </a:pPr>
            <a:r>
              <a:rPr lang="en-US" dirty="0">
                <a:sym typeface="Source Sans Pro Light"/>
              </a:rPr>
              <a:t>Aggregation of</a:t>
            </a:r>
            <a:br>
              <a:rPr lang="en-US" dirty="0">
                <a:sym typeface="Source Sans Pro Light"/>
              </a:rPr>
            </a:br>
            <a:r>
              <a:rPr lang="en-US" dirty="0">
                <a:sym typeface="Source Sans Pro Light"/>
              </a:rPr>
              <a:t>streaming events </a:t>
            </a:r>
          </a:p>
          <a:p>
            <a:pPr>
              <a:lnSpc>
                <a:spcPct val="90000"/>
              </a:lnSpc>
              <a:spcAft>
                <a:spcPts val="0"/>
              </a:spcAft>
            </a:pPr>
            <a:r>
              <a:rPr lang="en-US" dirty="0">
                <a:sym typeface="Source Sans Pro Light"/>
              </a:rPr>
              <a:t>Predictive maintenance</a:t>
            </a:r>
          </a:p>
          <a:p>
            <a:pPr>
              <a:lnSpc>
                <a:spcPct val="90000"/>
              </a:lnSpc>
              <a:spcAft>
                <a:spcPts val="0"/>
              </a:spcAft>
            </a:pPr>
            <a:r>
              <a:rPr lang="en-US" dirty="0">
                <a:sym typeface="Source Sans Pro Light"/>
              </a:rPr>
              <a:t>Anomaly detection</a:t>
            </a:r>
          </a:p>
        </p:txBody>
      </p:sp>
      <p:sp>
        <p:nvSpPr>
          <p:cNvPr id="732" name="Text Placeholder 731">
            <a:extLst>
              <a:ext uri="{FF2B5EF4-FFF2-40B4-BE49-F238E27FC236}">
                <a16:creationId xmlns:a16="http://schemas.microsoft.com/office/drawing/2014/main" id="{2B04590E-DB04-4DA9-B0EC-2FE08CC2503F}"/>
              </a:ext>
            </a:extLst>
          </p:cNvPr>
          <p:cNvSpPr>
            <a:spLocks noGrp="1"/>
          </p:cNvSpPr>
          <p:nvPr>
            <p:ph type="body" sz="quarter" idx="40"/>
          </p:nvPr>
        </p:nvSpPr>
        <p:spPr>
          <a:xfrm>
            <a:off x="9876858" y="4076371"/>
            <a:ext cx="1852613" cy="723275"/>
          </a:xfrm>
        </p:spPr>
        <p:txBody>
          <a:bodyPr vert="horz" wrap="square" lIns="91440" tIns="45720" rIns="91440" bIns="45720" rtlCol="0">
            <a:spAutoFit/>
          </a:bodyPr>
          <a:lstStyle/>
          <a:p>
            <a:pPr>
              <a:lnSpc>
                <a:spcPct val="90000"/>
              </a:lnSpc>
              <a:spcAft>
                <a:spcPts val="0"/>
              </a:spcAft>
            </a:pPr>
            <a:r>
              <a:rPr lang="en-US" dirty="0">
                <a:sym typeface="Source Sans Pro Light"/>
              </a:rPr>
              <a:t>Real-time patient feedback</a:t>
            </a:r>
            <a:br>
              <a:rPr lang="en-US" dirty="0">
                <a:sym typeface="Source Sans Pro Light"/>
              </a:rPr>
            </a:br>
            <a:r>
              <a:rPr lang="en-US" dirty="0">
                <a:sym typeface="Source Sans Pro Light"/>
              </a:rPr>
              <a:t>via topic modelling </a:t>
            </a:r>
          </a:p>
          <a:p>
            <a:pPr>
              <a:lnSpc>
                <a:spcPct val="90000"/>
              </a:lnSpc>
              <a:spcAft>
                <a:spcPts val="0"/>
              </a:spcAft>
            </a:pPr>
            <a:r>
              <a:rPr lang="en-US" dirty="0">
                <a:sym typeface="Source Sans Pro Light"/>
              </a:rPr>
              <a:t>Analytics across</a:t>
            </a:r>
            <a:br>
              <a:rPr lang="en-US" dirty="0">
                <a:sym typeface="Source Sans Pro Light"/>
              </a:rPr>
            </a:br>
            <a:r>
              <a:rPr lang="en-US" dirty="0">
                <a:sym typeface="Source Sans Pro Light"/>
              </a:rPr>
              <a:t>publication data</a:t>
            </a:r>
          </a:p>
        </p:txBody>
      </p:sp>
      <p:sp>
        <p:nvSpPr>
          <p:cNvPr id="312" name="Text Placeholder 311">
            <a:extLst>
              <a:ext uri="{FF2B5EF4-FFF2-40B4-BE49-F238E27FC236}">
                <a16:creationId xmlns:a16="http://schemas.microsoft.com/office/drawing/2014/main" id="{C7D48224-F360-42D3-B90D-0F457F44D0E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RI</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X-RA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ltrasound</a:t>
            </a:r>
          </a:p>
        </p:txBody>
      </p:sp>
      <p:sp>
        <p:nvSpPr>
          <p:cNvPr id="93" name="Text Placeholder 92">
            <a:extLst>
              <a:ext uri="{FF2B5EF4-FFF2-40B4-BE49-F238E27FC236}">
                <a16:creationId xmlns:a16="http://schemas.microsoft.com/office/drawing/2014/main" id="{00FF129A-44E7-42B0-9E10-9EA0900ACBB9}"/>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DNA</a:t>
            </a:r>
            <a:br>
              <a:rPr lang="en-US" dirty="0">
                <a:latin typeface="+mj-lt"/>
                <a:sym typeface="Source Sans Pro"/>
              </a:rPr>
            </a:br>
            <a:r>
              <a:rPr lang="en-US" dirty="0">
                <a:latin typeface="+mj-lt"/>
                <a:sym typeface="Source Sans Pro"/>
              </a:rPr>
              <a:t>sequences</a:t>
            </a:r>
          </a:p>
        </p:txBody>
      </p:sp>
      <p:sp>
        <p:nvSpPr>
          <p:cNvPr id="94" name="Text Placeholder 93">
            <a:extLst>
              <a:ext uri="{FF2B5EF4-FFF2-40B4-BE49-F238E27FC236}">
                <a16:creationId xmlns:a16="http://schemas.microsoft.com/office/drawing/2014/main" id="{424D396C-41D8-4904-8287-617FED9C3083}"/>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Real world</a:t>
            </a:r>
            <a:br>
              <a:rPr lang="en-US" dirty="0">
                <a:latin typeface="+mj-lt"/>
                <a:sym typeface="Source Sans Pro"/>
              </a:rPr>
            </a:br>
            <a:r>
              <a:rPr lang="en-US" dirty="0">
                <a:latin typeface="+mj-lt"/>
                <a:sym typeface="Source Sans Pro"/>
              </a:rPr>
              <a:t>analytics</a:t>
            </a:r>
          </a:p>
        </p:txBody>
      </p:sp>
      <p:sp>
        <p:nvSpPr>
          <p:cNvPr id="2065" name="Text Placeholder 2064">
            <a:extLst>
              <a:ext uri="{FF2B5EF4-FFF2-40B4-BE49-F238E27FC236}">
                <a16:creationId xmlns:a16="http://schemas.microsoft.com/office/drawing/2014/main" id="{7C95A8E7-5026-454C-8732-2623AE0CF03E}"/>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Image</a:t>
            </a:r>
            <a:br>
              <a:rPr lang="en-US" dirty="0">
                <a:latin typeface="+mj-lt"/>
                <a:sym typeface="Source Sans Pro"/>
              </a:rPr>
            </a:br>
            <a:r>
              <a:rPr lang="en-US" dirty="0">
                <a:latin typeface="+mj-lt"/>
                <a:sym typeface="Source Sans Pro"/>
              </a:rPr>
              <a:t>deep learning</a:t>
            </a:r>
          </a:p>
        </p:txBody>
      </p:sp>
      <p:sp>
        <p:nvSpPr>
          <p:cNvPr id="2066" name="Text Placeholder 2065">
            <a:extLst>
              <a:ext uri="{FF2B5EF4-FFF2-40B4-BE49-F238E27FC236}">
                <a16:creationId xmlns:a16="http://schemas.microsoft.com/office/drawing/2014/main" id="{1B28142D-000F-4047-808C-0B5B8767D657}"/>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Sensor</a:t>
            </a:r>
            <a:br>
              <a:rPr lang="en-US" dirty="0">
                <a:latin typeface="+mj-lt"/>
                <a:sym typeface="Source Sans Pro"/>
              </a:rPr>
            </a:br>
            <a:r>
              <a:rPr lang="en-US" dirty="0">
                <a:latin typeface="+mj-lt"/>
                <a:sym typeface="Source Sans Pro"/>
              </a:rPr>
              <a:t>data</a:t>
            </a:r>
          </a:p>
        </p:txBody>
      </p:sp>
      <p:sp>
        <p:nvSpPr>
          <p:cNvPr id="2067" name="Text Placeholder 2066">
            <a:extLst>
              <a:ext uri="{FF2B5EF4-FFF2-40B4-BE49-F238E27FC236}">
                <a16:creationId xmlns:a16="http://schemas.microsoft.com/office/drawing/2014/main" id="{4F131784-C053-4189-8762-AD5B49A00F4F}"/>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Social data</a:t>
            </a:r>
            <a:br>
              <a:rPr lang="en-US" dirty="0">
                <a:latin typeface="+mj-lt"/>
                <a:sym typeface="Source Sans Pro"/>
              </a:rPr>
            </a:br>
            <a:r>
              <a:rPr lang="en-US" dirty="0">
                <a:latin typeface="+mj-lt"/>
                <a:sym typeface="Source Sans Pro"/>
              </a:rPr>
              <a:t>listening</a:t>
            </a:r>
          </a:p>
        </p:txBody>
      </p:sp>
      <p:grpSp>
        <p:nvGrpSpPr>
          <p:cNvPr id="95" name="Group 94">
            <a:extLst>
              <a:ext uri="{FF2B5EF4-FFF2-40B4-BE49-F238E27FC236}">
                <a16:creationId xmlns:a16="http://schemas.microsoft.com/office/drawing/2014/main" id="{598FA588-E3FC-4D03-90A6-00C775DEE392}"/>
              </a:ext>
            </a:extLst>
          </p:cNvPr>
          <p:cNvGrpSpPr/>
          <p:nvPr/>
        </p:nvGrpSpPr>
        <p:grpSpPr>
          <a:xfrm>
            <a:off x="3592285" y="3075474"/>
            <a:ext cx="298681" cy="336633"/>
            <a:chOff x="298037" y="2072988"/>
            <a:chExt cx="1992743" cy="2245950"/>
          </a:xfrm>
        </p:grpSpPr>
        <p:sp>
          <p:nvSpPr>
            <p:cNvPr id="96" name="Oval 95">
              <a:extLst>
                <a:ext uri="{FF2B5EF4-FFF2-40B4-BE49-F238E27FC236}">
                  <a16:creationId xmlns:a16="http://schemas.microsoft.com/office/drawing/2014/main" id="{862A864A-993E-4D5F-AAD5-8B1E390B91E4}"/>
                </a:ext>
              </a:extLst>
            </p:cNvPr>
            <p:cNvSpPr/>
            <p:nvPr/>
          </p:nvSpPr>
          <p:spPr bwMode="auto">
            <a:xfrm>
              <a:off x="298037" y="3294738"/>
              <a:ext cx="572293" cy="572292"/>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1506E521-7E60-4315-A74D-2B5339099283}"/>
                </a:ext>
              </a:extLst>
            </p:cNvPr>
            <p:cNvSpPr/>
            <p:nvPr/>
          </p:nvSpPr>
          <p:spPr bwMode="auto">
            <a:xfrm>
              <a:off x="508881" y="3505581"/>
              <a:ext cx="150605" cy="150605"/>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Arc 71">
              <a:extLst>
                <a:ext uri="{FF2B5EF4-FFF2-40B4-BE49-F238E27FC236}">
                  <a16:creationId xmlns:a16="http://schemas.microsoft.com/office/drawing/2014/main" id="{09DB70AA-2EAE-42DF-8AA8-CEC8848C1C20}"/>
                </a:ext>
              </a:extLst>
            </p:cNvPr>
            <p:cNvSpPr/>
            <p:nvPr/>
          </p:nvSpPr>
          <p:spPr>
            <a:xfrm>
              <a:off x="805808" y="2192883"/>
              <a:ext cx="1484972" cy="1302717"/>
            </a:xfrm>
            <a:custGeom>
              <a:avLst/>
              <a:gdLst>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5" fmla="*/ 715364 w 1430727"/>
                <a:gd name="connsiteY5" fmla="*/ 715363 h 1430725"/>
                <a:gd name="connsiteX6" fmla="*/ 1130933 w 1430727"/>
                <a:gd name="connsiteY6" fmla="*/ 133086 h 1430725"/>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5" fmla="*/ 715414 w 1430827"/>
                <a:gd name="connsiteY5" fmla="*/ 582277 h 1297710"/>
                <a:gd name="connsiteX6" fmla="*/ 1130983 w 1430827"/>
                <a:gd name="connsiteY6" fmla="*/ 0 h 1297710"/>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0" fmla="*/ 1130983 w 1430827"/>
                <a:gd name="connsiteY0" fmla="*/ 0 h 1463237"/>
                <a:gd name="connsiteX1" fmla="*/ 1397019 w 1430827"/>
                <a:gd name="connsiteY1" fmla="*/ 799438 h 1463237"/>
                <a:gd name="connsiteX2" fmla="*/ 717552 w 1430827"/>
                <a:gd name="connsiteY2" fmla="*/ 1297636 h 1463237"/>
                <a:gd name="connsiteX3" fmla="*/ 35118 w 1430827"/>
                <a:gd name="connsiteY3" fmla="*/ 803510 h 1463237"/>
                <a:gd name="connsiteX4" fmla="*/ 296369 w 1430827"/>
                <a:gd name="connsiteY4" fmla="*/ 2495 h 1463237"/>
                <a:gd name="connsiteX5" fmla="*/ 715414 w 1430827"/>
                <a:gd name="connsiteY5" fmla="*/ 582277 h 1463237"/>
                <a:gd name="connsiteX6" fmla="*/ 1130983 w 1430827"/>
                <a:gd name="connsiteY6" fmla="*/ 0 h 1463237"/>
                <a:gd name="connsiteX0" fmla="*/ 1130983 w 1430827"/>
                <a:gd name="connsiteY0" fmla="*/ 0 h 1463237"/>
                <a:gd name="connsiteX1" fmla="*/ 1397019 w 1430827"/>
                <a:gd name="connsiteY1" fmla="*/ 799438 h 1463237"/>
                <a:gd name="connsiteX2" fmla="*/ 706752 w 1430827"/>
                <a:gd name="connsiteY2" fmla="*/ 1463236 h 1463237"/>
                <a:gd name="connsiteX3" fmla="*/ 35118 w 1430827"/>
                <a:gd name="connsiteY3" fmla="*/ 803510 h 1463237"/>
                <a:gd name="connsiteX4" fmla="*/ 296369 w 1430827"/>
                <a:gd name="connsiteY4" fmla="*/ 2495 h 1463237"/>
                <a:gd name="connsiteX0" fmla="*/ 1130983 w 1430353"/>
                <a:gd name="connsiteY0" fmla="*/ 0 h 1463237"/>
                <a:gd name="connsiteX1" fmla="*/ 1397019 w 1430353"/>
                <a:gd name="connsiteY1" fmla="*/ 799438 h 1463237"/>
                <a:gd name="connsiteX2" fmla="*/ 717552 w 1430353"/>
                <a:gd name="connsiteY2" fmla="*/ 1297636 h 1463237"/>
                <a:gd name="connsiteX3" fmla="*/ 35118 w 1430353"/>
                <a:gd name="connsiteY3" fmla="*/ 803510 h 1463237"/>
                <a:gd name="connsiteX4" fmla="*/ 296369 w 1430353"/>
                <a:gd name="connsiteY4" fmla="*/ 2495 h 1463237"/>
                <a:gd name="connsiteX5" fmla="*/ 715414 w 1430353"/>
                <a:gd name="connsiteY5" fmla="*/ 582277 h 1463237"/>
                <a:gd name="connsiteX6" fmla="*/ 1130983 w 1430353"/>
                <a:gd name="connsiteY6" fmla="*/ 0 h 1463237"/>
                <a:gd name="connsiteX0" fmla="*/ 1130983 w 1430353"/>
                <a:gd name="connsiteY0" fmla="*/ 0 h 1463237"/>
                <a:gd name="connsiteX1" fmla="*/ 1397019 w 1430353"/>
                <a:gd name="connsiteY1" fmla="*/ 799438 h 1463237"/>
                <a:gd name="connsiteX2" fmla="*/ 706752 w 1430353"/>
                <a:gd name="connsiteY2" fmla="*/ 1463236 h 1463237"/>
                <a:gd name="connsiteX3" fmla="*/ 35118 w 1430353"/>
                <a:gd name="connsiteY3" fmla="*/ 803510 h 1463237"/>
                <a:gd name="connsiteX4" fmla="*/ 296369 w 1430353"/>
                <a:gd name="connsiteY4" fmla="*/ 2495 h 1463237"/>
                <a:gd name="connsiteX0" fmla="*/ 1143778 w 1443148"/>
                <a:gd name="connsiteY0" fmla="*/ 0 h 1463237"/>
                <a:gd name="connsiteX1" fmla="*/ 1409814 w 1443148"/>
                <a:gd name="connsiteY1" fmla="*/ 799438 h 1463237"/>
                <a:gd name="connsiteX2" fmla="*/ 730347 w 1443148"/>
                <a:gd name="connsiteY2" fmla="*/ 1297636 h 1463237"/>
                <a:gd name="connsiteX3" fmla="*/ 47913 w 1443148"/>
                <a:gd name="connsiteY3" fmla="*/ 803510 h 1463237"/>
                <a:gd name="connsiteX4" fmla="*/ 309164 w 1443148"/>
                <a:gd name="connsiteY4" fmla="*/ 2495 h 1463237"/>
                <a:gd name="connsiteX5" fmla="*/ 728209 w 1443148"/>
                <a:gd name="connsiteY5" fmla="*/ 582277 h 1463237"/>
                <a:gd name="connsiteX6" fmla="*/ 1143778 w 1443148"/>
                <a:gd name="connsiteY6" fmla="*/ 0 h 1463237"/>
                <a:gd name="connsiteX0" fmla="*/ 1143778 w 1443148"/>
                <a:gd name="connsiteY0" fmla="*/ 0 h 1463237"/>
                <a:gd name="connsiteX1" fmla="*/ 1409814 w 1443148"/>
                <a:gd name="connsiteY1" fmla="*/ 799438 h 1463237"/>
                <a:gd name="connsiteX2" fmla="*/ 719547 w 1443148"/>
                <a:gd name="connsiteY2" fmla="*/ 1463236 h 1463237"/>
                <a:gd name="connsiteX3" fmla="*/ 47913 w 1443148"/>
                <a:gd name="connsiteY3" fmla="*/ 803510 h 1463237"/>
                <a:gd name="connsiteX4" fmla="*/ 309164 w 1443148"/>
                <a:gd name="connsiteY4" fmla="*/ 2495 h 1463237"/>
                <a:gd name="connsiteX0" fmla="*/ 1143778 w 1468979"/>
                <a:gd name="connsiteY0" fmla="*/ 0 h 1463237"/>
                <a:gd name="connsiteX1" fmla="*/ 1409814 w 1468979"/>
                <a:gd name="connsiteY1" fmla="*/ 799438 h 1463237"/>
                <a:gd name="connsiteX2" fmla="*/ 730347 w 1468979"/>
                <a:gd name="connsiteY2" fmla="*/ 1297636 h 1463237"/>
                <a:gd name="connsiteX3" fmla="*/ 47913 w 1468979"/>
                <a:gd name="connsiteY3" fmla="*/ 803510 h 1463237"/>
                <a:gd name="connsiteX4" fmla="*/ 309164 w 1468979"/>
                <a:gd name="connsiteY4" fmla="*/ 2495 h 1463237"/>
                <a:gd name="connsiteX5" fmla="*/ 728209 w 1468979"/>
                <a:gd name="connsiteY5" fmla="*/ 582277 h 1463237"/>
                <a:gd name="connsiteX6" fmla="*/ 1143778 w 1468979"/>
                <a:gd name="connsiteY6" fmla="*/ 0 h 1463237"/>
                <a:gd name="connsiteX0" fmla="*/ 1143778 w 1468979"/>
                <a:gd name="connsiteY0" fmla="*/ 0 h 1463237"/>
                <a:gd name="connsiteX1" fmla="*/ 1409814 w 1468979"/>
                <a:gd name="connsiteY1" fmla="*/ 799438 h 1463237"/>
                <a:gd name="connsiteX2" fmla="*/ 719547 w 1468979"/>
                <a:gd name="connsiteY2" fmla="*/ 1463236 h 1463237"/>
                <a:gd name="connsiteX3" fmla="*/ 47913 w 1468979"/>
                <a:gd name="connsiteY3" fmla="*/ 803510 h 1463237"/>
                <a:gd name="connsiteX4" fmla="*/ 309164 w 1468979"/>
                <a:gd name="connsiteY4" fmla="*/ 2495 h 1463237"/>
                <a:gd name="connsiteX0" fmla="*/ 1159771 w 1484972"/>
                <a:gd name="connsiteY0" fmla="*/ 0 h 1463237"/>
                <a:gd name="connsiteX1" fmla="*/ 1425807 w 1484972"/>
                <a:gd name="connsiteY1" fmla="*/ 799438 h 1463237"/>
                <a:gd name="connsiteX2" fmla="*/ 746340 w 1484972"/>
                <a:gd name="connsiteY2" fmla="*/ 1297636 h 1463237"/>
                <a:gd name="connsiteX3" fmla="*/ 63906 w 1484972"/>
                <a:gd name="connsiteY3" fmla="*/ 803510 h 1463237"/>
                <a:gd name="connsiteX4" fmla="*/ 325157 w 1484972"/>
                <a:gd name="connsiteY4" fmla="*/ 2495 h 1463237"/>
                <a:gd name="connsiteX5" fmla="*/ 744202 w 1484972"/>
                <a:gd name="connsiteY5" fmla="*/ 582277 h 1463237"/>
                <a:gd name="connsiteX6" fmla="*/ 1159771 w 1484972"/>
                <a:gd name="connsiteY6" fmla="*/ 0 h 1463237"/>
                <a:gd name="connsiteX0" fmla="*/ 1159771 w 1484972"/>
                <a:gd name="connsiteY0" fmla="*/ 0 h 1463237"/>
                <a:gd name="connsiteX1" fmla="*/ 1425807 w 1484972"/>
                <a:gd name="connsiteY1" fmla="*/ 799438 h 1463237"/>
                <a:gd name="connsiteX2" fmla="*/ 735540 w 1484972"/>
                <a:gd name="connsiteY2" fmla="*/ 1463236 h 1463237"/>
                <a:gd name="connsiteX3" fmla="*/ 63906 w 1484972"/>
                <a:gd name="connsiteY3" fmla="*/ 803510 h 1463237"/>
                <a:gd name="connsiteX4" fmla="*/ 325157 w 1484972"/>
                <a:gd name="connsiteY4" fmla="*/ 2495 h 146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972" h="1463237" stroke="0" extrusionOk="0">
                  <a:moveTo>
                    <a:pt x="1159771" y="0"/>
                  </a:moveTo>
                  <a:cubicBezTo>
                    <a:pt x="1545816" y="454"/>
                    <a:pt x="1520106" y="503462"/>
                    <a:pt x="1425807" y="799438"/>
                  </a:cubicBezTo>
                  <a:cubicBezTo>
                    <a:pt x="1331508" y="1095414"/>
                    <a:pt x="920174" y="1293108"/>
                    <a:pt x="746340" y="1297636"/>
                  </a:cubicBezTo>
                  <a:cubicBezTo>
                    <a:pt x="572506" y="1302164"/>
                    <a:pt x="159973" y="1098916"/>
                    <a:pt x="63906" y="803510"/>
                  </a:cubicBezTo>
                  <a:cubicBezTo>
                    <a:pt x="-32161" y="508103"/>
                    <a:pt x="-70605" y="4458"/>
                    <a:pt x="325157" y="2495"/>
                  </a:cubicBezTo>
                  <a:cubicBezTo>
                    <a:pt x="720919" y="532"/>
                    <a:pt x="604520" y="389016"/>
                    <a:pt x="744202" y="582277"/>
                  </a:cubicBezTo>
                  <a:cubicBezTo>
                    <a:pt x="882725" y="388185"/>
                    <a:pt x="773726" y="-454"/>
                    <a:pt x="1159771" y="0"/>
                  </a:cubicBezTo>
                  <a:close/>
                </a:path>
                <a:path w="1484972" h="1463237" fill="none">
                  <a:moveTo>
                    <a:pt x="1159771" y="0"/>
                  </a:moveTo>
                  <a:cubicBezTo>
                    <a:pt x="1412616" y="180454"/>
                    <a:pt x="1496512" y="555565"/>
                    <a:pt x="1425807" y="799438"/>
                  </a:cubicBezTo>
                  <a:cubicBezTo>
                    <a:pt x="1355102" y="1043311"/>
                    <a:pt x="1046174" y="1462308"/>
                    <a:pt x="735540" y="1463236"/>
                  </a:cubicBezTo>
                  <a:cubicBezTo>
                    <a:pt x="424906" y="1464165"/>
                    <a:pt x="159973" y="1098916"/>
                    <a:pt x="63906" y="803510"/>
                  </a:cubicBezTo>
                  <a:cubicBezTo>
                    <a:pt x="-32161" y="508103"/>
                    <a:pt x="73395" y="184458"/>
                    <a:pt x="325157" y="2495"/>
                  </a:cubicBezTo>
                </a:path>
              </a:pathLst>
            </a:cu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Oval 98">
              <a:extLst>
                <a:ext uri="{FF2B5EF4-FFF2-40B4-BE49-F238E27FC236}">
                  <a16:creationId xmlns:a16="http://schemas.microsoft.com/office/drawing/2014/main" id="{EB3FD1EE-1A02-4A5F-BBBC-4A678579819B}"/>
                </a:ext>
              </a:extLst>
            </p:cNvPr>
            <p:cNvSpPr/>
            <p:nvPr/>
          </p:nvSpPr>
          <p:spPr bwMode="auto">
            <a:xfrm>
              <a:off x="1130074"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0" name="Oval 99">
              <a:extLst>
                <a:ext uri="{FF2B5EF4-FFF2-40B4-BE49-F238E27FC236}">
                  <a16:creationId xmlns:a16="http://schemas.microsoft.com/office/drawing/2014/main" id="{9BA1950A-C3D5-4011-93B9-D23EC5315B05}"/>
                </a:ext>
              </a:extLst>
            </p:cNvPr>
            <p:cNvSpPr/>
            <p:nvPr/>
          </p:nvSpPr>
          <p:spPr bwMode="auto">
            <a:xfrm>
              <a:off x="1749239"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1" name="Freeform 143">
              <a:extLst>
                <a:ext uri="{FF2B5EF4-FFF2-40B4-BE49-F238E27FC236}">
                  <a16:creationId xmlns:a16="http://schemas.microsoft.com/office/drawing/2014/main" id="{382D89C4-9092-40CA-9A61-B13D17B1A2B8}"/>
                </a:ext>
              </a:extLst>
            </p:cNvPr>
            <p:cNvSpPr/>
            <p:nvPr/>
          </p:nvSpPr>
          <p:spPr bwMode="auto">
            <a:xfrm>
              <a:off x="871317" y="3490521"/>
              <a:ext cx="676729" cy="828417"/>
            </a:xfrm>
            <a:custGeom>
              <a:avLst/>
              <a:gdLst>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31"/>
                <a:gd name="connsiteX1" fmla="*/ 224286 w 224286"/>
                <a:gd name="connsiteY1" fmla="*/ 224287 h 316331"/>
                <a:gd name="connsiteX2" fmla="*/ 132271 w 224286"/>
                <a:gd name="connsiteY2" fmla="*/ 316302 h 316331"/>
                <a:gd name="connsiteX3" fmla="*/ 63260 w 224286"/>
                <a:gd name="connsiteY3" fmla="*/ 247291 h 316331"/>
                <a:gd name="connsiteX4" fmla="*/ 63260 w 224286"/>
                <a:gd name="connsiteY4" fmla="*/ 80513 h 316331"/>
                <a:gd name="connsiteX5" fmla="*/ 0 w 224286"/>
                <a:gd name="connsiteY5" fmla="*/ 17253 h 316331"/>
                <a:gd name="connsiteX0" fmla="*/ 224286 w 224286"/>
                <a:gd name="connsiteY0" fmla="*/ 0 h 316750"/>
                <a:gd name="connsiteX1" fmla="*/ 224286 w 224286"/>
                <a:gd name="connsiteY1" fmla="*/ 246602 h 316750"/>
                <a:gd name="connsiteX2" fmla="*/ 132271 w 224286"/>
                <a:gd name="connsiteY2" fmla="*/ 316302 h 316750"/>
                <a:gd name="connsiteX3" fmla="*/ 63260 w 224286"/>
                <a:gd name="connsiteY3" fmla="*/ 247291 h 316750"/>
                <a:gd name="connsiteX4" fmla="*/ 63260 w 224286"/>
                <a:gd name="connsiteY4" fmla="*/ 80513 h 316750"/>
                <a:gd name="connsiteX5" fmla="*/ 0 w 224286"/>
                <a:gd name="connsiteY5" fmla="*/ 17253 h 316750"/>
                <a:gd name="connsiteX0" fmla="*/ 224286 w 224286"/>
                <a:gd name="connsiteY0" fmla="*/ 0 h 316334"/>
                <a:gd name="connsiteX1" fmla="*/ 224286 w 224286"/>
                <a:gd name="connsiteY1" fmla="*/ 246602 h 316334"/>
                <a:gd name="connsiteX2" fmla="*/ 132271 w 224286"/>
                <a:gd name="connsiteY2" fmla="*/ 316302 h 316334"/>
                <a:gd name="connsiteX3" fmla="*/ 63260 w 224286"/>
                <a:gd name="connsiteY3" fmla="*/ 247291 h 316334"/>
                <a:gd name="connsiteX4" fmla="*/ 63260 w 224286"/>
                <a:gd name="connsiteY4" fmla="*/ 80513 h 316334"/>
                <a:gd name="connsiteX5" fmla="*/ 0 w 224286"/>
                <a:gd name="connsiteY5" fmla="*/ 17253 h 316334"/>
                <a:gd name="connsiteX0" fmla="*/ 224286 w 224286"/>
                <a:gd name="connsiteY0" fmla="*/ 0 h 316340"/>
                <a:gd name="connsiteX1" fmla="*/ 224286 w 224286"/>
                <a:gd name="connsiteY1" fmla="*/ 246602 h 316340"/>
                <a:gd name="connsiteX2" fmla="*/ 132271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416" h="316340">
                  <a:moveTo>
                    <a:pt x="258416" y="0"/>
                  </a:moveTo>
                  <a:lnTo>
                    <a:pt x="258416" y="246602"/>
                  </a:lnTo>
                  <a:cubicBezTo>
                    <a:pt x="257935" y="304840"/>
                    <a:pt x="218076" y="317135"/>
                    <a:pt x="179528" y="316302"/>
                  </a:cubicBezTo>
                  <a:cubicBezTo>
                    <a:pt x="139459" y="315613"/>
                    <a:pt x="96766" y="300487"/>
                    <a:pt x="97390" y="247291"/>
                  </a:cubicBezTo>
                  <a:lnTo>
                    <a:pt x="97390" y="83138"/>
                  </a:lnTo>
                  <a:cubicBezTo>
                    <a:pt x="97306" y="50675"/>
                    <a:pt x="69656" y="40527"/>
                    <a:pt x="0" y="39568"/>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2" name="Group 101">
            <a:extLst>
              <a:ext uri="{FF2B5EF4-FFF2-40B4-BE49-F238E27FC236}">
                <a16:creationId xmlns:a16="http://schemas.microsoft.com/office/drawing/2014/main" id="{627458B2-EF84-4A79-B1AC-5EE2D7FD86B9}"/>
              </a:ext>
            </a:extLst>
          </p:cNvPr>
          <p:cNvGrpSpPr/>
          <p:nvPr/>
        </p:nvGrpSpPr>
        <p:grpSpPr>
          <a:xfrm>
            <a:off x="1215897" y="3074161"/>
            <a:ext cx="350815" cy="339259"/>
            <a:chOff x="996044" y="1583525"/>
            <a:chExt cx="4090563" cy="3955806"/>
          </a:xfrm>
        </p:grpSpPr>
        <p:grpSp>
          <p:nvGrpSpPr>
            <p:cNvPr id="103" name="Group 102">
              <a:extLst>
                <a:ext uri="{FF2B5EF4-FFF2-40B4-BE49-F238E27FC236}">
                  <a16:creationId xmlns:a16="http://schemas.microsoft.com/office/drawing/2014/main" id="{FFBE3652-57BF-46C2-B4CA-44FC5D9C51BC}"/>
                </a:ext>
              </a:extLst>
            </p:cNvPr>
            <p:cNvGrpSpPr/>
            <p:nvPr/>
          </p:nvGrpSpPr>
          <p:grpSpPr>
            <a:xfrm>
              <a:off x="996044" y="2736476"/>
              <a:ext cx="2559502" cy="2802855"/>
              <a:chOff x="996044" y="2736476"/>
              <a:chExt cx="2559502" cy="2802855"/>
            </a:xfrm>
          </p:grpSpPr>
          <p:sp>
            <p:nvSpPr>
              <p:cNvPr id="109" name="Freeform: Shape 108">
                <a:extLst>
                  <a:ext uri="{FF2B5EF4-FFF2-40B4-BE49-F238E27FC236}">
                    <a16:creationId xmlns:a16="http://schemas.microsoft.com/office/drawing/2014/main" id="{047AB509-8403-478C-A164-639908335C88}"/>
                  </a:ext>
                </a:extLst>
              </p:cNvPr>
              <p:cNvSpPr/>
              <p:nvPr/>
            </p:nvSpPr>
            <p:spPr bwMode="auto">
              <a:xfrm>
                <a:off x="2105616" y="2736476"/>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850C3096-6DD3-425A-8FEA-1D0A8C04F6EC}"/>
                  </a:ext>
                </a:extLst>
              </p:cNvPr>
              <p:cNvCxnSpPr>
                <a:cxnSpLocks/>
              </p:cNvCxnSpPr>
              <p:nvPr/>
            </p:nvCxnSpPr>
            <p:spPr>
              <a:xfrm>
                <a:off x="2956832" y="2777218"/>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D966A989-4E3A-4B1B-B9D3-B0CA060E1343}"/>
                  </a:ext>
                </a:extLst>
              </p:cNvPr>
              <p:cNvSpPr/>
              <p:nvPr/>
            </p:nvSpPr>
            <p:spPr bwMode="auto">
              <a:xfrm>
                <a:off x="996044" y="4242264"/>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2" name="Straight Connector 111">
                <a:extLst>
                  <a:ext uri="{FF2B5EF4-FFF2-40B4-BE49-F238E27FC236}">
                    <a16:creationId xmlns:a16="http://schemas.microsoft.com/office/drawing/2014/main" id="{49A60A79-AAED-4971-8BB3-B6C3B14C3FA3}"/>
                  </a:ext>
                </a:extLst>
              </p:cNvPr>
              <p:cNvCxnSpPr/>
              <p:nvPr/>
            </p:nvCxnSpPr>
            <p:spPr>
              <a:xfrm>
                <a:off x="1336222" y="431074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4" name="Freeform: Shape 103">
              <a:extLst>
                <a:ext uri="{FF2B5EF4-FFF2-40B4-BE49-F238E27FC236}">
                  <a16:creationId xmlns:a16="http://schemas.microsoft.com/office/drawing/2014/main" id="{78E77933-1763-4183-9D83-A0061CAD34E4}"/>
                </a:ext>
              </a:extLst>
            </p:cNvPr>
            <p:cNvSpPr/>
            <p:nvPr/>
          </p:nvSpPr>
          <p:spPr bwMode="auto">
            <a:xfrm rot="10800000">
              <a:off x="2630314" y="1583525"/>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05" name="Straight Connector 104">
              <a:extLst>
                <a:ext uri="{FF2B5EF4-FFF2-40B4-BE49-F238E27FC236}">
                  <a16:creationId xmlns:a16="http://schemas.microsoft.com/office/drawing/2014/main" id="{7FBDCD2D-4762-409A-BDDC-883AADDAA304}"/>
                </a:ext>
              </a:extLst>
            </p:cNvPr>
            <p:cNvCxnSpPr>
              <a:cxnSpLocks/>
            </p:cNvCxnSpPr>
            <p:nvPr/>
          </p:nvCxnSpPr>
          <p:spPr>
            <a:xfrm rot="10800000">
              <a:off x="2539973" y="3746924"/>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Freeform: Shape 105">
              <a:extLst>
                <a:ext uri="{FF2B5EF4-FFF2-40B4-BE49-F238E27FC236}">
                  <a16:creationId xmlns:a16="http://schemas.microsoft.com/office/drawing/2014/main" id="{5CD89635-01E2-487A-8660-BAC627F27A4C}"/>
                </a:ext>
              </a:extLst>
            </p:cNvPr>
            <p:cNvSpPr/>
            <p:nvPr/>
          </p:nvSpPr>
          <p:spPr bwMode="auto">
            <a:xfrm rot="10800000">
              <a:off x="4098729" y="2668235"/>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07" name="Straight Connector 106">
              <a:extLst>
                <a:ext uri="{FF2B5EF4-FFF2-40B4-BE49-F238E27FC236}">
                  <a16:creationId xmlns:a16="http://schemas.microsoft.com/office/drawing/2014/main" id="{AE96559D-F96F-4855-B78A-3C8137D5634F}"/>
                </a:ext>
              </a:extLst>
            </p:cNvPr>
            <p:cNvCxnSpPr/>
            <p:nvPr/>
          </p:nvCxnSpPr>
          <p:spPr>
            <a:xfrm rot="10800000">
              <a:off x="4135782" y="229642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41F833C-0DF8-490A-961E-34D99FC345DF}"/>
                </a:ext>
              </a:extLst>
            </p:cNvPr>
            <p:cNvCxnSpPr>
              <a:cxnSpLocks/>
            </p:cNvCxnSpPr>
            <p:nvPr/>
          </p:nvCxnSpPr>
          <p:spPr>
            <a:xfrm flipH="1" flipV="1">
              <a:off x="2496493" y="3023382"/>
              <a:ext cx="1090409" cy="1090405"/>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EB4B5B90-7EE7-40A8-989B-B5AC176980EA}"/>
              </a:ext>
            </a:extLst>
          </p:cNvPr>
          <p:cNvGrpSpPr/>
          <p:nvPr/>
        </p:nvGrpSpPr>
        <p:grpSpPr>
          <a:xfrm>
            <a:off x="5917007" y="3077906"/>
            <a:ext cx="339946" cy="331769"/>
            <a:chOff x="4839850" y="1431679"/>
            <a:chExt cx="669788" cy="653683"/>
          </a:xfrm>
        </p:grpSpPr>
        <p:grpSp>
          <p:nvGrpSpPr>
            <p:cNvPr id="114" name="Group 113">
              <a:extLst>
                <a:ext uri="{FF2B5EF4-FFF2-40B4-BE49-F238E27FC236}">
                  <a16:creationId xmlns:a16="http://schemas.microsoft.com/office/drawing/2014/main" id="{D413CE3B-9946-47FA-91AA-D7C84EC07090}"/>
                </a:ext>
              </a:extLst>
            </p:cNvPr>
            <p:cNvGrpSpPr/>
            <p:nvPr/>
          </p:nvGrpSpPr>
          <p:grpSpPr>
            <a:xfrm>
              <a:off x="4839850" y="1431679"/>
              <a:ext cx="445023" cy="476389"/>
              <a:chOff x="4839850" y="1431679"/>
              <a:chExt cx="445023" cy="476389"/>
            </a:xfrm>
          </p:grpSpPr>
          <p:sp>
            <p:nvSpPr>
              <p:cNvPr id="118" name="Rectangle 48">
                <a:extLst>
                  <a:ext uri="{FF2B5EF4-FFF2-40B4-BE49-F238E27FC236}">
                    <a16:creationId xmlns:a16="http://schemas.microsoft.com/office/drawing/2014/main" id="{C1909833-B5C4-4D03-958A-2261C99109AF}"/>
                  </a:ext>
                </a:extLst>
              </p:cNvPr>
              <p:cNvSpPr>
                <a:spLocks noChangeArrowheads="1"/>
              </p:cNvSpPr>
              <p:nvPr/>
            </p:nvSpPr>
            <p:spPr bwMode="auto">
              <a:xfrm>
                <a:off x="4895407" y="1487181"/>
                <a:ext cx="331628" cy="299456"/>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49">
                <a:extLst>
                  <a:ext uri="{FF2B5EF4-FFF2-40B4-BE49-F238E27FC236}">
                    <a16:creationId xmlns:a16="http://schemas.microsoft.com/office/drawing/2014/main" id="{7F05FD1A-6E12-4CDC-94EB-A0EDBAF586EB}"/>
                  </a:ext>
                </a:extLst>
              </p:cNvPr>
              <p:cNvSpPr>
                <a:spLocks/>
              </p:cNvSpPr>
              <p:nvPr/>
            </p:nvSpPr>
            <p:spPr bwMode="auto">
              <a:xfrm>
                <a:off x="4895407" y="1609686"/>
                <a:ext cx="331628" cy="16333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Oval 56">
                <a:extLst>
                  <a:ext uri="{FF2B5EF4-FFF2-40B4-BE49-F238E27FC236}">
                    <a16:creationId xmlns:a16="http://schemas.microsoft.com/office/drawing/2014/main" id="{CF3A70C3-6F8F-47DF-8444-9FD406A607E3}"/>
                  </a:ext>
                </a:extLst>
              </p:cNvPr>
              <p:cNvSpPr>
                <a:spLocks noChangeArrowheads="1"/>
              </p:cNvSpPr>
              <p:nvPr/>
            </p:nvSpPr>
            <p:spPr bwMode="auto">
              <a:xfrm>
                <a:off x="5116905" y="1541628"/>
                <a:ext cx="55684" cy="54447"/>
              </a:xfrm>
              <a:prstGeom prst="ellipse">
                <a:avLst/>
              </a:prstGeom>
              <a:noFill/>
              <a:ln w="158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Rectangle 48">
                <a:extLst>
                  <a:ext uri="{FF2B5EF4-FFF2-40B4-BE49-F238E27FC236}">
                    <a16:creationId xmlns:a16="http://schemas.microsoft.com/office/drawing/2014/main" id="{E4DDB5D9-57DE-4CF4-890D-32892F0E874D}"/>
                  </a:ext>
                </a:extLst>
              </p:cNvPr>
              <p:cNvSpPr>
                <a:spLocks noChangeArrowheads="1"/>
              </p:cNvSpPr>
              <p:nvPr/>
            </p:nvSpPr>
            <p:spPr bwMode="auto">
              <a:xfrm>
                <a:off x="4839850" y="1431679"/>
                <a:ext cx="445023" cy="476389"/>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D6F79B6E-BA96-4215-864B-1133E66657D7}"/>
                </a:ext>
              </a:extLst>
            </p:cNvPr>
            <p:cNvGrpSpPr/>
            <p:nvPr/>
          </p:nvGrpSpPr>
          <p:grpSpPr>
            <a:xfrm>
              <a:off x="5057872" y="1834698"/>
              <a:ext cx="451766" cy="250664"/>
              <a:chOff x="5057872" y="1834698"/>
              <a:chExt cx="451766" cy="250664"/>
            </a:xfrm>
          </p:grpSpPr>
          <p:sp>
            <p:nvSpPr>
              <p:cNvPr id="116" name="Oval 115">
                <a:extLst>
                  <a:ext uri="{FF2B5EF4-FFF2-40B4-BE49-F238E27FC236}">
                    <a16:creationId xmlns:a16="http://schemas.microsoft.com/office/drawing/2014/main" id="{CD968CD6-6176-4D15-A13A-E750E4ED1C1E}"/>
                  </a:ext>
                </a:extLst>
              </p:cNvPr>
              <p:cNvSpPr/>
              <p:nvPr/>
            </p:nvSpPr>
            <p:spPr bwMode="auto">
              <a:xfrm>
                <a:off x="5145456" y="1848310"/>
                <a:ext cx="282346" cy="226540"/>
              </a:xfrm>
              <a:prstGeom prst="ellipse">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7" name="eye_2">
                <a:extLst>
                  <a:ext uri="{FF2B5EF4-FFF2-40B4-BE49-F238E27FC236}">
                    <a16:creationId xmlns:a16="http://schemas.microsoft.com/office/drawing/2014/main" id="{6E3E9449-644C-4B62-A9BA-E312D3837265}"/>
                  </a:ext>
                </a:extLst>
              </p:cNvPr>
              <p:cNvSpPr>
                <a:spLocks noChangeAspect="1" noEditPoints="1"/>
              </p:cNvSpPr>
              <p:nvPr/>
            </p:nvSpPr>
            <p:spPr bwMode="auto">
              <a:xfrm>
                <a:off x="5057872" y="1834698"/>
                <a:ext cx="451766" cy="25066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2" name="Group 121">
            <a:extLst>
              <a:ext uri="{FF2B5EF4-FFF2-40B4-BE49-F238E27FC236}">
                <a16:creationId xmlns:a16="http://schemas.microsoft.com/office/drawing/2014/main" id="{F668E0CD-FFFD-4A50-94D8-E73FE8EAD337}"/>
              </a:ext>
            </a:extLst>
          </p:cNvPr>
          <p:cNvGrpSpPr/>
          <p:nvPr/>
        </p:nvGrpSpPr>
        <p:grpSpPr>
          <a:xfrm>
            <a:off x="8185252" y="3074626"/>
            <a:ext cx="522536" cy="338329"/>
            <a:chOff x="7914731" y="1469195"/>
            <a:chExt cx="798691" cy="517135"/>
          </a:xfrm>
        </p:grpSpPr>
        <p:grpSp>
          <p:nvGrpSpPr>
            <p:cNvPr id="123" name="Group 122">
              <a:extLst>
                <a:ext uri="{FF2B5EF4-FFF2-40B4-BE49-F238E27FC236}">
                  <a16:creationId xmlns:a16="http://schemas.microsoft.com/office/drawing/2014/main" id="{5232B027-C7B4-43C0-BFD5-0B55BCBC1553}"/>
                </a:ext>
              </a:extLst>
            </p:cNvPr>
            <p:cNvGrpSpPr/>
            <p:nvPr/>
          </p:nvGrpSpPr>
          <p:grpSpPr>
            <a:xfrm>
              <a:off x="8517828" y="1469195"/>
              <a:ext cx="195594" cy="517135"/>
              <a:chOff x="8517828" y="1469195"/>
              <a:chExt cx="195594" cy="517135"/>
            </a:xfrm>
          </p:grpSpPr>
          <p:sp>
            <p:nvSpPr>
              <p:cNvPr id="128" name="Freeform 147">
                <a:extLst>
                  <a:ext uri="{FF2B5EF4-FFF2-40B4-BE49-F238E27FC236}">
                    <a16:creationId xmlns:a16="http://schemas.microsoft.com/office/drawing/2014/main" id="{22CAD8C1-C08A-48E0-B7C7-C3AF815D4399}"/>
                  </a:ext>
                </a:extLst>
              </p:cNvPr>
              <p:cNvSpPr/>
              <p:nvPr/>
            </p:nvSpPr>
            <p:spPr bwMode="auto">
              <a:xfrm>
                <a:off x="8517828" y="1553846"/>
                <a:ext cx="93486" cy="347834"/>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150">
                <a:extLst>
                  <a:ext uri="{FF2B5EF4-FFF2-40B4-BE49-F238E27FC236}">
                    <a16:creationId xmlns:a16="http://schemas.microsoft.com/office/drawing/2014/main" id="{CC65B3C0-A79E-4C9E-985B-827D69D691F9}"/>
                  </a:ext>
                </a:extLst>
              </p:cNvPr>
              <p:cNvSpPr/>
              <p:nvPr/>
            </p:nvSpPr>
            <p:spPr bwMode="auto">
              <a:xfrm>
                <a:off x="8574434" y="1469195"/>
                <a:ext cx="138988" cy="517135"/>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27EF3116-F446-403A-9C5F-05D758F2D5C4}"/>
                </a:ext>
              </a:extLst>
            </p:cNvPr>
            <p:cNvGrpSpPr/>
            <p:nvPr/>
          </p:nvGrpSpPr>
          <p:grpSpPr>
            <a:xfrm>
              <a:off x="7914731" y="1489013"/>
              <a:ext cx="179221" cy="477499"/>
              <a:chOff x="7997488" y="1489163"/>
              <a:chExt cx="179221" cy="477499"/>
            </a:xfrm>
          </p:grpSpPr>
          <p:sp>
            <p:nvSpPr>
              <p:cNvPr id="126" name="Freeform 148">
                <a:extLst>
                  <a:ext uri="{FF2B5EF4-FFF2-40B4-BE49-F238E27FC236}">
                    <a16:creationId xmlns:a16="http://schemas.microsoft.com/office/drawing/2014/main" id="{D9BE5F5C-C78C-40F8-8D83-4F8750EE67DD}"/>
                  </a:ext>
                </a:extLst>
              </p:cNvPr>
              <p:cNvSpPr/>
              <p:nvPr/>
            </p:nvSpPr>
            <p:spPr bwMode="auto">
              <a:xfrm>
                <a:off x="8099596" y="1567276"/>
                <a:ext cx="77113" cy="321175"/>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51">
                <a:extLst>
                  <a:ext uri="{FF2B5EF4-FFF2-40B4-BE49-F238E27FC236}">
                    <a16:creationId xmlns:a16="http://schemas.microsoft.com/office/drawing/2014/main" id="{0BE41C82-AE12-4CB8-9D86-24B218ABC4F7}"/>
                  </a:ext>
                </a:extLst>
              </p:cNvPr>
              <p:cNvSpPr/>
              <p:nvPr/>
            </p:nvSpPr>
            <p:spPr bwMode="auto">
              <a:xfrm>
                <a:off x="7997488" y="1489163"/>
                <a:ext cx="114645" cy="477499"/>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Freeform 5">
              <a:extLst>
                <a:ext uri="{FF2B5EF4-FFF2-40B4-BE49-F238E27FC236}">
                  <a16:creationId xmlns:a16="http://schemas.microsoft.com/office/drawing/2014/main" id="{75DA3CEF-EE77-4142-B5D4-C0ADCA3D5F74}"/>
                </a:ext>
              </a:extLst>
            </p:cNvPr>
            <p:cNvSpPr>
              <a:spLocks noEditPoints="1"/>
            </p:cNvSpPr>
            <p:nvPr/>
          </p:nvSpPr>
          <p:spPr bwMode="auto">
            <a:xfrm>
              <a:off x="8184125" y="1525250"/>
              <a:ext cx="243530" cy="40502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7ACC886E-E39B-4F91-93B0-89BA0B17D03C}"/>
              </a:ext>
            </a:extLst>
          </p:cNvPr>
          <p:cNvGrpSpPr/>
          <p:nvPr/>
        </p:nvGrpSpPr>
        <p:grpSpPr>
          <a:xfrm>
            <a:off x="10620161" y="3070062"/>
            <a:ext cx="356533" cy="347456"/>
            <a:chOff x="10196117" y="1531685"/>
            <a:chExt cx="593113" cy="578014"/>
          </a:xfrm>
        </p:grpSpPr>
        <p:grpSp>
          <p:nvGrpSpPr>
            <p:cNvPr id="131" name="Group 130">
              <a:extLst>
                <a:ext uri="{FF2B5EF4-FFF2-40B4-BE49-F238E27FC236}">
                  <a16:creationId xmlns:a16="http://schemas.microsoft.com/office/drawing/2014/main" id="{98DB63DB-59AD-4D3D-BEEE-3912283FA0F0}"/>
                </a:ext>
              </a:extLst>
            </p:cNvPr>
            <p:cNvGrpSpPr/>
            <p:nvPr/>
          </p:nvGrpSpPr>
          <p:grpSpPr>
            <a:xfrm>
              <a:off x="10196117" y="1531685"/>
              <a:ext cx="251632" cy="250611"/>
              <a:chOff x="2942046" y="837797"/>
              <a:chExt cx="951188" cy="947326"/>
            </a:xfrm>
          </p:grpSpPr>
          <p:sp>
            <p:nvSpPr>
              <p:cNvPr id="168" name="Freeform 5">
                <a:extLst>
                  <a:ext uri="{FF2B5EF4-FFF2-40B4-BE49-F238E27FC236}">
                    <a16:creationId xmlns:a16="http://schemas.microsoft.com/office/drawing/2014/main" id="{9485524E-8056-4AF1-9555-BB60BCC2BC9B}"/>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7" name="Freeform 5">
                <a:extLst>
                  <a:ext uri="{FF2B5EF4-FFF2-40B4-BE49-F238E27FC236}">
                    <a16:creationId xmlns:a16="http://schemas.microsoft.com/office/drawing/2014/main" id="{8AFB93E1-AB03-4018-AB05-8E75EA88B47B}"/>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2" name="Group 131">
              <a:extLst>
                <a:ext uri="{FF2B5EF4-FFF2-40B4-BE49-F238E27FC236}">
                  <a16:creationId xmlns:a16="http://schemas.microsoft.com/office/drawing/2014/main" id="{472794AF-4D24-42D8-B31A-8F89750388D5}"/>
                </a:ext>
              </a:extLst>
            </p:cNvPr>
            <p:cNvGrpSpPr/>
            <p:nvPr/>
          </p:nvGrpSpPr>
          <p:grpSpPr>
            <a:xfrm>
              <a:off x="10537598" y="1531685"/>
              <a:ext cx="251632" cy="250611"/>
              <a:chOff x="2942046" y="837797"/>
              <a:chExt cx="951188" cy="947326"/>
            </a:xfrm>
          </p:grpSpPr>
          <p:sp>
            <p:nvSpPr>
              <p:cNvPr id="166" name="Freeform 5">
                <a:extLst>
                  <a:ext uri="{FF2B5EF4-FFF2-40B4-BE49-F238E27FC236}">
                    <a16:creationId xmlns:a16="http://schemas.microsoft.com/office/drawing/2014/main" id="{C8D13251-B758-40F2-8D09-2950E4C1DC25}"/>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7" name="Freeform 5">
                <a:extLst>
                  <a:ext uri="{FF2B5EF4-FFF2-40B4-BE49-F238E27FC236}">
                    <a16:creationId xmlns:a16="http://schemas.microsoft.com/office/drawing/2014/main" id="{03A9DEC0-851C-4C7F-879D-37858AFA74C7}"/>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3" name="Group 132">
              <a:extLst>
                <a:ext uri="{FF2B5EF4-FFF2-40B4-BE49-F238E27FC236}">
                  <a16:creationId xmlns:a16="http://schemas.microsoft.com/office/drawing/2014/main" id="{2FAAA7D1-96DD-4164-84FA-5162C7EC3627}"/>
                </a:ext>
              </a:extLst>
            </p:cNvPr>
            <p:cNvGrpSpPr/>
            <p:nvPr/>
          </p:nvGrpSpPr>
          <p:grpSpPr>
            <a:xfrm>
              <a:off x="10196117" y="1859088"/>
              <a:ext cx="251632" cy="250611"/>
              <a:chOff x="2942046" y="837797"/>
              <a:chExt cx="951188" cy="947326"/>
            </a:xfrm>
          </p:grpSpPr>
          <p:sp>
            <p:nvSpPr>
              <p:cNvPr id="164" name="Freeform 5">
                <a:extLst>
                  <a:ext uri="{FF2B5EF4-FFF2-40B4-BE49-F238E27FC236}">
                    <a16:creationId xmlns:a16="http://schemas.microsoft.com/office/drawing/2014/main" id="{F8261F1B-7392-4A4F-B6B5-90AF01596F96}"/>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5" name="Freeform 5">
                <a:extLst>
                  <a:ext uri="{FF2B5EF4-FFF2-40B4-BE49-F238E27FC236}">
                    <a16:creationId xmlns:a16="http://schemas.microsoft.com/office/drawing/2014/main" id="{E95C6BA8-9EA0-4BCB-B7BB-8A760252A454}"/>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cxnSp>
          <p:nvCxnSpPr>
            <p:cNvPr id="134" name="Straight Connector 133">
              <a:extLst>
                <a:ext uri="{FF2B5EF4-FFF2-40B4-BE49-F238E27FC236}">
                  <a16:creationId xmlns:a16="http://schemas.microsoft.com/office/drawing/2014/main" id="{D5B9A210-9FA1-4852-8D6B-EF3E20838799}"/>
                </a:ext>
              </a:extLst>
            </p:cNvPr>
            <p:cNvCxnSpPr>
              <a:stCxn id="197" idx="4"/>
              <a:endCxn id="165" idx="0"/>
            </p:cNvCxnSpPr>
            <p:nvPr/>
          </p:nvCxnSpPr>
          <p:spPr>
            <a:xfrm>
              <a:off x="10321933" y="1782296"/>
              <a:ext cx="0"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CC89004-0BFD-4FA9-A511-073BC7AD1589}"/>
                </a:ext>
              </a:extLst>
            </p:cNvPr>
            <p:cNvCxnSpPr>
              <a:cxnSpLocks/>
              <a:stCxn id="163" idx="2"/>
              <a:endCxn id="165" idx="6"/>
            </p:cNvCxnSpPr>
            <p:nvPr/>
          </p:nvCxnSpPr>
          <p:spPr>
            <a:xfrm flipH="1">
              <a:off x="10447749" y="1984390"/>
              <a:ext cx="89939" cy="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BD95622-EB09-4530-A3F7-4BC5F2E0A0D4}"/>
                </a:ext>
              </a:extLst>
            </p:cNvPr>
            <p:cNvCxnSpPr>
              <a:cxnSpLocks/>
              <a:stCxn id="167" idx="2"/>
              <a:endCxn id="197" idx="6"/>
            </p:cNvCxnSpPr>
            <p:nvPr/>
          </p:nvCxnSpPr>
          <p:spPr>
            <a:xfrm flipH="1">
              <a:off x="10447749" y="1656991"/>
              <a:ext cx="8984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7ABD7B0-B219-4E65-9743-756B94120FA7}"/>
                </a:ext>
              </a:extLst>
            </p:cNvPr>
            <p:cNvCxnSpPr>
              <a:cxnSpLocks/>
              <a:stCxn id="167" idx="4"/>
              <a:endCxn id="163" idx="0"/>
            </p:cNvCxnSpPr>
            <p:nvPr/>
          </p:nvCxnSpPr>
          <p:spPr>
            <a:xfrm flipH="1">
              <a:off x="10662991" y="1782296"/>
              <a:ext cx="423"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322B0D21-B308-4398-9759-A624901A2903}"/>
                </a:ext>
              </a:extLst>
            </p:cNvPr>
            <p:cNvGrpSpPr/>
            <p:nvPr/>
          </p:nvGrpSpPr>
          <p:grpSpPr>
            <a:xfrm>
              <a:off x="10537688" y="1859088"/>
              <a:ext cx="250605" cy="250604"/>
              <a:chOff x="5857874" y="904874"/>
              <a:chExt cx="1641475" cy="1641475"/>
            </a:xfrm>
          </p:grpSpPr>
          <p:sp>
            <p:nvSpPr>
              <p:cNvPr id="146" name="Freeform 1060">
                <a:extLst>
                  <a:ext uri="{FF2B5EF4-FFF2-40B4-BE49-F238E27FC236}">
                    <a16:creationId xmlns:a16="http://schemas.microsoft.com/office/drawing/2014/main" id="{B87B6948-9AB5-4648-8E17-83E85CF81134}"/>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1">
                <a:extLst>
                  <a:ext uri="{FF2B5EF4-FFF2-40B4-BE49-F238E27FC236}">
                    <a16:creationId xmlns:a16="http://schemas.microsoft.com/office/drawing/2014/main" id="{0443ADA4-624A-4656-A6FD-B93FDB243AF4}"/>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2">
                <a:extLst>
                  <a:ext uri="{FF2B5EF4-FFF2-40B4-BE49-F238E27FC236}">
                    <a16:creationId xmlns:a16="http://schemas.microsoft.com/office/drawing/2014/main" id="{7496E42C-A72D-441A-9692-8557E780CE68}"/>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Freeform 1063">
                <a:extLst>
                  <a:ext uri="{FF2B5EF4-FFF2-40B4-BE49-F238E27FC236}">
                    <a16:creationId xmlns:a16="http://schemas.microsoft.com/office/drawing/2014/main" id="{C4576B75-9E43-42AE-9178-D0B3127C7530}"/>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Freeform 1064">
                <a:extLst>
                  <a:ext uri="{FF2B5EF4-FFF2-40B4-BE49-F238E27FC236}">
                    <a16:creationId xmlns:a16="http://schemas.microsoft.com/office/drawing/2014/main" id="{040A6F49-1457-4EA8-A404-0DD122CC0071}"/>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Freeform 1065">
                <a:extLst>
                  <a:ext uri="{FF2B5EF4-FFF2-40B4-BE49-F238E27FC236}">
                    <a16:creationId xmlns:a16="http://schemas.microsoft.com/office/drawing/2014/main" id="{58EED611-6D7C-4F03-8916-EE7AF342FC91}"/>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066">
                <a:extLst>
                  <a:ext uri="{FF2B5EF4-FFF2-40B4-BE49-F238E27FC236}">
                    <a16:creationId xmlns:a16="http://schemas.microsoft.com/office/drawing/2014/main" id="{7A73B27C-ED2E-4D4A-8A52-67A4080EB061}"/>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Freeform 22">
                <a:extLst>
                  <a:ext uri="{FF2B5EF4-FFF2-40B4-BE49-F238E27FC236}">
                    <a16:creationId xmlns:a16="http://schemas.microsoft.com/office/drawing/2014/main" id="{D751C042-10DD-416A-A1A2-8702BBD4CD60}"/>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23">
                <a:extLst>
                  <a:ext uri="{FF2B5EF4-FFF2-40B4-BE49-F238E27FC236}">
                    <a16:creationId xmlns:a16="http://schemas.microsoft.com/office/drawing/2014/main" id="{90A2A2A8-8CC1-404F-A33A-9519BC5B3666}"/>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7438556B-9F9E-4F83-8A1E-C3CF14026854}"/>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0" name="Freeform 29">
                <a:extLst>
                  <a:ext uri="{FF2B5EF4-FFF2-40B4-BE49-F238E27FC236}">
                    <a16:creationId xmlns:a16="http://schemas.microsoft.com/office/drawing/2014/main" id="{A4FB32D2-0A13-4A6E-9AED-32BF7C0404AC}"/>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33">
                <a:extLst>
                  <a:ext uri="{FF2B5EF4-FFF2-40B4-BE49-F238E27FC236}">
                    <a16:creationId xmlns:a16="http://schemas.microsoft.com/office/drawing/2014/main" id="{062D4531-EA61-4754-B24F-6E8E2E62E6F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34">
                <a:extLst>
                  <a:ext uri="{FF2B5EF4-FFF2-40B4-BE49-F238E27FC236}">
                    <a16:creationId xmlns:a16="http://schemas.microsoft.com/office/drawing/2014/main" id="{1F6A9C0C-9711-43E2-A92E-491CD6779ABD}"/>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40A39270-D196-42A6-9DA0-E481DFFB12EB}"/>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78" name="Freeform 3">
            <a:extLst>
              <a:ext uri="{FF2B5EF4-FFF2-40B4-BE49-F238E27FC236}">
                <a16:creationId xmlns:a16="http://schemas.microsoft.com/office/drawing/2014/main" id="{32279914-9E31-46A8-97EE-9A5264B72FE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9" name="Freeform 177">
            <a:extLst>
              <a:ext uri="{FF2B5EF4-FFF2-40B4-BE49-F238E27FC236}">
                <a16:creationId xmlns:a16="http://schemas.microsoft.com/office/drawing/2014/main" id="{12BF0B6F-1A2E-41F8-9D92-8491F1F1C07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Freeform 179">
            <a:extLst>
              <a:ext uri="{FF2B5EF4-FFF2-40B4-BE49-F238E27FC236}">
                <a16:creationId xmlns:a16="http://schemas.microsoft.com/office/drawing/2014/main" id="{04670BE2-8A3B-4C21-BDD4-7822292593D8}"/>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1" name="Freeform 181">
            <a:extLst>
              <a:ext uri="{FF2B5EF4-FFF2-40B4-BE49-F238E27FC236}">
                <a16:creationId xmlns:a16="http://schemas.microsoft.com/office/drawing/2014/main" id="{818A4BCC-4A9A-4E73-9200-B0FFF9B0A347}"/>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Freeform 183">
            <a:extLst>
              <a:ext uri="{FF2B5EF4-FFF2-40B4-BE49-F238E27FC236}">
                <a16:creationId xmlns:a16="http://schemas.microsoft.com/office/drawing/2014/main" id="{418C2834-70B6-4791-B82A-56D3582319EA}"/>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Title 1">
            <a:extLst>
              <a:ext uri="{FF2B5EF4-FFF2-40B4-BE49-F238E27FC236}">
                <a16:creationId xmlns:a16="http://schemas.microsoft.com/office/drawing/2014/main" id="{D6C99D2F-EA62-401C-99F7-4338C22F0CC7}"/>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r>
              <a:rPr lang="en-IN" spc="-150" dirty="0"/>
              <a:t>Health and life sciences use cases</a:t>
            </a:r>
          </a:p>
        </p:txBody>
      </p:sp>
    </p:spTree>
    <p:extLst>
      <p:ext uri="{BB962C8B-B14F-4D97-AF65-F5344CB8AC3E}">
        <p14:creationId xmlns:p14="http://schemas.microsoft.com/office/powerpoint/2010/main" val="167108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fade">
                                      <p:cBhvr>
                                        <p:cTn id="7" dur="500"/>
                                        <p:tgtEl>
                                          <p:spTgt spid="138"/>
                                        </p:tgtEl>
                                      </p:cBhvr>
                                    </p:animEffect>
                                  </p:childTnLst>
                                </p:cTn>
                              </p:par>
                              <p:par>
                                <p:cTn id="8" presetID="10" presetClass="entr" presetSubtype="0" fill="hold"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500"/>
                                        <p:tgtEl>
                                          <p:spTgt spid="1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3"/>
                                        </p:tgtEl>
                                        <p:attrNameLst>
                                          <p:attrName>style.visibility</p:attrName>
                                        </p:attrNameLst>
                                      </p:cBhvr>
                                      <p:to>
                                        <p:strVal val="visible"/>
                                      </p:to>
                                    </p:set>
                                    <p:animEffect transition="in" filter="fade">
                                      <p:cBhvr>
                                        <p:cTn id="13" dur="500"/>
                                        <p:tgtEl>
                                          <p:spTgt spid="1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6">
                                            <p:txEl>
                                              <p:pRg st="0" end="0"/>
                                            </p:txEl>
                                          </p:spTgt>
                                        </p:tgtEl>
                                        <p:attrNameLst>
                                          <p:attrName>style.visibility</p:attrName>
                                        </p:attrNameLst>
                                      </p:cBhvr>
                                      <p:to>
                                        <p:strVal val="visible"/>
                                      </p:to>
                                    </p:set>
                                    <p:animEffect transition="in" filter="fade">
                                      <p:cBhvr>
                                        <p:cTn id="19" dur="500"/>
                                        <p:tgtEl>
                                          <p:spTgt spid="56">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65"/>
                                        </p:tgtEl>
                                        <p:attrNameLst>
                                          <p:attrName>style.visibility</p:attrName>
                                        </p:attrNameLst>
                                      </p:cBhvr>
                                      <p:to>
                                        <p:strVal val="visible"/>
                                      </p:to>
                                    </p:set>
                                    <p:animEffect transition="in" filter="fade">
                                      <p:cBhvr>
                                        <p:cTn id="22" dur="500"/>
                                        <p:tgtEl>
                                          <p:spTgt spid="76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28"/>
                                        </p:tgtEl>
                                        <p:attrNameLst>
                                          <p:attrName>style.visibility</p:attrName>
                                        </p:attrNameLst>
                                      </p:cBhvr>
                                      <p:to>
                                        <p:strVal val="visible"/>
                                      </p:to>
                                    </p:set>
                                    <p:animEffect transition="in" filter="fade">
                                      <p:cBhvr>
                                        <p:cTn id="25" dur="500"/>
                                        <p:tgtEl>
                                          <p:spTgt spid="72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3">
                                            <p:txEl>
                                              <p:pRg st="0" end="0"/>
                                            </p:txEl>
                                          </p:spTgt>
                                        </p:tgtEl>
                                        <p:attrNameLst>
                                          <p:attrName>style.visibility</p:attrName>
                                        </p:attrNameLst>
                                      </p:cBhvr>
                                      <p:to>
                                        <p:strVal val="visible"/>
                                      </p:to>
                                    </p:set>
                                    <p:animEffect transition="in" filter="fade">
                                      <p:cBhvr>
                                        <p:cTn id="28" dur="500"/>
                                        <p:tgtEl>
                                          <p:spTgt spid="93">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fade">
                                      <p:cBhvr>
                                        <p:cTn id="31" dur="500"/>
                                        <p:tgtEl>
                                          <p:spTgt spid="10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38"/>
                                        </p:tgtEl>
                                        <p:attrNameLst>
                                          <p:attrName>style.opacity</p:attrName>
                                        </p:attrNameLst>
                                      </p:cBhvr>
                                      <p:to>
                                        <p:strVal val="0.1"/>
                                      </p:to>
                                    </p:set>
                                    <p:animEffect filter="image" prLst="opacity: 0.1">
                                      <p:cBhvr rctx="IE">
                                        <p:cTn id="36" dur="indefinite"/>
                                        <p:tgtEl>
                                          <p:spTgt spid="138"/>
                                        </p:tgtEl>
                                      </p:cBhvr>
                                    </p:animEffect>
                                  </p:childTnLst>
                                </p:cTn>
                              </p:par>
                              <p:par>
                                <p:cTn id="37" presetID="9" presetClass="emph" presetSubtype="0" nodeType="withEffect">
                                  <p:stCondLst>
                                    <p:cond delay="0"/>
                                  </p:stCondLst>
                                  <p:childTnLst>
                                    <p:set>
                                      <p:cBhvr>
                                        <p:cTn id="38" dur="indefinite"/>
                                        <p:tgtEl>
                                          <p:spTgt spid="143"/>
                                        </p:tgtEl>
                                        <p:attrNameLst>
                                          <p:attrName>style.opacity</p:attrName>
                                        </p:attrNameLst>
                                      </p:cBhvr>
                                      <p:to>
                                        <p:strVal val="0.1"/>
                                      </p:to>
                                    </p:set>
                                    <p:animEffect filter="image" prLst="opacity: 0.1">
                                      <p:cBhvr rctx="IE">
                                        <p:cTn id="39" dur="indefinite"/>
                                        <p:tgtEl>
                                          <p:spTgt spid="143"/>
                                        </p:tgtEl>
                                      </p:cBhvr>
                                    </p:animEffect>
                                  </p:childTnLst>
                                </p:cTn>
                              </p:par>
                              <p:par>
                                <p:cTn id="40" presetID="9" presetClass="emph" presetSubtype="0" grpId="1" nodeType="withEffect">
                                  <p:stCondLst>
                                    <p:cond delay="0"/>
                                  </p:stCondLst>
                                  <p:childTnLst>
                                    <p:set>
                                      <p:cBhvr>
                                        <p:cTn id="41" dur="indefinite"/>
                                        <p:tgtEl>
                                          <p:spTgt spid="173"/>
                                        </p:tgtEl>
                                        <p:attrNameLst>
                                          <p:attrName>style.opacity</p:attrName>
                                        </p:attrNameLst>
                                      </p:cBhvr>
                                      <p:to>
                                        <p:strVal val="0.1"/>
                                      </p:to>
                                    </p:set>
                                    <p:animEffect filter="image" prLst="opacity: 0.1">
                                      <p:cBhvr rctx="IE">
                                        <p:cTn id="42" dur="indefinite"/>
                                        <p:tgtEl>
                                          <p:spTgt spid="173"/>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56">
                                            <p:txEl>
                                              <p:pRg st="0" end="0"/>
                                            </p:txEl>
                                          </p:spTgt>
                                        </p:tgtEl>
                                        <p:attrNameLst>
                                          <p:attrName>style.opacity</p:attrName>
                                        </p:attrNameLst>
                                      </p:cBhvr>
                                      <p:to>
                                        <p:strVal val="0.1"/>
                                      </p:to>
                                    </p:set>
                                    <p:animEffect filter="image" prLst="opacity: 0.1">
                                      <p:cBhvr rctx="IE">
                                        <p:cTn id="48" dur="indefinite"/>
                                        <p:tgtEl>
                                          <p:spTgt spid="56">
                                            <p:txEl>
                                              <p:pRg st="0" end="0"/>
                                            </p:txEl>
                                          </p:spTgt>
                                        </p:tgtEl>
                                      </p:cBhvr>
                                    </p:animEffect>
                                  </p:childTnLst>
                                </p:cTn>
                              </p:par>
                              <p:par>
                                <p:cTn id="49" presetID="9" presetClass="emph" presetSubtype="0" grpId="1" nodeType="withEffect">
                                  <p:stCondLst>
                                    <p:cond delay="0"/>
                                  </p:stCondLst>
                                  <p:childTnLst>
                                    <p:set>
                                      <p:cBhvr>
                                        <p:cTn id="50" dur="indefinite"/>
                                        <p:tgtEl>
                                          <p:spTgt spid="765"/>
                                        </p:tgtEl>
                                        <p:attrNameLst>
                                          <p:attrName>style.opacity</p:attrName>
                                        </p:attrNameLst>
                                      </p:cBhvr>
                                      <p:to>
                                        <p:strVal val="0.1"/>
                                      </p:to>
                                    </p:set>
                                    <p:animEffect filter="image" prLst="opacity: 0.1">
                                      <p:cBhvr rctx="IE">
                                        <p:cTn id="51" dur="indefinite"/>
                                        <p:tgtEl>
                                          <p:spTgt spid="765"/>
                                        </p:tgtEl>
                                      </p:cBhvr>
                                    </p:animEffect>
                                  </p:childTnLst>
                                </p:cTn>
                              </p:par>
                              <p:par>
                                <p:cTn id="52" presetID="9" presetClass="emph" presetSubtype="0" grpId="1" nodeType="withEffect">
                                  <p:stCondLst>
                                    <p:cond delay="0"/>
                                  </p:stCondLst>
                                  <p:childTnLst>
                                    <p:set>
                                      <p:cBhvr>
                                        <p:cTn id="53" dur="indefinite"/>
                                        <p:tgtEl>
                                          <p:spTgt spid="728"/>
                                        </p:tgtEl>
                                        <p:attrNameLst>
                                          <p:attrName>style.opacity</p:attrName>
                                        </p:attrNameLst>
                                      </p:cBhvr>
                                      <p:to>
                                        <p:strVal val="0.1"/>
                                      </p:to>
                                    </p:set>
                                    <p:animEffect filter="image" prLst="opacity: 0.1">
                                      <p:cBhvr rctx="IE">
                                        <p:cTn id="54" dur="indefinite"/>
                                        <p:tgtEl>
                                          <p:spTgt spid="728"/>
                                        </p:tgtEl>
                                      </p:cBhvr>
                                    </p:animEffect>
                                  </p:childTnLst>
                                </p:cTn>
                              </p:par>
                              <p:par>
                                <p:cTn id="55" presetID="9" presetClass="emph" presetSubtype="0" grpId="1" nodeType="withEffect">
                                  <p:stCondLst>
                                    <p:cond delay="0"/>
                                  </p:stCondLst>
                                  <p:childTnLst>
                                    <p:set>
                                      <p:cBhvr>
                                        <p:cTn id="56" dur="indefinite"/>
                                        <p:tgtEl>
                                          <p:spTgt spid="93">
                                            <p:txEl>
                                              <p:pRg st="0" end="0"/>
                                            </p:txEl>
                                          </p:spTgt>
                                        </p:tgtEl>
                                        <p:attrNameLst>
                                          <p:attrName>style.opacity</p:attrName>
                                        </p:attrNameLst>
                                      </p:cBhvr>
                                      <p:to>
                                        <p:strVal val="0.1"/>
                                      </p:to>
                                    </p:set>
                                    <p:animEffect filter="image" prLst="opacity: 0.1">
                                      <p:cBhvr rctx="IE">
                                        <p:cTn id="57" dur="indefinite"/>
                                        <p:tgtEl>
                                          <p:spTgt spid="93">
                                            <p:txEl>
                                              <p:pRg st="0" end="0"/>
                                            </p:txEl>
                                          </p:spTgt>
                                        </p:tgtEl>
                                      </p:cBhvr>
                                    </p:animEffect>
                                  </p:childTnLst>
                                </p:cTn>
                              </p:par>
                              <p:par>
                                <p:cTn id="58" presetID="9" presetClass="emph" presetSubtype="0" nodeType="withEffect">
                                  <p:stCondLst>
                                    <p:cond delay="0"/>
                                  </p:stCondLst>
                                  <p:childTnLst>
                                    <p:set>
                                      <p:cBhvr>
                                        <p:cTn id="59" dur="indefinite"/>
                                        <p:tgtEl>
                                          <p:spTgt spid="102"/>
                                        </p:tgtEl>
                                        <p:attrNameLst>
                                          <p:attrName>style.opacity</p:attrName>
                                        </p:attrNameLst>
                                      </p:cBhvr>
                                      <p:to>
                                        <p:strVal val="0.1"/>
                                      </p:to>
                                    </p:set>
                                    <p:animEffect filter="image" prLst="opacity: 0.1">
                                      <p:cBhvr rctx="IE">
                                        <p:cTn id="60" dur="indefinite"/>
                                        <p:tgtEl>
                                          <p:spTgt spid="10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39"/>
                                        </p:tgtEl>
                                        <p:attrNameLst>
                                          <p:attrName>style.visibility</p:attrName>
                                        </p:attrNameLst>
                                      </p:cBhvr>
                                      <p:to>
                                        <p:strVal val="visible"/>
                                      </p:to>
                                    </p:set>
                                    <p:animEffect transition="in" filter="fade">
                                      <p:cBhvr>
                                        <p:cTn id="63" dur="500"/>
                                        <p:tgtEl>
                                          <p:spTgt spid="139"/>
                                        </p:tgtEl>
                                      </p:cBhvr>
                                    </p:animEffect>
                                  </p:childTnLst>
                                </p:cTn>
                              </p:par>
                              <p:par>
                                <p:cTn id="64" presetID="10" presetClass="entr" presetSubtype="0" fill="hold" nodeType="withEffect">
                                  <p:stCondLst>
                                    <p:cond delay="0"/>
                                  </p:stCondLst>
                                  <p:childTnLst>
                                    <p:set>
                                      <p:cBhvr>
                                        <p:cTn id="65" dur="1" fill="hold">
                                          <p:stCondLst>
                                            <p:cond delay="0"/>
                                          </p:stCondLst>
                                        </p:cTn>
                                        <p:tgtEl>
                                          <p:spTgt spid="144"/>
                                        </p:tgtEl>
                                        <p:attrNameLst>
                                          <p:attrName>style.visibility</p:attrName>
                                        </p:attrNameLst>
                                      </p:cBhvr>
                                      <p:to>
                                        <p:strVal val="visible"/>
                                      </p:to>
                                    </p:set>
                                    <p:animEffect transition="in" filter="fade">
                                      <p:cBhvr>
                                        <p:cTn id="66" dur="500"/>
                                        <p:tgtEl>
                                          <p:spTgt spid="14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74"/>
                                        </p:tgtEl>
                                        <p:attrNameLst>
                                          <p:attrName>style.visibility</p:attrName>
                                        </p:attrNameLst>
                                      </p:cBhvr>
                                      <p:to>
                                        <p:strVal val="visible"/>
                                      </p:to>
                                    </p:set>
                                    <p:animEffect transition="in" filter="fade">
                                      <p:cBhvr>
                                        <p:cTn id="69" dur="500"/>
                                        <p:tgtEl>
                                          <p:spTgt spid="17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2">
                                            <p:txEl>
                                              <p:pRg st="0" end="0"/>
                                            </p:txEl>
                                          </p:spTgt>
                                        </p:tgtEl>
                                        <p:attrNameLst>
                                          <p:attrName>style.visibility</p:attrName>
                                        </p:attrNameLst>
                                      </p:cBhvr>
                                      <p:to>
                                        <p:strVal val="visible"/>
                                      </p:to>
                                    </p:set>
                                    <p:animEffect transition="in" filter="fade">
                                      <p:cBhvr>
                                        <p:cTn id="72" dur="500"/>
                                        <p:tgtEl>
                                          <p:spTgt spid="12">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7">
                                            <p:txEl>
                                              <p:pRg st="0" end="0"/>
                                            </p:txEl>
                                          </p:spTgt>
                                        </p:tgtEl>
                                        <p:attrNameLst>
                                          <p:attrName>style.visibility</p:attrName>
                                        </p:attrNameLst>
                                      </p:cBhvr>
                                      <p:to>
                                        <p:strVal val="visible"/>
                                      </p:to>
                                    </p:set>
                                    <p:animEffect transition="in" filter="fade">
                                      <p:cBhvr>
                                        <p:cTn id="75" dur="500"/>
                                        <p:tgtEl>
                                          <p:spTgt spid="57">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66"/>
                                        </p:tgtEl>
                                        <p:attrNameLst>
                                          <p:attrName>style.visibility</p:attrName>
                                        </p:attrNameLst>
                                      </p:cBhvr>
                                      <p:to>
                                        <p:strVal val="visible"/>
                                      </p:to>
                                    </p:set>
                                    <p:animEffect transition="in" filter="fade">
                                      <p:cBhvr>
                                        <p:cTn id="78" dur="500"/>
                                        <p:tgtEl>
                                          <p:spTgt spid="76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29"/>
                                        </p:tgtEl>
                                        <p:attrNameLst>
                                          <p:attrName>style.visibility</p:attrName>
                                        </p:attrNameLst>
                                      </p:cBhvr>
                                      <p:to>
                                        <p:strVal val="visible"/>
                                      </p:to>
                                    </p:set>
                                    <p:animEffect transition="in" filter="fade">
                                      <p:cBhvr>
                                        <p:cTn id="81" dur="500"/>
                                        <p:tgtEl>
                                          <p:spTgt spid="72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94">
                                            <p:txEl>
                                              <p:pRg st="0" end="0"/>
                                            </p:txEl>
                                          </p:spTgt>
                                        </p:tgtEl>
                                        <p:attrNameLst>
                                          <p:attrName>style.visibility</p:attrName>
                                        </p:attrNameLst>
                                      </p:cBhvr>
                                      <p:to>
                                        <p:strVal val="visible"/>
                                      </p:to>
                                    </p:set>
                                    <p:animEffect transition="in" filter="fade">
                                      <p:cBhvr>
                                        <p:cTn id="84" dur="500"/>
                                        <p:tgtEl>
                                          <p:spTgt spid="94">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95"/>
                                        </p:tgtEl>
                                        <p:attrNameLst>
                                          <p:attrName>style.visibility</p:attrName>
                                        </p:attrNameLst>
                                      </p:cBhvr>
                                      <p:to>
                                        <p:strVal val="visible"/>
                                      </p:to>
                                    </p:set>
                                    <p:animEffect transition="in" filter="fade">
                                      <p:cBhvr>
                                        <p:cTn id="87" dur="500"/>
                                        <p:tgtEl>
                                          <p:spTgt spid="95"/>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39"/>
                                        </p:tgtEl>
                                        <p:attrNameLst>
                                          <p:attrName>style.opacity</p:attrName>
                                        </p:attrNameLst>
                                      </p:cBhvr>
                                      <p:to>
                                        <p:strVal val="0.1"/>
                                      </p:to>
                                    </p:set>
                                    <p:animEffect filter="image" prLst="opacity: 0.1">
                                      <p:cBhvr rctx="IE">
                                        <p:cTn id="92" dur="indefinite"/>
                                        <p:tgtEl>
                                          <p:spTgt spid="139"/>
                                        </p:tgtEl>
                                      </p:cBhvr>
                                    </p:animEffect>
                                  </p:childTnLst>
                                </p:cTn>
                              </p:par>
                              <p:par>
                                <p:cTn id="93" presetID="9" presetClass="emph" presetSubtype="0" nodeType="withEffect">
                                  <p:stCondLst>
                                    <p:cond delay="0"/>
                                  </p:stCondLst>
                                  <p:childTnLst>
                                    <p:set>
                                      <p:cBhvr>
                                        <p:cTn id="94" dur="indefinite"/>
                                        <p:tgtEl>
                                          <p:spTgt spid="144"/>
                                        </p:tgtEl>
                                        <p:attrNameLst>
                                          <p:attrName>style.opacity</p:attrName>
                                        </p:attrNameLst>
                                      </p:cBhvr>
                                      <p:to>
                                        <p:strVal val="0.1"/>
                                      </p:to>
                                    </p:set>
                                    <p:animEffect filter="image" prLst="opacity: 0.1">
                                      <p:cBhvr rctx="IE">
                                        <p:cTn id="95" dur="indefinite"/>
                                        <p:tgtEl>
                                          <p:spTgt spid="144"/>
                                        </p:tgtEl>
                                      </p:cBhvr>
                                    </p:animEffect>
                                  </p:childTnLst>
                                </p:cTn>
                              </p:par>
                              <p:par>
                                <p:cTn id="96" presetID="9" presetClass="emph" presetSubtype="0" grpId="1" nodeType="withEffect">
                                  <p:stCondLst>
                                    <p:cond delay="0"/>
                                  </p:stCondLst>
                                  <p:childTnLst>
                                    <p:set>
                                      <p:cBhvr>
                                        <p:cTn id="97" dur="indefinite"/>
                                        <p:tgtEl>
                                          <p:spTgt spid="174"/>
                                        </p:tgtEl>
                                        <p:attrNameLst>
                                          <p:attrName>style.opacity</p:attrName>
                                        </p:attrNameLst>
                                      </p:cBhvr>
                                      <p:to>
                                        <p:strVal val="0.1"/>
                                      </p:to>
                                    </p:set>
                                    <p:animEffect filter="image" prLst="opacity: 0.1">
                                      <p:cBhvr rctx="IE">
                                        <p:cTn id="98" dur="indefinite"/>
                                        <p:tgtEl>
                                          <p:spTgt spid="174"/>
                                        </p:tgtEl>
                                      </p:cBhvr>
                                    </p:animEffect>
                                  </p:childTnLst>
                                </p:cTn>
                              </p:par>
                              <p:par>
                                <p:cTn id="99" presetID="9" presetClass="emph" presetSubtype="0" grpId="1" nodeType="withEffect">
                                  <p:stCondLst>
                                    <p:cond delay="0"/>
                                  </p:stCondLst>
                                  <p:childTnLst>
                                    <p:set>
                                      <p:cBhvr>
                                        <p:cTn id="100" dur="indefinite"/>
                                        <p:tgtEl>
                                          <p:spTgt spid="12">
                                            <p:txEl>
                                              <p:pRg st="0" end="0"/>
                                            </p:txEl>
                                          </p:spTgt>
                                        </p:tgtEl>
                                        <p:attrNameLst>
                                          <p:attrName>style.opacity</p:attrName>
                                        </p:attrNameLst>
                                      </p:cBhvr>
                                      <p:to>
                                        <p:strVal val="0.1"/>
                                      </p:to>
                                    </p:set>
                                    <p:animEffect filter="image" prLst="opacity: 0.1">
                                      <p:cBhvr rctx="IE">
                                        <p:cTn id="101" dur="indefinite"/>
                                        <p:tgtEl>
                                          <p:spTgt spid="12">
                                            <p:txEl>
                                              <p:pRg st="0" end="0"/>
                                            </p:txEl>
                                          </p:spTgt>
                                        </p:tgtEl>
                                      </p:cBhvr>
                                    </p:animEffect>
                                  </p:childTnLst>
                                </p:cTn>
                              </p:par>
                              <p:par>
                                <p:cTn id="102" presetID="9" presetClass="emph" presetSubtype="0" grpId="1" nodeType="withEffect">
                                  <p:stCondLst>
                                    <p:cond delay="0"/>
                                  </p:stCondLst>
                                  <p:childTnLst>
                                    <p:set>
                                      <p:cBhvr>
                                        <p:cTn id="103" dur="indefinite"/>
                                        <p:tgtEl>
                                          <p:spTgt spid="57">
                                            <p:txEl>
                                              <p:pRg st="0" end="0"/>
                                            </p:txEl>
                                          </p:spTgt>
                                        </p:tgtEl>
                                        <p:attrNameLst>
                                          <p:attrName>style.opacity</p:attrName>
                                        </p:attrNameLst>
                                      </p:cBhvr>
                                      <p:to>
                                        <p:strVal val="0.1"/>
                                      </p:to>
                                    </p:set>
                                    <p:animEffect filter="image" prLst="opacity: 0.1">
                                      <p:cBhvr rctx="IE">
                                        <p:cTn id="104" dur="indefinite"/>
                                        <p:tgtEl>
                                          <p:spTgt spid="57">
                                            <p:txEl>
                                              <p:pRg st="0" end="0"/>
                                            </p:txEl>
                                          </p:spTgt>
                                        </p:tgtEl>
                                      </p:cBhvr>
                                    </p:animEffect>
                                  </p:childTnLst>
                                </p:cTn>
                              </p:par>
                              <p:par>
                                <p:cTn id="105" presetID="9" presetClass="emph" presetSubtype="0" grpId="1" nodeType="withEffect">
                                  <p:stCondLst>
                                    <p:cond delay="0"/>
                                  </p:stCondLst>
                                  <p:childTnLst>
                                    <p:set>
                                      <p:cBhvr>
                                        <p:cTn id="106" dur="indefinite"/>
                                        <p:tgtEl>
                                          <p:spTgt spid="766"/>
                                        </p:tgtEl>
                                        <p:attrNameLst>
                                          <p:attrName>style.opacity</p:attrName>
                                        </p:attrNameLst>
                                      </p:cBhvr>
                                      <p:to>
                                        <p:strVal val="0.1"/>
                                      </p:to>
                                    </p:set>
                                    <p:animEffect filter="image" prLst="opacity: 0.1">
                                      <p:cBhvr rctx="IE">
                                        <p:cTn id="107" dur="indefinite"/>
                                        <p:tgtEl>
                                          <p:spTgt spid="766"/>
                                        </p:tgtEl>
                                      </p:cBhvr>
                                    </p:animEffect>
                                  </p:childTnLst>
                                </p:cTn>
                              </p:par>
                              <p:par>
                                <p:cTn id="108" presetID="9" presetClass="emph" presetSubtype="0" grpId="1" nodeType="withEffect">
                                  <p:stCondLst>
                                    <p:cond delay="0"/>
                                  </p:stCondLst>
                                  <p:childTnLst>
                                    <p:set>
                                      <p:cBhvr>
                                        <p:cTn id="109" dur="indefinite"/>
                                        <p:tgtEl>
                                          <p:spTgt spid="729"/>
                                        </p:tgtEl>
                                        <p:attrNameLst>
                                          <p:attrName>style.opacity</p:attrName>
                                        </p:attrNameLst>
                                      </p:cBhvr>
                                      <p:to>
                                        <p:strVal val="0.1"/>
                                      </p:to>
                                    </p:set>
                                    <p:animEffect filter="image" prLst="opacity: 0.1">
                                      <p:cBhvr rctx="IE">
                                        <p:cTn id="110" dur="indefinite"/>
                                        <p:tgtEl>
                                          <p:spTgt spid="729"/>
                                        </p:tgtEl>
                                      </p:cBhvr>
                                    </p:animEffect>
                                  </p:childTnLst>
                                </p:cTn>
                              </p:par>
                              <p:par>
                                <p:cTn id="111" presetID="9" presetClass="emph" presetSubtype="0" grpId="1" nodeType="withEffect">
                                  <p:stCondLst>
                                    <p:cond delay="0"/>
                                  </p:stCondLst>
                                  <p:childTnLst>
                                    <p:set>
                                      <p:cBhvr>
                                        <p:cTn id="112" dur="indefinite"/>
                                        <p:tgtEl>
                                          <p:spTgt spid="94">
                                            <p:txEl>
                                              <p:pRg st="0" end="0"/>
                                            </p:txEl>
                                          </p:spTgt>
                                        </p:tgtEl>
                                        <p:attrNameLst>
                                          <p:attrName>style.opacity</p:attrName>
                                        </p:attrNameLst>
                                      </p:cBhvr>
                                      <p:to>
                                        <p:strVal val="0.1"/>
                                      </p:to>
                                    </p:set>
                                    <p:animEffect filter="image" prLst="opacity: 0.1">
                                      <p:cBhvr rctx="IE">
                                        <p:cTn id="113" dur="indefinite"/>
                                        <p:tgtEl>
                                          <p:spTgt spid="94">
                                            <p:txEl>
                                              <p:pRg st="0" end="0"/>
                                            </p:txEl>
                                          </p:spTgt>
                                        </p:tgtEl>
                                      </p:cBhvr>
                                    </p:animEffect>
                                  </p:childTnLst>
                                </p:cTn>
                              </p:par>
                              <p:par>
                                <p:cTn id="114" presetID="9" presetClass="emph" presetSubtype="0" nodeType="withEffect">
                                  <p:stCondLst>
                                    <p:cond delay="0"/>
                                  </p:stCondLst>
                                  <p:childTnLst>
                                    <p:set>
                                      <p:cBhvr>
                                        <p:cTn id="115" dur="indefinite"/>
                                        <p:tgtEl>
                                          <p:spTgt spid="95"/>
                                        </p:tgtEl>
                                        <p:attrNameLst>
                                          <p:attrName>style.opacity</p:attrName>
                                        </p:attrNameLst>
                                      </p:cBhvr>
                                      <p:to>
                                        <p:strVal val="0.1"/>
                                      </p:to>
                                    </p:set>
                                    <p:animEffect filter="image" prLst="opacity: 0.1">
                                      <p:cBhvr rctx="IE">
                                        <p:cTn id="116" dur="indefinite"/>
                                        <p:tgtEl>
                                          <p:spTgt spid="95"/>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40"/>
                                        </p:tgtEl>
                                        <p:attrNameLst>
                                          <p:attrName>style.visibility</p:attrName>
                                        </p:attrNameLst>
                                      </p:cBhvr>
                                      <p:to>
                                        <p:strVal val="visible"/>
                                      </p:to>
                                    </p:set>
                                    <p:animEffect transition="in" filter="fade">
                                      <p:cBhvr>
                                        <p:cTn id="119" dur="500"/>
                                        <p:tgtEl>
                                          <p:spTgt spid="140"/>
                                        </p:tgtEl>
                                      </p:cBhvr>
                                    </p:animEffect>
                                  </p:childTnLst>
                                </p:cTn>
                              </p:par>
                              <p:par>
                                <p:cTn id="120" presetID="10" presetClass="entr" presetSubtype="0" fill="hold" nodeType="withEffect">
                                  <p:stCondLst>
                                    <p:cond delay="0"/>
                                  </p:stCondLst>
                                  <p:childTnLst>
                                    <p:set>
                                      <p:cBhvr>
                                        <p:cTn id="121" dur="1" fill="hold">
                                          <p:stCondLst>
                                            <p:cond delay="0"/>
                                          </p:stCondLst>
                                        </p:cTn>
                                        <p:tgtEl>
                                          <p:spTgt spid="148"/>
                                        </p:tgtEl>
                                        <p:attrNameLst>
                                          <p:attrName>style.visibility</p:attrName>
                                        </p:attrNameLst>
                                      </p:cBhvr>
                                      <p:to>
                                        <p:strVal val="visible"/>
                                      </p:to>
                                    </p:set>
                                    <p:animEffect transition="in" filter="fade">
                                      <p:cBhvr>
                                        <p:cTn id="122" dur="500"/>
                                        <p:tgtEl>
                                          <p:spTgt spid="14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75"/>
                                        </p:tgtEl>
                                        <p:attrNameLst>
                                          <p:attrName>style.visibility</p:attrName>
                                        </p:attrNameLst>
                                      </p:cBhvr>
                                      <p:to>
                                        <p:strVal val="visible"/>
                                      </p:to>
                                    </p:set>
                                    <p:animEffect transition="in" filter="fade">
                                      <p:cBhvr>
                                        <p:cTn id="125" dur="500"/>
                                        <p:tgtEl>
                                          <p:spTgt spid="17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6">
                                            <p:txEl>
                                              <p:pRg st="0" end="0"/>
                                            </p:txEl>
                                          </p:spTgt>
                                        </p:tgtEl>
                                        <p:attrNameLst>
                                          <p:attrName>style.visibility</p:attrName>
                                        </p:attrNameLst>
                                      </p:cBhvr>
                                      <p:to>
                                        <p:strVal val="visible"/>
                                      </p:to>
                                    </p:set>
                                    <p:animEffect transition="in" filter="fade">
                                      <p:cBhvr>
                                        <p:cTn id="128" dur="500"/>
                                        <p:tgtEl>
                                          <p:spTgt spid="16">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58">
                                            <p:txEl>
                                              <p:pRg st="0" end="0"/>
                                            </p:txEl>
                                          </p:spTgt>
                                        </p:tgtEl>
                                        <p:attrNameLst>
                                          <p:attrName>style.visibility</p:attrName>
                                        </p:attrNameLst>
                                      </p:cBhvr>
                                      <p:to>
                                        <p:strVal val="visible"/>
                                      </p:to>
                                    </p:set>
                                    <p:animEffect transition="in" filter="fade">
                                      <p:cBhvr>
                                        <p:cTn id="131" dur="500"/>
                                        <p:tgtEl>
                                          <p:spTgt spid="58">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730"/>
                                        </p:tgtEl>
                                        <p:attrNameLst>
                                          <p:attrName>style.visibility</p:attrName>
                                        </p:attrNameLst>
                                      </p:cBhvr>
                                      <p:to>
                                        <p:strVal val="visible"/>
                                      </p:to>
                                    </p:set>
                                    <p:animEffect transition="in" filter="fade">
                                      <p:cBhvr>
                                        <p:cTn id="134" dur="500"/>
                                        <p:tgtEl>
                                          <p:spTgt spid="730"/>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12"/>
                                        </p:tgtEl>
                                        <p:attrNameLst>
                                          <p:attrName>style.visibility</p:attrName>
                                        </p:attrNameLst>
                                      </p:cBhvr>
                                      <p:to>
                                        <p:strVal val="visible"/>
                                      </p:to>
                                    </p:set>
                                    <p:animEffect transition="in" filter="fade">
                                      <p:cBhvr>
                                        <p:cTn id="137" dur="500"/>
                                        <p:tgtEl>
                                          <p:spTgt spid="312"/>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065">
                                            <p:txEl>
                                              <p:pRg st="0" end="0"/>
                                            </p:txEl>
                                          </p:spTgt>
                                        </p:tgtEl>
                                        <p:attrNameLst>
                                          <p:attrName>style.visibility</p:attrName>
                                        </p:attrNameLst>
                                      </p:cBhvr>
                                      <p:to>
                                        <p:strVal val="visible"/>
                                      </p:to>
                                    </p:set>
                                    <p:animEffect transition="in" filter="fade">
                                      <p:cBhvr>
                                        <p:cTn id="140" dur="500"/>
                                        <p:tgtEl>
                                          <p:spTgt spid="2065">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13"/>
                                        </p:tgtEl>
                                        <p:attrNameLst>
                                          <p:attrName>style.visibility</p:attrName>
                                        </p:attrNameLst>
                                      </p:cBhvr>
                                      <p:to>
                                        <p:strVal val="visible"/>
                                      </p:to>
                                    </p:set>
                                    <p:animEffect transition="in" filter="fade">
                                      <p:cBhvr>
                                        <p:cTn id="143" dur="500"/>
                                        <p:tgtEl>
                                          <p:spTgt spid="113"/>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40"/>
                                        </p:tgtEl>
                                        <p:attrNameLst>
                                          <p:attrName>style.opacity</p:attrName>
                                        </p:attrNameLst>
                                      </p:cBhvr>
                                      <p:to>
                                        <p:strVal val="0.1"/>
                                      </p:to>
                                    </p:set>
                                    <p:animEffect filter="image" prLst="opacity: 0.1">
                                      <p:cBhvr rctx="IE">
                                        <p:cTn id="148" dur="indefinite"/>
                                        <p:tgtEl>
                                          <p:spTgt spid="140"/>
                                        </p:tgtEl>
                                      </p:cBhvr>
                                    </p:animEffect>
                                  </p:childTnLst>
                                </p:cTn>
                              </p:par>
                              <p:par>
                                <p:cTn id="149" presetID="9" presetClass="emph" presetSubtype="0" nodeType="withEffect">
                                  <p:stCondLst>
                                    <p:cond delay="0"/>
                                  </p:stCondLst>
                                  <p:childTnLst>
                                    <p:set>
                                      <p:cBhvr>
                                        <p:cTn id="150" dur="indefinite"/>
                                        <p:tgtEl>
                                          <p:spTgt spid="148"/>
                                        </p:tgtEl>
                                        <p:attrNameLst>
                                          <p:attrName>style.opacity</p:attrName>
                                        </p:attrNameLst>
                                      </p:cBhvr>
                                      <p:to>
                                        <p:strVal val="0.1"/>
                                      </p:to>
                                    </p:set>
                                    <p:animEffect filter="image" prLst="opacity: 0.1">
                                      <p:cBhvr rctx="IE">
                                        <p:cTn id="151" dur="indefinite"/>
                                        <p:tgtEl>
                                          <p:spTgt spid="148"/>
                                        </p:tgtEl>
                                      </p:cBhvr>
                                    </p:animEffect>
                                  </p:childTnLst>
                                </p:cTn>
                              </p:par>
                              <p:par>
                                <p:cTn id="152" presetID="9" presetClass="emph" presetSubtype="0" grpId="1" nodeType="withEffect">
                                  <p:stCondLst>
                                    <p:cond delay="0"/>
                                  </p:stCondLst>
                                  <p:childTnLst>
                                    <p:set>
                                      <p:cBhvr>
                                        <p:cTn id="153" dur="indefinite"/>
                                        <p:tgtEl>
                                          <p:spTgt spid="175"/>
                                        </p:tgtEl>
                                        <p:attrNameLst>
                                          <p:attrName>style.opacity</p:attrName>
                                        </p:attrNameLst>
                                      </p:cBhvr>
                                      <p:to>
                                        <p:strVal val="0.1"/>
                                      </p:to>
                                    </p:set>
                                    <p:animEffect filter="image" prLst="opacity: 0.1">
                                      <p:cBhvr rctx="IE">
                                        <p:cTn id="154" dur="indefinite"/>
                                        <p:tgtEl>
                                          <p:spTgt spid="175"/>
                                        </p:tgtEl>
                                      </p:cBhvr>
                                    </p:animEffect>
                                  </p:childTnLst>
                                </p:cTn>
                              </p:par>
                              <p:par>
                                <p:cTn id="155" presetID="9" presetClass="emph" presetSubtype="0" grpId="1" nodeType="withEffect">
                                  <p:stCondLst>
                                    <p:cond delay="0"/>
                                  </p:stCondLst>
                                  <p:childTnLst>
                                    <p:set>
                                      <p:cBhvr>
                                        <p:cTn id="156" dur="indefinite"/>
                                        <p:tgtEl>
                                          <p:spTgt spid="16">
                                            <p:txEl>
                                              <p:pRg st="0" end="0"/>
                                            </p:txEl>
                                          </p:spTgt>
                                        </p:tgtEl>
                                        <p:attrNameLst>
                                          <p:attrName>style.opacity</p:attrName>
                                        </p:attrNameLst>
                                      </p:cBhvr>
                                      <p:to>
                                        <p:strVal val="0.1"/>
                                      </p:to>
                                    </p:set>
                                    <p:animEffect filter="image" prLst="opacity: 0.1">
                                      <p:cBhvr rctx="IE">
                                        <p:cTn id="157" dur="indefinite"/>
                                        <p:tgtEl>
                                          <p:spTgt spid="16">
                                            <p:txEl>
                                              <p:pRg st="0" end="0"/>
                                            </p:txEl>
                                          </p:spTgt>
                                        </p:tgtEl>
                                      </p:cBhvr>
                                    </p:animEffect>
                                  </p:childTnLst>
                                </p:cTn>
                              </p:par>
                              <p:par>
                                <p:cTn id="158" presetID="9" presetClass="emph" presetSubtype="0" grpId="1" nodeType="withEffect">
                                  <p:stCondLst>
                                    <p:cond delay="0"/>
                                  </p:stCondLst>
                                  <p:childTnLst>
                                    <p:set>
                                      <p:cBhvr>
                                        <p:cTn id="159" dur="indefinite"/>
                                        <p:tgtEl>
                                          <p:spTgt spid="58">
                                            <p:txEl>
                                              <p:pRg st="0" end="0"/>
                                            </p:txEl>
                                          </p:spTgt>
                                        </p:tgtEl>
                                        <p:attrNameLst>
                                          <p:attrName>style.opacity</p:attrName>
                                        </p:attrNameLst>
                                      </p:cBhvr>
                                      <p:to>
                                        <p:strVal val="0.1"/>
                                      </p:to>
                                    </p:set>
                                    <p:animEffect filter="image" prLst="opacity: 0.1">
                                      <p:cBhvr rctx="IE">
                                        <p:cTn id="160" dur="indefinite"/>
                                        <p:tgtEl>
                                          <p:spTgt spid="58">
                                            <p:txEl>
                                              <p:pRg st="0" end="0"/>
                                            </p:txEl>
                                          </p:spTgt>
                                        </p:tgtEl>
                                      </p:cBhvr>
                                    </p:animEffect>
                                  </p:childTnLst>
                                </p:cTn>
                              </p:par>
                              <p:par>
                                <p:cTn id="161" presetID="9" presetClass="emph" presetSubtype="0" grpId="1" nodeType="withEffect">
                                  <p:stCondLst>
                                    <p:cond delay="0"/>
                                  </p:stCondLst>
                                  <p:childTnLst>
                                    <p:set>
                                      <p:cBhvr>
                                        <p:cTn id="162" dur="indefinite"/>
                                        <p:tgtEl>
                                          <p:spTgt spid="730"/>
                                        </p:tgtEl>
                                        <p:attrNameLst>
                                          <p:attrName>style.opacity</p:attrName>
                                        </p:attrNameLst>
                                      </p:cBhvr>
                                      <p:to>
                                        <p:strVal val="0.1"/>
                                      </p:to>
                                    </p:set>
                                    <p:animEffect filter="image" prLst="opacity: 0.1">
                                      <p:cBhvr rctx="IE">
                                        <p:cTn id="163" dur="indefinite"/>
                                        <p:tgtEl>
                                          <p:spTgt spid="730"/>
                                        </p:tgtEl>
                                      </p:cBhvr>
                                    </p:animEffect>
                                  </p:childTnLst>
                                </p:cTn>
                              </p:par>
                              <p:par>
                                <p:cTn id="164" presetID="9" presetClass="emph" presetSubtype="0" grpId="1" nodeType="withEffect">
                                  <p:stCondLst>
                                    <p:cond delay="0"/>
                                  </p:stCondLst>
                                  <p:childTnLst>
                                    <p:set>
                                      <p:cBhvr>
                                        <p:cTn id="165" dur="indefinite"/>
                                        <p:tgtEl>
                                          <p:spTgt spid="312"/>
                                        </p:tgtEl>
                                        <p:attrNameLst>
                                          <p:attrName>style.opacity</p:attrName>
                                        </p:attrNameLst>
                                      </p:cBhvr>
                                      <p:to>
                                        <p:strVal val="0.1"/>
                                      </p:to>
                                    </p:set>
                                    <p:animEffect filter="image" prLst="opacity: 0.1">
                                      <p:cBhvr rctx="IE">
                                        <p:cTn id="166" dur="indefinite"/>
                                        <p:tgtEl>
                                          <p:spTgt spid="312"/>
                                        </p:tgtEl>
                                      </p:cBhvr>
                                    </p:animEffect>
                                  </p:childTnLst>
                                </p:cTn>
                              </p:par>
                              <p:par>
                                <p:cTn id="167" presetID="9" presetClass="emph" presetSubtype="0" grpId="1" nodeType="withEffect">
                                  <p:stCondLst>
                                    <p:cond delay="0"/>
                                  </p:stCondLst>
                                  <p:childTnLst>
                                    <p:set>
                                      <p:cBhvr>
                                        <p:cTn id="168" dur="indefinite"/>
                                        <p:tgtEl>
                                          <p:spTgt spid="2065">
                                            <p:txEl>
                                              <p:pRg st="0" end="0"/>
                                            </p:txEl>
                                          </p:spTgt>
                                        </p:tgtEl>
                                        <p:attrNameLst>
                                          <p:attrName>style.opacity</p:attrName>
                                        </p:attrNameLst>
                                      </p:cBhvr>
                                      <p:to>
                                        <p:strVal val="0.1"/>
                                      </p:to>
                                    </p:set>
                                    <p:animEffect filter="image" prLst="opacity: 0.1">
                                      <p:cBhvr rctx="IE">
                                        <p:cTn id="169" dur="indefinite"/>
                                        <p:tgtEl>
                                          <p:spTgt spid="2065">
                                            <p:txEl>
                                              <p:pRg st="0" end="0"/>
                                            </p:txEl>
                                          </p:spTgt>
                                        </p:tgtEl>
                                      </p:cBhvr>
                                    </p:animEffect>
                                  </p:childTnLst>
                                </p:cTn>
                              </p:par>
                              <p:par>
                                <p:cTn id="170" presetID="9" presetClass="emph" presetSubtype="0" nodeType="withEffect">
                                  <p:stCondLst>
                                    <p:cond delay="0"/>
                                  </p:stCondLst>
                                  <p:childTnLst>
                                    <p:set>
                                      <p:cBhvr>
                                        <p:cTn id="171" dur="indefinite"/>
                                        <p:tgtEl>
                                          <p:spTgt spid="113"/>
                                        </p:tgtEl>
                                        <p:attrNameLst>
                                          <p:attrName>style.opacity</p:attrName>
                                        </p:attrNameLst>
                                      </p:cBhvr>
                                      <p:to>
                                        <p:strVal val="0.1"/>
                                      </p:to>
                                    </p:set>
                                    <p:animEffect filter="image" prLst="opacity: 0.1">
                                      <p:cBhvr rctx="IE">
                                        <p:cTn id="172" dur="indefinite"/>
                                        <p:tgtEl>
                                          <p:spTgt spid="113"/>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41"/>
                                        </p:tgtEl>
                                        <p:attrNameLst>
                                          <p:attrName>style.visibility</p:attrName>
                                        </p:attrNameLst>
                                      </p:cBhvr>
                                      <p:to>
                                        <p:strVal val="visible"/>
                                      </p:to>
                                    </p:set>
                                    <p:animEffect transition="in" filter="fade">
                                      <p:cBhvr>
                                        <p:cTn id="175" dur="500"/>
                                        <p:tgtEl>
                                          <p:spTgt spid="141"/>
                                        </p:tgtEl>
                                      </p:cBhvr>
                                    </p:animEffect>
                                  </p:childTnLst>
                                </p:cTn>
                              </p:par>
                              <p:par>
                                <p:cTn id="176" presetID="10" presetClass="entr" presetSubtype="0" fill="hold" nodeType="withEffect">
                                  <p:stCondLst>
                                    <p:cond delay="0"/>
                                  </p:stCondLst>
                                  <p:childTnLst>
                                    <p:set>
                                      <p:cBhvr>
                                        <p:cTn id="177" dur="1" fill="hold">
                                          <p:stCondLst>
                                            <p:cond delay="0"/>
                                          </p:stCondLst>
                                        </p:cTn>
                                        <p:tgtEl>
                                          <p:spTgt spid="149"/>
                                        </p:tgtEl>
                                        <p:attrNameLst>
                                          <p:attrName>style.visibility</p:attrName>
                                        </p:attrNameLst>
                                      </p:cBhvr>
                                      <p:to>
                                        <p:strVal val="visible"/>
                                      </p:to>
                                    </p:set>
                                    <p:animEffect transition="in" filter="fade">
                                      <p:cBhvr>
                                        <p:cTn id="178" dur="500"/>
                                        <p:tgtEl>
                                          <p:spTgt spid="149"/>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76"/>
                                        </p:tgtEl>
                                        <p:attrNameLst>
                                          <p:attrName>style.visibility</p:attrName>
                                        </p:attrNameLst>
                                      </p:cBhvr>
                                      <p:to>
                                        <p:strVal val="visible"/>
                                      </p:to>
                                    </p:set>
                                    <p:animEffect transition="in" filter="fade">
                                      <p:cBhvr>
                                        <p:cTn id="181" dur="500"/>
                                        <p:tgtEl>
                                          <p:spTgt spid="176"/>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8">
                                            <p:txEl>
                                              <p:pRg st="0" end="0"/>
                                            </p:txEl>
                                          </p:spTgt>
                                        </p:tgtEl>
                                        <p:attrNameLst>
                                          <p:attrName>style.visibility</p:attrName>
                                        </p:attrNameLst>
                                      </p:cBhvr>
                                      <p:to>
                                        <p:strVal val="visible"/>
                                      </p:to>
                                    </p:set>
                                    <p:animEffect transition="in" filter="fade">
                                      <p:cBhvr>
                                        <p:cTn id="184" dur="500"/>
                                        <p:tgtEl>
                                          <p:spTgt spid="18">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59">
                                            <p:txEl>
                                              <p:pRg st="0" end="0"/>
                                            </p:txEl>
                                          </p:spTgt>
                                        </p:tgtEl>
                                        <p:attrNameLst>
                                          <p:attrName>style.visibility</p:attrName>
                                        </p:attrNameLst>
                                      </p:cBhvr>
                                      <p:to>
                                        <p:strVal val="visible"/>
                                      </p:to>
                                    </p:set>
                                    <p:animEffect transition="in" filter="fade">
                                      <p:cBhvr>
                                        <p:cTn id="187" dur="500"/>
                                        <p:tgtEl>
                                          <p:spTgt spid="59">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310"/>
                                        </p:tgtEl>
                                        <p:attrNameLst>
                                          <p:attrName>style.visibility</p:attrName>
                                        </p:attrNameLst>
                                      </p:cBhvr>
                                      <p:to>
                                        <p:strVal val="visible"/>
                                      </p:to>
                                    </p:set>
                                    <p:animEffect transition="in" filter="fade">
                                      <p:cBhvr>
                                        <p:cTn id="190" dur="500"/>
                                        <p:tgtEl>
                                          <p:spTgt spid="310"/>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31"/>
                                        </p:tgtEl>
                                        <p:attrNameLst>
                                          <p:attrName>style.visibility</p:attrName>
                                        </p:attrNameLst>
                                      </p:cBhvr>
                                      <p:to>
                                        <p:strVal val="visible"/>
                                      </p:to>
                                    </p:set>
                                    <p:animEffect transition="in" filter="fade">
                                      <p:cBhvr>
                                        <p:cTn id="193" dur="500"/>
                                        <p:tgtEl>
                                          <p:spTgt spid="731"/>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066">
                                            <p:txEl>
                                              <p:pRg st="0" end="0"/>
                                            </p:txEl>
                                          </p:spTgt>
                                        </p:tgtEl>
                                        <p:attrNameLst>
                                          <p:attrName>style.visibility</p:attrName>
                                        </p:attrNameLst>
                                      </p:cBhvr>
                                      <p:to>
                                        <p:strVal val="visible"/>
                                      </p:to>
                                    </p:set>
                                    <p:animEffect transition="in" filter="fade">
                                      <p:cBhvr>
                                        <p:cTn id="196" dur="500"/>
                                        <p:tgtEl>
                                          <p:spTgt spid="2066">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22"/>
                                        </p:tgtEl>
                                        <p:attrNameLst>
                                          <p:attrName>style.visibility</p:attrName>
                                        </p:attrNameLst>
                                      </p:cBhvr>
                                      <p:to>
                                        <p:strVal val="visible"/>
                                      </p:to>
                                    </p:set>
                                    <p:animEffect transition="in" filter="fade">
                                      <p:cBhvr>
                                        <p:cTn id="199" dur="500"/>
                                        <p:tgtEl>
                                          <p:spTgt spid="122"/>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41"/>
                                        </p:tgtEl>
                                        <p:attrNameLst>
                                          <p:attrName>style.opacity</p:attrName>
                                        </p:attrNameLst>
                                      </p:cBhvr>
                                      <p:to>
                                        <p:strVal val="0.1"/>
                                      </p:to>
                                    </p:set>
                                    <p:animEffect filter="image" prLst="opacity: 0.1">
                                      <p:cBhvr rctx="IE">
                                        <p:cTn id="204" dur="indefinite"/>
                                        <p:tgtEl>
                                          <p:spTgt spid="141"/>
                                        </p:tgtEl>
                                      </p:cBhvr>
                                    </p:animEffect>
                                  </p:childTnLst>
                                </p:cTn>
                              </p:par>
                              <p:par>
                                <p:cTn id="205" presetID="9" presetClass="emph" presetSubtype="0" nodeType="withEffect">
                                  <p:stCondLst>
                                    <p:cond delay="0"/>
                                  </p:stCondLst>
                                  <p:childTnLst>
                                    <p:set>
                                      <p:cBhvr>
                                        <p:cTn id="206" dur="indefinite"/>
                                        <p:tgtEl>
                                          <p:spTgt spid="149"/>
                                        </p:tgtEl>
                                        <p:attrNameLst>
                                          <p:attrName>style.opacity</p:attrName>
                                        </p:attrNameLst>
                                      </p:cBhvr>
                                      <p:to>
                                        <p:strVal val="0.1"/>
                                      </p:to>
                                    </p:set>
                                    <p:animEffect filter="image" prLst="opacity: 0.1">
                                      <p:cBhvr rctx="IE">
                                        <p:cTn id="207" dur="indefinite"/>
                                        <p:tgtEl>
                                          <p:spTgt spid="149"/>
                                        </p:tgtEl>
                                      </p:cBhvr>
                                    </p:animEffect>
                                  </p:childTnLst>
                                </p:cTn>
                              </p:par>
                              <p:par>
                                <p:cTn id="208" presetID="9" presetClass="emph" presetSubtype="0" grpId="1" nodeType="withEffect">
                                  <p:stCondLst>
                                    <p:cond delay="0"/>
                                  </p:stCondLst>
                                  <p:childTnLst>
                                    <p:set>
                                      <p:cBhvr>
                                        <p:cTn id="209" dur="indefinite"/>
                                        <p:tgtEl>
                                          <p:spTgt spid="176"/>
                                        </p:tgtEl>
                                        <p:attrNameLst>
                                          <p:attrName>style.opacity</p:attrName>
                                        </p:attrNameLst>
                                      </p:cBhvr>
                                      <p:to>
                                        <p:strVal val="0.1"/>
                                      </p:to>
                                    </p:set>
                                    <p:animEffect filter="image" prLst="opacity: 0.1">
                                      <p:cBhvr rctx="IE">
                                        <p:cTn id="210" dur="indefinite"/>
                                        <p:tgtEl>
                                          <p:spTgt spid="176"/>
                                        </p:tgtEl>
                                      </p:cBhvr>
                                    </p:animEffect>
                                  </p:childTnLst>
                                </p:cTn>
                              </p:par>
                              <p:par>
                                <p:cTn id="211" presetID="9" presetClass="emph" presetSubtype="0" grpId="1" nodeType="withEffect">
                                  <p:stCondLst>
                                    <p:cond delay="0"/>
                                  </p:stCondLst>
                                  <p:childTnLst>
                                    <p:set>
                                      <p:cBhvr>
                                        <p:cTn id="212" dur="indefinite"/>
                                        <p:tgtEl>
                                          <p:spTgt spid="18">
                                            <p:txEl>
                                              <p:pRg st="0" end="0"/>
                                            </p:txEl>
                                          </p:spTgt>
                                        </p:tgtEl>
                                        <p:attrNameLst>
                                          <p:attrName>style.opacity</p:attrName>
                                        </p:attrNameLst>
                                      </p:cBhvr>
                                      <p:to>
                                        <p:strVal val="0.1"/>
                                      </p:to>
                                    </p:set>
                                    <p:animEffect filter="image" prLst="opacity: 0.1">
                                      <p:cBhvr rctx="IE">
                                        <p:cTn id="213" dur="indefinite"/>
                                        <p:tgtEl>
                                          <p:spTgt spid="18">
                                            <p:txEl>
                                              <p:pRg st="0" end="0"/>
                                            </p:txEl>
                                          </p:spTgt>
                                        </p:tgtEl>
                                      </p:cBhvr>
                                    </p:animEffect>
                                  </p:childTnLst>
                                </p:cTn>
                              </p:par>
                              <p:par>
                                <p:cTn id="214" presetID="9" presetClass="emph" presetSubtype="0" grpId="1" nodeType="withEffect">
                                  <p:stCondLst>
                                    <p:cond delay="0"/>
                                  </p:stCondLst>
                                  <p:childTnLst>
                                    <p:set>
                                      <p:cBhvr>
                                        <p:cTn id="215" dur="indefinite"/>
                                        <p:tgtEl>
                                          <p:spTgt spid="59">
                                            <p:txEl>
                                              <p:pRg st="0" end="0"/>
                                            </p:txEl>
                                          </p:spTgt>
                                        </p:tgtEl>
                                        <p:attrNameLst>
                                          <p:attrName>style.opacity</p:attrName>
                                        </p:attrNameLst>
                                      </p:cBhvr>
                                      <p:to>
                                        <p:strVal val="0.1"/>
                                      </p:to>
                                    </p:set>
                                    <p:animEffect filter="image" prLst="opacity: 0.1">
                                      <p:cBhvr rctx="IE">
                                        <p:cTn id="216" dur="indefinite"/>
                                        <p:tgtEl>
                                          <p:spTgt spid="59">
                                            <p:txEl>
                                              <p:pRg st="0" end="0"/>
                                            </p:txEl>
                                          </p:spTgt>
                                        </p:tgtEl>
                                      </p:cBhvr>
                                    </p:animEffect>
                                  </p:childTnLst>
                                </p:cTn>
                              </p:par>
                              <p:par>
                                <p:cTn id="217" presetID="9" presetClass="emph" presetSubtype="0" grpId="1" nodeType="withEffect">
                                  <p:stCondLst>
                                    <p:cond delay="0"/>
                                  </p:stCondLst>
                                  <p:childTnLst>
                                    <p:set>
                                      <p:cBhvr>
                                        <p:cTn id="218" dur="indefinite"/>
                                        <p:tgtEl>
                                          <p:spTgt spid="310"/>
                                        </p:tgtEl>
                                        <p:attrNameLst>
                                          <p:attrName>style.opacity</p:attrName>
                                        </p:attrNameLst>
                                      </p:cBhvr>
                                      <p:to>
                                        <p:strVal val="0.1"/>
                                      </p:to>
                                    </p:set>
                                    <p:animEffect filter="image" prLst="opacity: 0.1">
                                      <p:cBhvr rctx="IE">
                                        <p:cTn id="219" dur="indefinite"/>
                                        <p:tgtEl>
                                          <p:spTgt spid="310"/>
                                        </p:tgtEl>
                                      </p:cBhvr>
                                    </p:animEffect>
                                  </p:childTnLst>
                                </p:cTn>
                              </p:par>
                              <p:par>
                                <p:cTn id="220" presetID="9" presetClass="emph" presetSubtype="0" grpId="1" nodeType="withEffect">
                                  <p:stCondLst>
                                    <p:cond delay="0"/>
                                  </p:stCondLst>
                                  <p:childTnLst>
                                    <p:set>
                                      <p:cBhvr>
                                        <p:cTn id="221" dur="indefinite"/>
                                        <p:tgtEl>
                                          <p:spTgt spid="731"/>
                                        </p:tgtEl>
                                        <p:attrNameLst>
                                          <p:attrName>style.opacity</p:attrName>
                                        </p:attrNameLst>
                                      </p:cBhvr>
                                      <p:to>
                                        <p:strVal val="0.1"/>
                                      </p:to>
                                    </p:set>
                                    <p:animEffect filter="image" prLst="opacity: 0.1">
                                      <p:cBhvr rctx="IE">
                                        <p:cTn id="222" dur="indefinite"/>
                                        <p:tgtEl>
                                          <p:spTgt spid="731"/>
                                        </p:tgtEl>
                                      </p:cBhvr>
                                    </p:animEffect>
                                  </p:childTnLst>
                                </p:cTn>
                              </p:par>
                              <p:par>
                                <p:cTn id="223" presetID="9" presetClass="emph" presetSubtype="0" grpId="1" nodeType="withEffect">
                                  <p:stCondLst>
                                    <p:cond delay="0"/>
                                  </p:stCondLst>
                                  <p:childTnLst>
                                    <p:set>
                                      <p:cBhvr>
                                        <p:cTn id="224" dur="indefinite"/>
                                        <p:tgtEl>
                                          <p:spTgt spid="2066">
                                            <p:txEl>
                                              <p:pRg st="0" end="0"/>
                                            </p:txEl>
                                          </p:spTgt>
                                        </p:tgtEl>
                                        <p:attrNameLst>
                                          <p:attrName>style.opacity</p:attrName>
                                        </p:attrNameLst>
                                      </p:cBhvr>
                                      <p:to>
                                        <p:strVal val="0.1"/>
                                      </p:to>
                                    </p:set>
                                    <p:animEffect filter="image" prLst="opacity: 0.1">
                                      <p:cBhvr rctx="IE">
                                        <p:cTn id="225" dur="indefinite"/>
                                        <p:tgtEl>
                                          <p:spTgt spid="2066">
                                            <p:txEl>
                                              <p:pRg st="0" end="0"/>
                                            </p:txEl>
                                          </p:spTgt>
                                        </p:tgtEl>
                                      </p:cBhvr>
                                    </p:animEffect>
                                  </p:childTnLst>
                                </p:cTn>
                              </p:par>
                              <p:par>
                                <p:cTn id="226" presetID="9" presetClass="emph" presetSubtype="0" nodeType="withEffect">
                                  <p:stCondLst>
                                    <p:cond delay="0"/>
                                  </p:stCondLst>
                                  <p:childTnLst>
                                    <p:set>
                                      <p:cBhvr>
                                        <p:cTn id="227" dur="indefinite"/>
                                        <p:tgtEl>
                                          <p:spTgt spid="122"/>
                                        </p:tgtEl>
                                        <p:attrNameLst>
                                          <p:attrName>style.opacity</p:attrName>
                                        </p:attrNameLst>
                                      </p:cBhvr>
                                      <p:to>
                                        <p:strVal val="0.1"/>
                                      </p:to>
                                    </p:set>
                                    <p:animEffect filter="image" prLst="opacity: 0.1">
                                      <p:cBhvr rctx="IE">
                                        <p:cTn id="228" dur="indefinite"/>
                                        <p:tgtEl>
                                          <p:spTgt spid="122"/>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42"/>
                                        </p:tgtEl>
                                        <p:attrNameLst>
                                          <p:attrName>style.visibility</p:attrName>
                                        </p:attrNameLst>
                                      </p:cBhvr>
                                      <p:to>
                                        <p:strVal val="visible"/>
                                      </p:to>
                                    </p:set>
                                    <p:animEffect transition="in" filter="fade">
                                      <p:cBhvr>
                                        <p:cTn id="231" dur="500"/>
                                        <p:tgtEl>
                                          <p:spTgt spid="142"/>
                                        </p:tgtEl>
                                      </p:cBhvr>
                                    </p:animEffect>
                                  </p:childTnLst>
                                </p:cTn>
                              </p:par>
                              <p:par>
                                <p:cTn id="232" presetID="10" presetClass="entr" presetSubtype="0" fill="hold" nodeType="withEffect">
                                  <p:stCondLst>
                                    <p:cond delay="0"/>
                                  </p:stCondLst>
                                  <p:childTnLst>
                                    <p:set>
                                      <p:cBhvr>
                                        <p:cTn id="233" dur="1" fill="hold">
                                          <p:stCondLst>
                                            <p:cond delay="0"/>
                                          </p:stCondLst>
                                        </p:cTn>
                                        <p:tgtEl>
                                          <p:spTgt spid="151"/>
                                        </p:tgtEl>
                                        <p:attrNameLst>
                                          <p:attrName>style.visibility</p:attrName>
                                        </p:attrNameLst>
                                      </p:cBhvr>
                                      <p:to>
                                        <p:strVal val="visible"/>
                                      </p:to>
                                    </p:set>
                                    <p:animEffect transition="in" filter="fade">
                                      <p:cBhvr>
                                        <p:cTn id="234" dur="500"/>
                                        <p:tgtEl>
                                          <p:spTgt spid="151"/>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77"/>
                                        </p:tgtEl>
                                        <p:attrNameLst>
                                          <p:attrName>style.visibility</p:attrName>
                                        </p:attrNameLst>
                                      </p:cBhvr>
                                      <p:to>
                                        <p:strVal val="visible"/>
                                      </p:to>
                                    </p:set>
                                    <p:animEffect transition="in" filter="fade">
                                      <p:cBhvr>
                                        <p:cTn id="237" dur="500"/>
                                        <p:tgtEl>
                                          <p:spTgt spid="177"/>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9">
                                            <p:txEl>
                                              <p:pRg st="0" end="0"/>
                                            </p:txEl>
                                          </p:spTgt>
                                        </p:tgtEl>
                                        <p:attrNameLst>
                                          <p:attrName>style.visibility</p:attrName>
                                        </p:attrNameLst>
                                      </p:cBhvr>
                                      <p:to>
                                        <p:strVal val="visible"/>
                                      </p:to>
                                    </p:set>
                                    <p:animEffect transition="in" filter="fade">
                                      <p:cBhvr>
                                        <p:cTn id="240" dur="500"/>
                                        <p:tgtEl>
                                          <p:spTgt spid="19">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60">
                                            <p:txEl>
                                              <p:pRg st="0" end="0"/>
                                            </p:txEl>
                                          </p:spTgt>
                                        </p:tgtEl>
                                        <p:attrNameLst>
                                          <p:attrName>style.visibility</p:attrName>
                                        </p:attrNameLst>
                                      </p:cBhvr>
                                      <p:to>
                                        <p:strVal val="visible"/>
                                      </p:to>
                                    </p:set>
                                    <p:animEffect transition="in" filter="fade">
                                      <p:cBhvr>
                                        <p:cTn id="243" dur="500"/>
                                        <p:tgtEl>
                                          <p:spTgt spid="60">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311"/>
                                        </p:tgtEl>
                                        <p:attrNameLst>
                                          <p:attrName>style.visibility</p:attrName>
                                        </p:attrNameLst>
                                      </p:cBhvr>
                                      <p:to>
                                        <p:strVal val="visible"/>
                                      </p:to>
                                    </p:set>
                                    <p:animEffect transition="in" filter="fade">
                                      <p:cBhvr>
                                        <p:cTn id="246" dur="500"/>
                                        <p:tgtEl>
                                          <p:spTgt spid="311"/>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732"/>
                                        </p:tgtEl>
                                        <p:attrNameLst>
                                          <p:attrName>style.visibility</p:attrName>
                                        </p:attrNameLst>
                                      </p:cBhvr>
                                      <p:to>
                                        <p:strVal val="visible"/>
                                      </p:to>
                                    </p:set>
                                    <p:animEffect transition="in" filter="fade">
                                      <p:cBhvr>
                                        <p:cTn id="249" dur="500"/>
                                        <p:tgtEl>
                                          <p:spTgt spid="732"/>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067">
                                            <p:txEl>
                                              <p:pRg st="0" end="0"/>
                                            </p:txEl>
                                          </p:spTgt>
                                        </p:tgtEl>
                                        <p:attrNameLst>
                                          <p:attrName>style.visibility</p:attrName>
                                        </p:attrNameLst>
                                      </p:cBhvr>
                                      <p:to>
                                        <p:strVal val="visible"/>
                                      </p:to>
                                    </p:set>
                                    <p:animEffect transition="in" filter="fade">
                                      <p:cBhvr>
                                        <p:cTn id="252" dur="500"/>
                                        <p:tgtEl>
                                          <p:spTgt spid="2067">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30"/>
                                        </p:tgtEl>
                                        <p:attrNameLst>
                                          <p:attrName>style.visibility</p:attrName>
                                        </p:attrNameLst>
                                      </p:cBhvr>
                                      <p:to>
                                        <p:strVal val="visible"/>
                                      </p:to>
                                    </p:set>
                                    <p:animEffect transition="in" filter="fade">
                                      <p:cBhvr>
                                        <p:cTn id="255" dur="500"/>
                                        <p:tgtEl>
                                          <p:spTgt spid="130"/>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38"/>
                                        </p:tgtEl>
                                        <p:attrNameLst>
                                          <p:attrName>style.opacity</p:attrName>
                                        </p:attrNameLst>
                                      </p:cBhvr>
                                      <p:to>
                                        <p:strVal val="1"/>
                                      </p:to>
                                    </p:set>
                                    <p:animEffect filter="image" prLst="opacity: 1">
                                      <p:cBhvr rctx="IE">
                                        <p:cTn id="260" dur="indefinite"/>
                                        <p:tgtEl>
                                          <p:spTgt spid="138"/>
                                        </p:tgtEl>
                                      </p:cBhvr>
                                    </p:animEffect>
                                  </p:childTnLst>
                                </p:cTn>
                              </p:par>
                              <p:par>
                                <p:cTn id="261" presetID="9" presetClass="emph" presetSubtype="0" grpId="2" nodeType="withEffect">
                                  <p:stCondLst>
                                    <p:cond delay="0"/>
                                  </p:stCondLst>
                                  <p:childTnLst>
                                    <p:set>
                                      <p:cBhvr>
                                        <p:cTn id="262" dur="indefinite"/>
                                        <p:tgtEl>
                                          <p:spTgt spid="139"/>
                                        </p:tgtEl>
                                        <p:attrNameLst>
                                          <p:attrName>style.opacity</p:attrName>
                                        </p:attrNameLst>
                                      </p:cBhvr>
                                      <p:to>
                                        <p:strVal val="1"/>
                                      </p:to>
                                    </p:set>
                                    <p:animEffect filter="image" prLst="opacity: 1">
                                      <p:cBhvr rctx="IE">
                                        <p:cTn id="263" dur="indefinite"/>
                                        <p:tgtEl>
                                          <p:spTgt spid="139"/>
                                        </p:tgtEl>
                                      </p:cBhvr>
                                    </p:animEffect>
                                  </p:childTnLst>
                                </p:cTn>
                              </p:par>
                              <p:par>
                                <p:cTn id="264" presetID="9" presetClass="emph" presetSubtype="0" grpId="2" nodeType="withEffect">
                                  <p:stCondLst>
                                    <p:cond delay="0"/>
                                  </p:stCondLst>
                                  <p:childTnLst>
                                    <p:set>
                                      <p:cBhvr>
                                        <p:cTn id="265" dur="indefinite"/>
                                        <p:tgtEl>
                                          <p:spTgt spid="140"/>
                                        </p:tgtEl>
                                        <p:attrNameLst>
                                          <p:attrName>style.opacity</p:attrName>
                                        </p:attrNameLst>
                                      </p:cBhvr>
                                      <p:to>
                                        <p:strVal val="1"/>
                                      </p:to>
                                    </p:set>
                                    <p:animEffect filter="image" prLst="opacity: 1">
                                      <p:cBhvr rctx="IE">
                                        <p:cTn id="266" dur="indefinite"/>
                                        <p:tgtEl>
                                          <p:spTgt spid="140"/>
                                        </p:tgtEl>
                                      </p:cBhvr>
                                    </p:animEffect>
                                  </p:childTnLst>
                                </p:cTn>
                              </p:par>
                              <p:par>
                                <p:cTn id="267" presetID="9" presetClass="emph" presetSubtype="0" grpId="2" nodeType="withEffect">
                                  <p:stCondLst>
                                    <p:cond delay="0"/>
                                  </p:stCondLst>
                                  <p:childTnLst>
                                    <p:set>
                                      <p:cBhvr>
                                        <p:cTn id="268" dur="indefinite"/>
                                        <p:tgtEl>
                                          <p:spTgt spid="141"/>
                                        </p:tgtEl>
                                        <p:attrNameLst>
                                          <p:attrName>style.opacity</p:attrName>
                                        </p:attrNameLst>
                                      </p:cBhvr>
                                      <p:to>
                                        <p:strVal val="1"/>
                                      </p:to>
                                    </p:set>
                                    <p:animEffect filter="image" prLst="opacity: 1">
                                      <p:cBhvr rctx="IE">
                                        <p:cTn id="269" dur="indefinite"/>
                                        <p:tgtEl>
                                          <p:spTgt spid="141"/>
                                        </p:tgtEl>
                                      </p:cBhvr>
                                    </p:animEffect>
                                  </p:childTnLst>
                                </p:cTn>
                              </p:par>
                              <p:par>
                                <p:cTn id="270" presetID="9" presetClass="emph" presetSubtype="0" nodeType="withEffect">
                                  <p:stCondLst>
                                    <p:cond delay="0"/>
                                  </p:stCondLst>
                                  <p:childTnLst>
                                    <p:set>
                                      <p:cBhvr>
                                        <p:cTn id="271" dur="indefinite"/>
                                        <p:tgtEl>
                                          <p:spTgt spid="143"/>
                                        </p:tgtEl>
                                        <p:attrNameLst>
                                          <p:attrName>style.opacity</p:attrName>
                                        </p:attrNameLst>
                                      </p:cBhvr>
                                      <p:to>
                                        <p:strVal val="1"/>
                                      </p:to>
                                    </p:set>
                                    <p:animEffect filter="image" prLst="opacity: 1">
                                      <p:cBhvr rctx="IE">
                                        <p:cTn id="272" dur="indefinite"/>
                                        <p:tgtEl>
                                          <p:spTgt spid="143"/>
                                        </p:tgtEl>
                                      </p:cBhvr>
                                    </p:animEffect>
                                  </p:childTnLst>
                                </p:cTn>
                              </p:par>
                              <p:par>
                                <p:cTn id="273" presetID="9" presetClass="emph" presetSubtype="0" nodeType="withEffect">
                                  <p:stCondLst>
                                    <p:cond delay="0"/>
                                  </p:stCondLst>
                                  <p:childTnLst>
                                    <p:set>
                                      <p:cBhvr>
                                        <p:cTn id="274" dur="indefinite"/>
                                        <p:tgtEl>
                                          <p:spTgt spid="144"/>
                                        </p:tgtEl>
                                        <p:attrNameLst>
                                          <p:attrName>style.opacity</p:attrName>
                                        </p:attrNameLst>
                                      </p:cBhvr>
                                      <p:to>
                                        <p:strVal val="1"/>
                                      </p:to>
                                    </p:set>
                                    <p:animEffect filter="image" prLst="opacity: 1">
                                      <p:cBhvr rctx="IE">
                                        <p:cTn id="275" dur="indefinite"/>
                                        <p:tgtEl>
                                          <p:spTgt spid="144"/>
                                        </p:tgtEl>
                                      </p:cBhvr>
                                    </p:animEffect>
                                  </p:childTnLst>
                                </p:cTn>
                              </p:par>
                              <p:par>
                                <p:cTn id="276" presetID="9" presetClass="emph" presetSubtype="0" nodeType="withEffect">
                                  <p:stCondLst>
                                    <p:cond delay="0"/>
                                  </p:stCondLst>
                                  <p:childTnLst>
                                    <p:set>
                                      <p:cBhvr>
                                        <p:cTn id="277" dur="indefinite"/>
                                        <p:tgtEl>
                                          <p:spTgt spid="148"/>
                                        </p:tgtEl>
                                        <p:attrNameLst>
                                          <p:attrName>style.opacity</p:attrName>
                                        </p:attrNameLst>
                                      </p:cBhvr>
                                      <p:to>
                                        <p:strVal val="1"/>
                                      </p:to>
                                    </p:set>
                                    <p:animEffect filter="image" prLst="opacity: 1">
                                      <p:cBhvr rctx="IE">
                                        <p:cTn id="278" dur="indefinite"/>
                                        <p:tgtEl>
                                          <p:spTgt spid="148"/>
                                        </p:tgtEl>
                                      </p:cBhvr>
                                    </p:animEffect>
                                  </p:childTnLst>
                                </p:cTn>
                              </p:par>
                              <p:par>
                                <p:cTn id="279" presetID="9" presetClass="emph" presetSubtype="0" nodeType="withEffect">
                                  <p:stCondLst>
                                    <p:cond delay="0"/>
                                  </p:stCondLst>
                                  <p:childTnLst>
                                    <p:set>
                                      <p:cBhvr>
                                        <p:cTn id="280" dur="indefinite"/>
                                        <p:tgtEl>
                                          <p:spTgt spid="149"/>
                                        </p:tgtEl>
                                        <p:attrNameLst>
                                          <p:attrName>style.opacity</p:attrName>
                                        </p:attrNameLst>
                                      </p:cBhvr>
                                      <p:to>
                                        <p:strVal val="1"/>
                                      </p:to>
                                    </p:set>
                                    <p:animEffect filter="image" prLst="opacity: 1">
                                      <p:cBhvr rctx="IE">
                                        <p:cTn id="281" dur="indefinite"/>
                                        <p:tgtEl>
                                          <p:spTgt spid="149"/>
                                        </p:tgtEl>
                                      </p:cBhvr>
                                    </p:animEffect>
                                  </p:childTnLst>
                                </p:cTn>
                              </p:par>
                              <p:par>
                                <p:cTn id="282" presetID="9" presetClass="emph" presetSubtype="0" grpId="2" nodeType="withEffect">
                                  <p:stCondLst>
                                    <p:cond delay="0"/>
                                  </p:stCondLst>
                                  <p:childTnLst>
                                    <p:set>
                                      <p:cBhvr>
                                        <p:cTn id="283" dur="indefinite"/>
                                        <p:tgtEl>
                                          <p:spTgt spid="173"/>
                                        </p:tgtEl>
                                        <p:attrNameLst>
                                          <p:attrName>style.opacity</p:attrName>
                                        </p:attrNameLst>
                                      </p:cBhvr>
                                      <p:to>
                                        <p:strVal val="1"/>
                                      </p:to>
                                    </p:set>
                                    <p:animEffect filter="image" prLst="opacity: 1">
                                      <p:cBhvr rctx="IE">
                                        <p:cTn id="284" dur="indefinite"/>
                                        <p:tgtEl>
                                          <p:spTgt spid="173"/>
                                        </p:tgtEl>
                                      </p:cBhvr>
                                    </p:animEffect>
                                  </p:childTnLst>
                                </p:cTn>
                              </p:par>
                              <p:par>
                                <p:cTn id="285" presetID="9" presetClass="emph" presetSubtype="0" grpId="2" nodeType="withEffect">
                                  <p:stCondLst>
                                    <p:cond delay="0"/>
                                  </p:stCondLst>
                                  <p:childTnLst>
                                    <p:set>
                                      <p:cBhvr>
                                        <p:cTn id="286" dur="indefinite"/>
                                        <p:tgtEl>
                                          <p:spTgt spid="174"/>
                                        </p:tgtEl>
                                        <p:attrNameLst>
                                          <p:attrName>style.opacity</p:attrName>
                                        </p:attrNameLst>
                                      </p:cBhvr>
                                      <p:to>
                                        <p:strVal val="1"/>
                                      </p:to>
                                    </p:set>
                                    <p:animEffect filter="image" prLst="opacity: 1">
                                      <p:cBhvr rctx="IE">
                                        <p:cTn id="287" dur="indefinite"/>
                                        <p:tgtEl>
                                          <p:spTgt spid="174"/>
                                        </p:tgtEl>
                                      </p:cBhvr>
                                    </p:animEffect>
                                  </p:childTnLst>
                                </p:cTn>
                              </p:par>
                              <p:par>
                                <p:cTn id="288" presetID="9" presetClass="emph" presetSubtype="0" grpId="2" nodeType="withEffect">
                                  <p:stCondLst>
                                    <p:cond delay="0"/>
                                  </p:stCondLst>
                                  <p:childTnLst>
                                    <p:set>
                                      <p:cBhvr>
                                        <p:cTn id="289" dur="indefinite"/>
                                        <p:tgtEl>
                                          <p:spTgt spid="175"/>
                                        </p:tgtEl>
                                        <p:attrNameLst>
                                          <p:attrName>style.opacity</p:attrName>
                                        </p:attrNameLst>
                                      </p:cBhvr>
                                      <p:to>
                                        <p:strVal val="1"/>
                                      </p:to>
                                    </p:set>
                                    <p:animEffect filter="image" prLst="opacity: 1">
                                      <p:cBhvr rctx="IE">
                                        <p:cTn id="290" dur="indefinite"/>
                                        <p:tgtEl>
                                          <p:spTgt spid="175"/>
                                        </p:tgtEl>
                                      </p:cBhvr>
                                    </p:animEffect>
                                  </p:childTnLst>
                                </p:cTn>
                              </p:par>
                              <p:par>
                                <p:cTn id="291" presetID="9" presetClass="emph" presetSubtype="0" grpId="2" nodeType="withEffect">
                                  <p:stCondLst>
                                    <p:cond delay="0"/>
                                  </p:stCondLst>
                                  <p:childTnLst>
                                    <p:set>
                                      <p:cBhvr>
                                        <p:cTn id="292" dur="indefinite"/>
                                        <p:tgtEl>
                                          <p:spTgt spid="176"/>
                                        </p:tgtEl>
                                        <p:attrNameLst>
                                          <p:attrName>style.opacity</p:attrName>
                                        </p:attrNameLst>
                                      </p:cBhvr>
                                      <p:to>
                                        <p:strVal val="1"/>
                                      </p:to>
                                    </p:set>
                                    <p:animEffect filter="image" prLst="opacity: 1">
                                      <p:cBhvr rctx="IE">
                                        <p:cTn id="293" dur="indefinite"/>
                                        <p:tgtEl>
                                          <p:spTgt spid="176"/>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12">
                                            <p:txEl>
                                              <p:pRg st="0" end="0"/>
                                            </p:txEl>
                                          </p:spTgt>
                                        </p:tgtEl>
                                        <p:attrNameLst>
                                          <p:attrName>style.opacity</p:attrName>
                                        </p:attrNameLst>
                                      </p:cBhvr>
                                      <p:to>
                                        <p:strVal val="1"/>
                                      </p:to>
                                    </p:set>
                                    <p:animEffect filter="image" prLst="opacity: 1">
                                      <p:cBhvr rctx="IE">
                                        <p:cTn id="299" dur="indefinite"/>
                                        <p:tgtEl>
                                          <p:spTgt spid="12">
                                            <p:txEl>
                                              <p:pRg st="0" end="0"/>
                                            </p:txEl>
                                          </p:spTgt>
                                        </p:tgtEl>
                                      </p:cBhvr>
                                    </p:animEffect>
                                  </p:childTnLst>
                                </p:cTn>
                              </p:par>
                              <p:par>
                                <p:cTn id="300" presetID="9" presetClass="emph" presetSubtype="0" grpId="2" nodeType="withEffect">
                                  <p:stCondLst>
                                    <p:cond delay="0"/>
                                  </p:stCondLst>
                                  <p:childTnLst>
                                    <p:set>
                                      <p:cBhvr>
                                        <p:cTn id="301" dur="indefinite"/>
                                        <p:tgtEl>
                                          <p:spTgt spid="16">
                                            <p:txEl>
                                              <p:pRg st="0" end="0"/>
                                            </p:txEl>
                                          </p:spTgt>
                                        </p:tgtEl>
                                        <p:attrNameLst>
                                          <p:attrName>style.opacity</p:attrName>
                                        </p:attrNameLst>
                                      </p:cBhvr>
                                      <p:to>
                                        <p:strVal val="1"/>
                                      </p:to>
                                    </p:set>
                                    <p:animEffect filter="image" prLst="opacity: 1">
                                      <p:cBhvr rctx="IE">
                                        <p:cTn id="302" dur="indefinite"/>
                                        <p:tgtEl>
                                          <p:spTgt spid="16">
                                            <p:txEl>
                                              <p:pRg st="0" end="0"/>
                                            </p:txEl>
                                          </p:spTgt>
                                        </p:tgtEl>
                                      </p:cBhvr>
                                    </p:animEffect>
                                  </p:childTnLst>
                                </p:cTn>
                              </p:par>
                              <p:par>
                                <p:cTn id="303" presetID="9" presetClass="emph" presetSubtype="0" grpId="2" nodeType="withEffect">
                                  <p:stCondLst>
                                    <p:cond delay="0"/>
                                  </p:stCondLst>
                                  <p:childTnLst>
                                    <p:set>
                                      <p:cBhvr>
                                        <p:cTn id="304" dur="indefinite"/>
                                        <p:tgtEl>
                                          <p:spTgt spid="18">
                                            <p:txEl>
                                              <p:pRg st="0" end="0"/>
                                            </p:txEl>
                                          </p:spTgt>
                                        </p:tgtEl>
                                        <p:attrNameLst>
                                          <p:attrName>style.opacity</p:attrName>
                                        </p:attrNameLst>
                                      </p:cBhvr>
                                      <p:to>
                                        <p:strVal val="1"/>
                                      </p:to>
                                    </p:set>
                                    <p:animEffect filter="image" prLst="opacity: 1">
                                      <p:cBhvr rctx="IE">
                                        <p:cTn id="305" dur="indefinite"/>
                                        <p:tgtEl>
                                          <p:spTgt spid="18">
                                            <p:txEl>
                                              <p:pRg st="0" end="0"/>
                                            </p:txEl>
                                          </p:spTgt>
                                        </p:tgtEl>
                                      </p:cBhvr>
                                    </p:animEffect>
                                  </p:childTnLst>
                                </p:cTn>
                              </p:par>
                              <p:par>
                                <p:cTn id="306" presetID="9" presetClass="emph" presetSubtype="0" grpId="2" nodeType="withEffect">
                                  <p:stCondLst>
                                    <p:cond delay="0"/>
                                  </p:stCondLst>
                                  <p:childTnLst>
                                    <p:set>
                                      <p:cBhvr>
                                        <p:cTn id="307" dur="indefinite"/>
                                        <p:tgtEl>
                                          <p:spTgt spid="56">
                                            <p:txEl>
                                              <p:pRg st="0" end="0"/>
                                            </p:txEl>
                                          </p:spTgt>
                                        </p:tgtEl>
                                        <p:attrNameLst>
                                          <p:attrName>style.opacity</p:attrName>
                                        </p:attrNameLst>
                                      </p:cBhvr>
                                      <p:to>
                                        <p:strVal val="1"/>
                                      </p:to>
                                    </p:set>
                                    <p:animEffect filter="image" prLst="opacity: 1">
                                      <p:cBhvr rctx="IE">
                                        <p:cTn id="308" dur="indefinite"/>
                                        <p:tgtEl>
                                          <p:spTgt spid="56">
                                            <p:txEl>
                                              <p:pRg st="0" end="0"/>
                                            </p:txEl>
                                          </p:spTgt>
                                        </p:tgtEl>
                                      </p:cBhvr>
                                    </p:animEffect>
                                  </p:childTnLst>
                                </p:cTn>
                              </p:par>
                              <p:par>
                                <p:cTn id="309" presetID="9" presetClass="emph" presetSubtype="0" grpId="2" nodeType="withEffect">
                                  <p:stCondLst>
                                    <p:cond delay="0"/>
                                  </p:stCondLst>
                                  <p:childTnLst>
                                    <p:set>
                                      <p:cBhvr>
                                        <p:cTn id="310" dur="indefinite"/>
                                        <p:tgtEl>
                                          <p:spTgt spid="57">
                                            <p:txEl>
                                              <p:pRg st="0" end="0"/>
                                            </p:txEl>
                                          </p:spTgt>
                                        </p:tgtEl>
                                        <p:attrNameLst>
                                          <p:attrName>style.opacity</p:attrName>
                                        </p:attrNameLst>
                                      </p:cBhvr>
                                      <p:to>
                                        <p:strVal val="1"/>
                                      </p:to>
                                    </p:set>
                                    <p:animEffect filter="image" prLst="opacity: 1">
                                      <p:cBhvr rctx="IE">
                                        <p:cTn id="311" dur="indefinite"/>
                                        <p:tgtEl>
                                          <p:spTgt spid="57">
                                            <p:txEl>
                                              <p:pRg st="0" end="0"/>
                                            </p:txEl>
                                          </p:spTgt>
                                        </p:tgtEl>
                                      </p:cBhvr>
                                    </p:animEffect>
                                  </p:childTnLst>
                                </p:cTn>
                              </p:par>
                              <p:par>
                                <p:cTn id="312" presetID="9" presetClass="emph" presetSubtype="0" grpId="2" nodeType="withEffect">
                                  <p:stCondLst>
                                    <p:cond delay="0"/>
                                  </p:stCondLst>
                                  <p:childTnLst>
                                    <p:set>
                                      <p:cBhvr>
                                        <p:cTn id="313" dur="indefinite"/>
                                        <p:tgtEl>
                                          <p:spTgt spid="58">
                                            <p:txEl>
                                              <p:pRg st="0" end="0"/>
                                            </p:txEl>
                                          </p:spTgt>
                                        </p:tgtEl>
                                        <p:attrNameLst>
                                          <p:attrName>style.opacity</p:attrName>
                                        </p:attrNameLst>
                                      </p:cBhvr>
                                      <p:to>
                                        <p:strVal val="1"/>
                                      </p:to>
                                    </p:set>
                                    <p:animEffect filter="image" prLst="opacity: 1">
                                      <p:cBhvr rctx="IE">
                                        <p:cTn id="314" dur="indefinite"/>
                                        <p:tgtEl>
                                          <p:spTgt spid="58">
                                            <p:txEl>
                                              <p:pRg st="0" end="0"/>
                                            </p:txEl>
                                          </p:spTgt>
                                        </p:tgtEl>
                                      </p:cBhvr>
                                    </p:animEffect>
                                  </p:childTnLst>
                                </p:cTn>
                              </p:par>
                              <p:par>
                                <p:cTn id="315" presetID="9" presetClass="emph" presetSubtype="0" grpId="2" nodeType="withEffect">
                                  <p:stCondLst>
                                    <p:cond delay="0"/>
                                  </p:stCondLst>
                                  <p:childTnLst>
                                    <p:set>
                                      <p:cBhvr>
                                        <p:cTn id="316" dur="indefinite"/>
                                        <p:tgtEl>
                                          <p:spTgt spid="59">
                                            <p:txEl>
                                              <p:pRg st="0" end="0"/>
                                            </p:txEl>
                                          </p:spTgt>
                                        </p:tgtEl>
                                        <p:attrNameLst>
                                          <p:attrName>style.opacity</p:attrName>
                                        </p:attrNameLst>
                                      </p:cBhvr>
                                      <p:to>
                                        <p:strVal val="1"/>
                                      </p:to>
                                    </p:set>
                                    <p:animEffect filter="image" prLst="opacity: 1">
                                      <p:cBhvr rctx="IE">
                                        <p:cTn id="317" dur="indefinite"/>
                                        <p:tgtEl>
                                          <p:spTgt spid="59">
                                            <p:txEl>
                                              <p:pRg st="0" end="0"/>
                                            </p:txEl>
                                          </p:spTgt>
                                        </p:tgtEl>
                                      </p:cBhvr>
                                    </p:animEffect>
                                  </p:childTnLst>
                                </p:cTn>
                              </p:par>
                              <p:par>
                                <p:cTn id="318" presetID="9" presetClass="emph" presetSubtype="0" grpId="2" nodeType="withEffect">
                                  <p:stCondLst>
                                    <p:cond delay="0"/>
                                  </p:stCondLst>
                                  <p:childTnLst>
                                    <p:set>
                                      <p:cBhvr>
                                        <p:cTn id="319" dur="indefinite"/>
                                        <p:tgtEl>
                                          <p:spTgt spid="765"/>
                                        </p:tgtEl>
                                        <p:attrNameLst>
                                          <p:attrName>style.opacity</p:attrName>
                                        </p:attrNameLst>
                                      </p:cBhvr>
                                      <p:to>
                                        <p:strVal val="1"/>
                                      </p:to>
                                    </p:set>
                                    <p:animEffect filter="image" prLst="opacity: 1">
                                      <p:cBhvr rctx="IE">
                                        <p:cTn id="320" dur="indefinite"/>
                                        <p:tgtEl>
                                          <p:spTgt spid="765"/>
                                        </p:tgtEl>
                                      </p:cBhvr>
                                    </p:animEffect>
                                  </p:childTnLst>
                                </p:cTn>
                              </p:par>
                              <p:par>
                                <p:cTn id="321" presetID="9" presetClass="emph" presetSubtype="0" grpId="2" nodeType="withEffect">
                                  <p:stCondLst>
                                    <p:cond delay="0"/>
                                  </p:stCondLst>
                                  <p:childTnLst>
                                    <p:set>
                                      <p:cBhvr>
                                        <p:cTn id="322" dur="indefinite"/>
                                        <p:tgtEl>
                                          <p:spTgt spid="766"/>
                                        </p:tgtEl>
                                        <p:attrNameLst>
                                          <p:attrName>style.opacity</p:attrName>
                                        </p:attrNameLst>
                                      </p:cBhvr>
                                      <p:to>
                                        <p:strVal val="1"/>
                                      </p:to>
                                    </p:set>
                                    <p:animEffect filter="image" prLst="opacity: 1">
                                      <p:cBhvr rctx="IE">
                                        <p:cTn id="323" dur="indefinite"/>
                                        <p:tgtEl>
                                          <p:spTgt spid="766"/>
                                        </p:tgtEl>
                                      </p:cBhvr>
                                    </p:animEffect>
                                  </p:childTnLst>
                                </p:cTn>
                              </p:par>
                              <p:par>
                                <p:cTn id="324" presetID="9" presetClass="emph" presetSubtype="0" grpId="2" nodeType="withEffect">
                                  <p:stCondLst>
                                    <p:cond delay="0"/>
                                  </p:stCondLst>
                                  <p:childTnLst>
                                    <p:set>
                                      <p:cBhvr>
                                        <p:cTn id="325" dur="indefinite"/>
                                        <p:tgtEl>
                                          <p:spTgt spid="310"/>
                                        </p:tgtEl>
                                        <p:attrNameLst>
                                          <p:attrName>style.opacity</p:attrName>
                                        </p:attrNameLst>
                                      </p:cBhvr>
                                      <p:to>
                                        <p:strVal val="1"/>
                                      </p:to>
                                    </p:set>
                                    <p:animEffect filter="image" prLst="opacity: 1">
                                      <p:cBhvr rctx="IE">
                                        <p:cTn id="326" dur="indefinite"/>
                                        <p:tgtEl>
                                          <p:spTgt spid="310"/>
                                        </p:tgtEl>
                                      </p:cBhvr>
                                    </p:animEffect>
                                  </p:childTnLst>
                                </p:cTn>
                              </p:par>
                              <p:par>
                                <p:cTn id="327" presetID="9" presetClass="emph" presetSubtype="0" grpId="2" nodeType="withEffect">
                                  <p:stCondLst>
                                    <p:cond delay="0"/>
                                  </p:stCondLst>
                                  <p:childTnLst>
                                    <p:set>
                                      <p:cBhvr>
                                        <p:cTn id="328" dur="indefinite"/>
                                        <p:tgtEl>
                                          <p:spTgt spid="728"/>
                                        </p:tgtEl>
                                        <p:attrNameLst>
                                          <p:attrName>style.opacity</p:attrName>
                                        </p:attrNameLst>
                                      </p:cBhvr>
                                      <p:to>
                                        <p:strVal val="1"/>
                                      </p:to>
                                    </p:set>
                                    <p:animEffect filter="image" prLst="opacity: 1">
                                      <p:cBhvr rctx="IE">
                                        <p:cTn id="329" dur="indefinite"/>
                                        <p:tgtEl>
                                          <p:spTgt spid="728"/>
                                        </p:tgtEl>
                                      </p:cBhvr>
                                    </p:animEffect>
                                  </p:childTnLst>
                                </p:cTn>
                              </p:par>
                              <p:par>
                                <p:cTn id="330" presetID="9" presetClass="emph" presetSubtype="0" grpId="2" nodeType="withEffect">
                                  <p:stCondLst>
                                    <p:cond delay="0"/>
                                  </p:stCondLst>
                                  <p:childTnLst>
                                    <p:set>
                                      <p:cBhvr>
                                        <p:cTn id="331" dur="indefinite"/>
                                        <p:tgtEl>
                                          <p:spTgt spid="729"/>
                                        </p:tgtEl>
                                        <p:attrNameLst>
                                          <p:attrName>style.opacity</p:attrName>
                                        </p:attrNameLst>
                                      </p:cBhvr>
                                      <p:to>
                                        <p:strVal val="1"/>
                                      </p:to>
                                    </p:set>
                                    <p:animEffect filter="image" prLst="opacity: 1">
                                      <p:cBhvr rctx="IE">
                                        <p:cTn id="332" dur="indefinite"/>
                                        <p:tgtEl>
                                          <p:spTgt spid="729"/>
                                        </p:tgtEl>
                                      </p:cBhvr>
                                    </p:animEffect>
                                  </p:childTnLst>
                                </p:cTn>
                              </p:par>
                              <p:par>
                                <p:cTn id="333" presetID="9" presetClass="emph" presetSubtype="0" grpId="2" nodeType="withEffect">
                                  <p:stCondLst>
                                    <p:cond delay="0"/>
                                  </p:stCondLst>
                                  <p:childTnLst>
                                    <p:set>
                                      <p:cBhvr>
                                        <p:cTn id="334" dur="indefinite"/>
                                        <p:tgtEl>
                                          <p:spTgt spid="730"/>
                                        </p:tgtEl>
                                        <p:attrNameLst>
                                          <p:attrName>style.opacity</p:attrName>
                                        </p:attrNameLst>
                                      </p:cBhvr>
                                      <p:to>
                                        <p:strVal val="1"/>
                                      </p:to>
                                    </p:set>
                                    <p:animEffect filter="image" prLst="opacity: 1">
                                      <p:cBhvr rctx="IE">
                                        <p:cTn id="335" dur="indefinite"/>
                                        <p:tgtEl>
                                          <p:spTgt spid="730"/>
                                        </p:tgtEl>
                                      </p:cBhvr>
                                    </p:animEffect>
                                  </p:childTnLst>
                                </p:cTn>
                              </p:par>
                              <p:par>
                                <p:cTn id="336" presetID="9" presetClass="emph" presetSubtype="0" grpId="2" nodeType="withEffect">
                                  <p:stCondLst>
                                    <p:cond delay="0"/>
                                  </p:stCondLst>
                                  <p:childTnLst>
                                    <p:set>
                                      <p:cBhvr>
                                        <p:cTn id="337" dur="indefinite"/>
                                        <p:tgtEl>
                                          <p:spTgt spid="731"/>
                                        </p:tgtEl>
                                        <p:attrNameLst>
                                          <p:attrName>style.opacity</p:attrName>
                                        </p:attrNameLst>
                                      </p:cBhvr>
                                      <p:to>
                                        <p:strVal val="1"/>
                                      </p:to>
                                    </p:set>
                                    <p:animEffect filter="image" prLst="opacity: 1">
                                      <p:cBhvr rctx="IE">
                                        <p:cTn id="338" dur="indefinite"/>
                                        <p:tgtEl>
                                          <p:spTgt spid="731"/>
                                        </p:tgtEl>
                                      </p:cBhvr>
                                    </p:animEffect>
                                  </p:childTnLst>
                                </p:cTn>
                              </p:par>
                              <p:par>
                                <p:cTn id="339" presetID="9" presetClass="emph" presetSubtype="0" grpId="2" nodeType="withEffect">
                                  <p:stCondLst>
                                    <p:cond delay="0"/>
                                  </p:stCondLst>
                                  <p:childTnLst>
                                    <p:set>
                                      <p:cBhvr>
                                        <p:cTn id="340" dur="indefinite"/>
                                        <p:tgtEl>
                                          <p:spTgt spid="312"/>
                                        </p:tgtEl>
                                        <p:attrNameLst>
                                          <p:attrName>style.opacity</p:attrName>
                                        </p:attrNameLst>
                                      </p:cBhvr>
                                      <p:to>
                                        <p:strVal val="1"/>
                                      </p:to>
                                    </p:set>
                                    <p:animEffect filter="image" prLst="opacity: 1">
                                      <p:cBhvr rctx="IE">
                                        <p:cTn id="341" dur="indefinite"/>
                                        <p:tgtEl>
                                          <p:spTgt spid="312"/>
                                        </p:tgtEl>
                                      </p:cBhvr>
                                    </p:animEffect>
                                  </p:childTnLst>
                                </p:cTn>
                              </p:par>
                              <p:par>
                                <p:cTn id="342" presetID="9" presetClass="emph" presetSubtype="0" grpId="2" nodeType="withEffect">
                                  <p:stCondLst>
                                    <p:cond delay="0"/>
                                  </p:stCondLst>
                                  <p:childTnLst>
                                    <p:set>
                                      <p:cBhvr>
                                        <p:cTn id="343" dur="indefinite"/>
                                        <p:tgtEl>
                                          <p:spTgt spid="93">
                                            <p:txEl>
                                              <p:pRg st="0" end="0"/>
                                            </p:txEl>
                                          </p:spTgt>
                                        </p:tgtEl>
                                        <p:attrNameLst>
                                          <p:attrName>style.opacity</p:attrName>
                                        </p:attrNameLst>
                                      </p:cBhvr>
                                      <p:to>
                                        <p:strVal val="1"/>
                                      </p:to>
                                    </p:set>
                                    <p:animEffect filter="image" prLst="opacity: 1">
                                      <p:cBhvr rctx="IE">
                                        <p:cTn id="344" dur="indefinite"/>
                                        <p:tgtEl>
                                          <p:spTgt spid="93">
                                            <p:txEl>
                                              <p:pRg st="0" end="0"/>
                                            </p:txEl>
                                          </p:spTgt>
                                        </p:tgtEl>
                                      </p:cBhvr>
                                    </p:animEffect>
                                  </p:childTnLst>
                                </p:cTn>
                              </p:par>
                              <p:par>
                                <p:cTn id="345" presetID="9" presetClass="emph" presetSubtype="0" grpId="2" nodeType="withEffect">
                                  <p:stCondLst>
                                    <p:cond delay="0"/>
                                  </p:stCondLst>
                                  <p:childTnLst>
                                    <p:set>
                                      <p:cBhvr>
                                        <p:cTn id="346" dur="indefinite"/>
                                        <p:tgtEl>
                                          <p:spTgt spid="94">
                                            <p:txEl>
                                              <p:pRg st="0" end="0"/>
                                            </p:txEl>
                                          </p:spTgt>
                                        </p:tgtEl>
                                        <p:attrNameLst>
                                          <p:attrName>style.opacity</p:attrName>
                                        </p:attrNameLst>
                                      </p:cBhvr>
                                      <p:to>
                                        <p:strVal val="1"/>
                                      </p:to>
                                    </p:set>
                                    <p:animEffect filter="image" prLst="opacity: 1">
                                      <p:cBhvr rctx="IE">
                                        <p:cTn id="347" dur="indefinite"/>
                                        <p:tgtEl>
                                          <p:spTgt spid="94">
                                            <p:txEl>
                                              <p:pRg st="0" end="0"/>
                                            </p:txEl>
                                          </p:spTgt>
                                        </p:tgtEl>
                                      </p:cBhvr>
                                    </p:animEffect>
                                  </p:childTnLst>
                                </p:cTn>
                              </p:par>
                              <p:par>
                                <p:cTn id="348" presetID="9" presetClass="emph" presetSubtype="0" grpId="2" nodeType="withEffect">
                                  <p:stCondLst>
                                    <p:cond delay="0"/>
                                  </p:stCondLst>
                                  <p:childTnLst>
                                    <p:set>
                                      <p:cBhvr>
                                        <p:cTn id="349" dur="indefinite"/>
                                        <p:tgtEl>
                                          <p:spTgt spid="2065">
                                            <p:txEl>
                                              <p:pRg st="0" end="0"/>
                                            </p:txEl>
                                          </p:spTgt>
                                        </p:tgtEl>
                                        <p:attrNameLst>
                                          <p:attrName>style.opacity</p:attrName>
                                        </p:attrNameLst>
                                      </p:cBhvr>
                                      <p:to>
                                        <p:strVal val="1"/>
                                      </p:to>
                                    </p:set>
                                    <p:animEffect filter="image" prLst="opacity: 1">
                                      <p:cBhvr rctx="IE">
                                        <p:cTn id="350" dur="indefinite"/>
                                        <p:tgtEl>
                                          <p:spTgt spid="2065">
                                            <p:txEl>
                                              <p:pRg st="0" end="0"/>
                                            </p:txEl>
                                          </p:spTgt>
                                        </p:tgtEl>
                                      </p:cBhvr>
                                    </p:animEffect>
                                  </p:childTnLst>
                                </p:cTn>
                              </p:par>
                              <p:par>
                                <p:cTn id="351" presetID="9" presetClass="emph" presetSubtype="0" grpId="2" nodeType="withEffect">
                                  <p:stCondLst>
                                    <p:cond delay="0"/>
                                  </p:stCondLst>
                                  <p:childTnLst>
                                    <p:set>
                                      <p:cBhvr>
                                        <p:cTn id="352" dur="indefinite"/>
                                        <p:tgtEl>
                                          <p:spTgt spid="2066">
                                            <p:txEl>
                                              <p:pRg st="0" end="0"/>
                                            </p:txEl>
                                          </p:spTgt>
                                        </p:tgtEl>
                                        <p:attrNameLst>
                                          <p:attrName>style.opacity</p:attrName>
                                        </p:attrNameLst>
                                      </p:cBhvr>
                                      <p:to>
                                        <p:strVal val="1"/>
                                      </p:to>
                                    </p:set>
                                    <p:animEffect filter="image" prLst="opacity: 1">
                                      <p:cBhvr rctx="IE">
                                        <p:cTn id="353" dur="indefinite"/>
                                        <p:tgtEl>
                                          <p:spTgt spid="2066">
                                            <p:txEl>
                                              <p:pRg st="0" end="0"/>
                                            </p:txEl>
                                          </p:spTgt>
                                        </p:tgtEl>
                                      </p:cBhvr>
                                    </p:animEffect>
                                  </p:childTnLst>
                                </p:cTn>
                              </p:par>
                              <p:par>
                                <p:cTn id="354" presetID="9" presetClass="emph" presetSubtype="0" nodeType="withEffect">
                                  <p:stCondLst>
                                    <p:cond delay="0"/>
                                  </p:stCondLst>
                                  <p:childTnLst>
                                    <p:set>
                                      <p:cBhvr>
                                        <p:cTn id="355" dur="indefinite"/>
                                        <p:tgtEl>
                                          <p:spTgt spid="95"/>
                                        </p:tgtEl>
                                        <p:attrNameLst>
                                          <p:attrName>style.opacity</p:attrName>
                                        </p:attrNameLst>
                                      </p:cBhvr>
                                      <p:to>
                                        <p:strVal val="1"/>
                                      </p:to>
                                    </p:set>
                                    <p:animEffect filter="image" prLst="opacity: 1">
                                      <p:cBhvr rctx="IE">
                                        <p:cTn id="356" dur="indefinite"/>
                                        <p:tgtEl>
                                          <p:spTgt spid="95"/>
                                        </p:tgtEl>
                                      </p:cBhvr>
                                    </p:animEffect>
                                  </p:childTnLst>
                                </p:cTn>
                              </p:par>
                              <p:par>
                                <p:cTn id="357" presetID="9" presetClass="emph" presetSubtype="0" nodeType="withEffect">
                                  <p:stCondLst>
                                    <p:cond delay="0"/>
                                  </p:stCondLst>
                                  <p:childTnLst>
                                    <p:set>
                                      <p:cBhvr>
                                        <p:cTn id="358" dur="indefinite"/>
                                        <p:tgtEl>
                                          <p:spTgt spid="102"/>
                                        </p:tgtEl>
                                        <p:attrNameLst>
                                          <p:attrName>style.opacity</p:attrName>
                                        </p:attrNameLst>
                                      </p:cBhvr>
                                      <p:to>
                                        <p:strVal val="1"/>
                                      </p:to>
                                    </p:set>
                                    <p:animEffect filter="image" prLst="opacity: 1">
                                      <p:cBhvr rctx="IE">
                                        <p:cTn id="359" dur="indefinite"/>
                                        <p:tgtEl>
                                          <p:spTgt spid="102"/>
                                        </p:tgtEl>
                                      </p:cBhvr>
                                    </p:animEffect>
                                  </p:childTnLst>
                                </p:cTn>
                              </p:par>
                              <p:par>
                                <p:cTn id="360" presetID="9" presetClass="emph" presetSubtype="0" nodeType="withEffect">
                                  <p:stCondLst>
                                    <p:cond delay="0"/>
                                  </p:stCondLst>
                                  <p:childTnLst>
                                    <p:set>
                                      <p:cBhvr>
                                        <p:cTn id="361" dur="indefinite"/>
                                        <p:tgtEl>
                                          <p:spTgt spid="113"/>
                                        </p:tgtEl>
                                        <p:attrNameLst>
                                          <p:attrName>style.opacity</p:attrName>
                                        </p:attrNameLst>
                                      </p:cBhvr>
                                      <p:to>
                                        <p:strVal val="1"/>
                                      </p:to>
                                    </p:set>
                                    <p:animEffect filter="image" prLst="opacity: 1">
                                      <p:cBhvr rctx="IE">
                                        <p:cTn id="362" dur="indefinite"/>
                                        <p:tgtEl>
                                          <p:spTgt spid="113"/>
                                        </p:tgtEl>
                                      </p:cBhvr>
                                    </p:animEffect>
                                  </p:childTnLst>
                                </p:cTn>
                              </p:par>
                              <p:par>
                                <p:cTn id="363" presetID="9" presetClass="emph" presetSubtype="0" nodeType="withEffect">
                                  <p:stCondLst>
                                    <p:cond delay="0"/>
                                  </p:stCondLst>
                                  <p:childTnLst>
                                    <p:set>
                                      <p:cBhvr>
                                        <p:cTn id="364" dur="indefinite"/>
                                        <p:tgtEl>
                                          <p:spTgt spid="122"/>
                                        </p:tgtEl>
                                        <p:attrNameLst>
                                          <p:attrName>style.opacity</p:attrName>
                                        </p:attrNameLst>
                                      </p:cBhvr>
                                      <p:to>
                                        <p:strVal val="1"/>
                                      </p:to>
                                    </p:set>
                                    <p:animEffect filter="image" prLst="opacity: 1">
                                      <p:cBhvr rctx="IE">
                                        <p:cTn id="365" dur="indefinite"/>
                                        <p:tgtEl>
                                          <p:spTgt spid="122"/>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78"/>
                                        </p:tgtEl>
                                        <p:attrNameLst>
                                          <p:attrName>style.visibility</p:attrName>
                                        </p:attrNameLst>
                                      </p:cBhvr>
                                      <p:to>
                                        <p:strVal val="visible"/>
                                      </p:to>
                                    </p:set>
                                    <p:animEffect transition="in" filter="fade">
                                      <p:cBhvr>
                                        <p:cTn id="368" dur="500"/>
                                        <p:tgtEl>
                                          <p:spTgt spid="178"/>
                                        </p:tgtEl>
                                      </p:cBhvr>
                                    </p:animEffect>
                                  </p:childTnLst>
                                </p:cTn>
                              </p:par>
                              <p:par>
                                <p:cTn id="369" presetID="9" presetClass="emph" presetSubtype="0" grpId="1" nodeType="withEffect">
                                  <p:stCondLst>
                                    <p:cond delay="0"/>
                                  </p:stCondLst>
                                  <p:childTnLst>
                                    <p:set>
                                      <p:cBhvr>
                                        <p:cTn id="370" dur="indefinite"/>
                                        <p:tgtEl>
                                          <p:spTgt spid="178"/>
                                        </p:tgtEl>
                                        <p:attrNameLst>
                                          <p:attrName>style.opacity</p:attrName>
                                        </p:attrNameLst>
                                      </p:cBhvr>
                                      <p:to>
                                        <p:strVal val="0.1"/>
                                      </p:to>
                                    </p:set>
                                    <p:animEffect filter="image" prLst="opacity: 0.1">
                                      <p:cBhvr rctx="IE">
                                        <p:cTn id="371" dur="indefinite"/>
                                        <p:tgtEl>
                                          <p:spTgt spid="178"/>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79"/>
                                        </p:tgtEl>
                                        <p:attrNameLst>
                                          <p:attrName>style.visibility</p:attrName>
                                        </p:attrNameLst>
                                      </p:cBhvr>
                                      <p:to>
                                        <p:strVal val="visible"/>
                                      </p:to>
                                    </p:set>
                                    <p:animEffect transition="in" filter="fade">
                                      <p:cBhvr>
                                        <p:cTn id="374" dur="500"/>
                                        <p:tgtEl>
                                          <p:spTgt spid="179"/>
                                        </p:tgtEl>
                                      </p:cBhvr>
                                    </p:animEffect>
                                  </p:childTnLst>
                                </p:cTn>
                              </p:par>
                              <p:par>
                                <p:cTn id="375" presetID="9" presetClass="emph" presetSubtype="0" grpId="1" nodeType="withEffect">
                                  <p:stCondLst>
                                    <p:cond delay="0"/>
                                  </p:stCondLst>
                                  <p:childTnLst>
                                    <p:set>
                                      <p:cBhvr>
                                        <p:cTn id="376" dur="indefinite"/>
                                        <p:tgtEl>
                                          <p:spTgt spid="179"/>
                                        </p:tgtEl>
                                        <p:attrNameLst>
                                          <p:attrName>style.opacity</p:attrName>
                                        </p:attrNameLst>
                                      </p:cBhvr>
                                      <p:to>
                                        <p:strVal val="0.1"/>
                                      </p:to>
                                    </p:set>
                                    <p:animEffect filter="image" prLst="opacity: 0.1">
                                      <p:cBhvr rctx="IE">
                                        <p:cTn id="377" dur="indefinite"/>
                                        <p:tgtEl>
                                          <p:spTgt spid="179"/>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0"/>
                                        </p:tgtEl>
                                        <p:attrNameLst>
                                          <p:attrName>style.visibility</p:attrName>
                                        </p:attrNameLst>
                                      </p:cBhvr>
                                      <p:to>
                                        <p:strVal val="visible"/>
                                      </p:to>
                                    </p:set>
                                    <p:animEffect transition="in" filter="fade">
                                      <p:cBhvr>
                                        <p:cTn id="380" dur="500"/>
                                        <p:tgtEl>
                                          <p:spTgt spid="180"/>
                                        </p:tgtEl>
                                      </p:cBhvr>
                                    </p:animEffect>
                                  </p:childTnLst>
                                </p:cTn>
                              </p:par>
                              <p:par>
                                <p:cTn id="381" presetID="9" presetClass="emph" presetSubtype="0" grpId="1" nodeType="withEffect">
                                  <p:stCondLst>
                                    <p:cond delay="0"/>
                                  </p:stCondLst>
                                  <p:childTnLst>
                                    <p:set>
                                      <p:cBhvr>
                                        <p:cTn id="382" dur="indefinite"/>
                                        <p:tgtEl>
                                          <p:spTgt spid="180"/>
                                        </p:tgtEl>
                                        <p:attrNameLst>
                                          <p:attrName>style.opacity</p:attrName>
                                        </p:attrNameLst>
                                      </p:cBhvr>
                                      <p:to>
                                        <p:strVal val="0.1"/>
                                      </p:to>
                                    </p:set>
                                    <p:animEffect filter="image" prLst="opacity: 0.1">
                                      <p:cBhvr rctx="IE">
                                        <p:cTn id="383" dur="indefinite"/>
                                        <p:tgtEl>
                                          <p:spTgt spid="180"/>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81"/>
                                        </p:tgtEl>
                                        <p:attrNameLst>
                                          <p:attrName>style.visibility</p:attrName>
                                        </p:attrNameLst>
                                      </p:cBhvr>
                                      <p:to>
                                        <p:strVal val="visible"/>
                                      </p:to>
                                    </p:set>
                                    <p:animEffect transition="in" filter="fade">
                                      <p:cBhvr>
                                        <p:cTn id="386" dur="500"/>
                                        <p:tgtEl>
                                          <p:spTgt spid="181"/>
                                        </p:tgtEl>
                                      </p:cBhvr>
                                    </p:animEffect>
                                  </p:childTnLst>
                                </p:cTn>
                              </p:par>
                              <p:par>
                                <p:cTn id="387" presetID="9" presetClass="emph" presetSubtype="0" grpId="1" nodeType="withEffect">
                                  <p:stCondLst>
                                    <p:cond delay="0"/>
                                  </p:stCondLst>
                                  <p:childTnLst>
                                    <p:set>
                                      <p:cBhvr>
                                        <p:cTn id="388" dur="indefinite"/>
                                        <p:tgtEl>
                                          <p:spTgt spid="181"/>
                                        </p:tgtEl>
                                        <p:attrNameLst>
                                          <p:attrName>style.opacity</p:attrName>
                                        </p:attrNameLst>
                                      </p:cBhvr>
                                      <p:to>
                                        <p:strVal val="0.1"/>
                                      </p:to>
                                    </p:set>
                                    <p:animEffect filter="image" prLst="opacity: 0.1">
                                      <p:cBhvr rctx="IE">
                                        <p:cTn id="389" dur="indefinite"/>
                                        <p:tgtEl>
                                          <p:spTgt spid="181"/>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82"/>
                                        </p:tgtEl>
                                        <p:attrNameLst>
                                          <p:attrName>style.visibility</p:attrName>
                                        </p:attrNameLst>
                                      </p:cBhvr>
                                      <p:to>
                                        <p:strVal val="visible"/>
                                      </p:to>
                                    </p:set>
                                    <p:animEffect transition="in" filter="fade">
                                      <p:cBhvr>
                                        <p:cTn id="392" dur="500"/>
                                        <p:tgtEl>
                                          <p:spTgt spid="182"/>
                                        </p:tgtEl>
                                      </p:cBhvr>
                                    </p:animEffect>
                                  </p:childTnLst>
                                </p:cTn>
                              </p:par>
                              <p:par>
                                <p:cTn id="393" presetID="9" presetClass="emph" presetSubtype="0" grpId="2" nodeType="withEffect">
                                  <p:stCondLst>
                                    <p:cond delay="0"/>
                                  </p:stCondLst>
                                  <p:childTnLst>
                                    <p:set>
                                      <p:cBhvr>
                                        <p:cTn id="394" dur="indefinite"/>
                                        <p:tgtEl>
                                          <p:spTgt spid="178"/>
                                        </p:tgtEl>
                                        <p:attrNameLst>
                                          <p:attrName>style.opacity</p:attrName>
                                        </p:attrNameLst>
                                      </p:cBhvr>
                                      <p:to>
                                        <p:strVal val="1"/>
                                      </p:to>
                                    </p:set>
                                    <p:animEffect filter="image" prLst="opacity: 1">
                                      <p:cBhvr rctx="IE">
                                        <p:cTn id="395" dur="indefinite"/>
                                        <p:tgtEl>
                                          <p:spTgt spid="178"/>
                                        </p:tgtEl>
                                      </p:cBhvr>
                                    </p:animEffect>
                                  </p:childTnLst>
                                </p:cTn>
                              </p:par>
                              <p:par>
                                <p:cTn id="396" presetID="9" presetClass="emph" presetSubtype="0" grpId="2" nodeType="withEffect">
                                  <p:stCondLst>
                                    <p:cond delay="0"/>
                                  </p:stCondLst>
                                  <p:childTnLst>
                                    <p:set>
                                      <p:cBhvr>
                                        <p:cTn id="397" dur="indefinite"/>
                                        <p:tgtEl>
                                          <p:spTgt spid="179"/>
                                        </p:tgtEl>
                                        <p:attrNameLst>
                                          <p:attrName>style.opacity</p:attrName>
                                        </p:attrNameLst>
                                      </p:cBhvr>
                                      <p:to>
                                        <p:strVal val="1"/>
                                      </p:to>
                                    </p:set>
                                    <p:animEffect filter="image" prLst="opacity: 1">
                                      <p:cBhvr rctx="IE">
                                        <p:cTn id="398" dur="indefinite"/>
                                        <p:tgtEl>
                                          <p:spTgt spid="179"/>
                                        </p:tgtEl>
                                      </p:cBhvr>
                                    </p:animEffect>
                                  </p:childTnLst>
                                </p:cTn>
                              </p:par>
                              <p:par>
                                <p:cTn id="399" presetID="9" presetClass="emph" presetSubtype="0" grpId="2" nodeType="withEffect">
                                  <p:stCondLst>
                                    <p:cond delay="0"/>
                                  </p:stCondLst>
                                  <p:childTnLst>
                                    <p:set>
                                      <p:cBhvr>
                                        <p:cTn id="400" dur="indefinite"/>
                                        <p:tgtEl>
                                          <p:spTgt spid="180"/>
                                        </p:tgtEl>
                                        <p:attrNameLst>
                                          <p:attrName>style.opacity</p:attrName>
                                        </p:attrNameLst>
                                      </p:cBhvr>
                                      <p:to>
                                        <p:strVal val="1"/>
                                      </p:to>
                                    </p:set>
                                    <p:animEffect filter="image" prLst="opacity: 1">
                                      <p:cBhvr rctx="IE">
                                        <p:cTn id="401" dur="indefinite"/>
                                        <p:tgtEl>
                                          <p:spTgt spid="180"/>
                                        </p:tgtEl>
                                      </p:cBhvr>
                                    </p:animEffect>
                                  </p:childTnLst>
                                </p:cTn>
                              </p:par>
                              <p:par>
                                <p:cTn id="402" presetID="9" presetClass="emph" presetSubtype="0" grpId="2" nodeType="withEffect">
                                  <p:stCondLst>
                                    <p:cond delay="0"/>
                                  </p:stCondLst>
                                  <p:childTnLst>
                                    <p:set>
                                      <p:cBhvr>
                                        <p:cTn id="403" dur="indefinite"/>
                                        <p:tgtEl>
                                          <p:spTgt spid="181"/>
                                        </p:tgtEl>
                                        <p:attrNameLst>
                                          <p:attrName>style.opacity</p:attrName>
                                        </p:attrNameLst>
                                      </p:cBhvr>
                                      <p:to>
                                        <p:strVal val="1"/>
                                      </p:to>
                                    </p:set>
                                    <p:animEffect filter="image" prLst="opacity: 1">
                                      <p:cBhvr rctx="IE">
                                        <p:cTn id="404" dur="indefinite"/>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8" grpId="1" animBg="1"/>
      <p:bldP spid="138" grpId="2" animBg="1"/>
      <p:bldP spid="139" grpId="0" animBg="1"/>
      <p:bldP spid="139" grpId="1" animBg="1"/>
      <p:bldP spid="139" grpId="2" animBg="1"/>
      <p:bldP spid="140" grpId="0" animBg="1"/>
      <p:bldP spid="140" grpId="1" animBg="1"/>
      <p:bldP spid="140" grpId="2" animBg="1"/>
      <p:bldP spid="141" grpId="0" animBg="1"/>
      <p:bldP spid="141" grpId="1" animBg="1"/>
      <p:bldP spid="141" grpId="2" animBg="1"/>
      <p:bldP spid="142" grpId="0" animBg="1"/>
      <p:bldP spid="173" grpId="0" animBg="1"/>
      <p:bldP spid="173" grpId="1" animBg="1"/>
      <p:bldP spid="173" grpId="2" animBg="1"/>
      <p:bldP spid="174" grpId="0" animBg="1"/>
      <p:bldP spid="174" grpId="1" animBg="1"/>
      <p:bldP spid="174" grpId="2" animBg="1"/>
      <p:bldP spid="175" grpId="0" animBg="1"/>
      <p:bldP spid="175" grpId="1" animBg="1"/>
      <p:bldP spid="175" grpId="2" animBg="1"/>
      <p:bldP spid="176" grpId="0" animBg="1"/>
      <p:bldP spid="176" grpId="1" animBg="1"/>
      <p:bldP spid="176" grpId="2" animBg="1"/>
      <p:bldP spid="177" grpId="0" animBg="1"/>
      <p:bldP spid="7" grpId="0" build="p"/>
      <p:bldP spid="7" grpId="1" build="p"/>
      <p:bldP spid="7" grpId="2" build="p"/>
      <p:bldP spid="12" grpId="0" build="p"/>
      <p:bldP spid="12" grpId="1" build="p"/>
      <p:bldP spid="12" grpId="2" build="p"/>
      <p:bldP spid="16" grpId="0" build="p"/>
      <p:bldP spid="16" grpId="1" build="p"/>
      <p:bldP spid="16" grpId="2" build="p"/>
      <p:bldP spid="18" grpId="0" build="p"/>
      <p:bldP spid="18" grpId="1" build="p"/>
      <p:bldP spid="18" grpId="2" build="p"/>
      <p:bldP spid="19" grpId="0" build="p"/>
      <p:bldP spid="56" grpId="0" build="p"/>
      <p:bldP spid="56" grpId="1" build="p"/>
      <p:bldP spid="56" grpId="2" build="p"/>
      <p:bldP spid="57" grpId="0" build="p"/>
      <p:bldP spid="57" grpId="1" build="p"/>
      <p:bldP spid="57" grpId="2" build="p"/>
      <p:bldP spid="58" grpId="0" build="p"/>
      <p:bldP spid="58" grpId="1" build="p"/>
      <p:bldP spid="58" grpId="2" build="p"/>
      <p:bldP spid="59" grpId="0" build="p"/>
      <p:bldP spid="59" grpId="1" build="p"/>
      <p:bldP spid="59" grpId="2" build="p"/>
      <p:bldP spid="60" grpId="0" build="p"/>
      <p:bldP spid="765" grpId="0"/>
      <p:bldP spid="765" grpId="1"/>
      <p:bldP spid="765" grpId="2"/>
      <p:bldP spid="766" grpId="0"/>
      <p:bldP spid="766" grpId="1"/>
      <p:bldP spid="766" grpId="2"/>
      <p:bldP spid="310" grpId="0"/>
      <p:bldP spid="310" grpId="1"/>
      <p:bldP spid="310" grpId="2"/>
      <p:bldP spid="311" grpId="0"/>
      <p:bldP spid="728" grpId="0"/>
      <p:bldP spid="728" grpId="1"/>
      <p:bldP spid="728" grpId="2"/>
      <p:bldP spid="729" grpId="0"/>
      <p:bldP spid="729" grpId="1"/>
      <p:bldP spid="729" grpId="2"/>
      <p:bldP spid="730" grpId="0"/>
      <p:bldP spid="730" grpId="1"/>
      <p:bldP spid="730" grpId="2"/>
      <p:bldP spid="731" grpId="0"/>
      <p:bldP spid="731" grpId="1"/>
      <p:bldP spid="731" grpId="2"/>
      <p:bldP spid="732" grpId="0"/>
      <p:bldP spid="312" grpId="0"/>
      <p:bldP spid="312" grpId="1"/>
      <p:bldP spid="312" grpId="2"/>
      <p:bldP spid="93" grpId="0" build="p"/>
      <p:bldP spid="93" grpId="1" build="p"/>
      <p:bldP spid="93" grpId="2" build="p"/>
      <p:bldP spid="94" grpId="0" build="p"/>
      <p:bldP spid="94" grpId="1" build="p"/>
      <p:bldP spid="94" grpId="2" build="p"/>
      <p:bldP spid="2065" grpId="0" build="p"/>
      <p:bldP spid="2065" grpId="1" build="p"/>
      <p:bldP spid="2065" grpId="2" build="p"/>
      <p:bldP spid="2066" grpId="0" build="p"/>
      <p:bldP spid="2066" grpId="1" build="p"/>
      <p:bldP spid="2066" grpId="2" build="p"/>
      <p:bldP spid="2067" grpId="0" build="p"/>
      <p:bldP spid="178" grpId="0" animBg="1"/>
      <p:bldP spid="178" grpId="1" animBg="1"/>
      <p:bldP spid="178" grpId="2" animBg="1"/>
      <p:bldP spid="179" grpId="0" animBg="1"/>
      <p:bldP spid="179" grpId="1" animBg="1"/>
      <p:bldP spid="179" grpId="2" animBg="1"/>
      <p:bldP spid="180" grpId="0" animBg="1"/>
      <p:bldP spid="180" grpId="1" animBg="1"/>
      <p:bldP spid="180" grpId="2" animBg="1"/>
      <p:bldP spid="181" grpId="0" animBg="1"/>
      <p:bldP spid="181" grpId="1" animBg="1"/>
      <p:bldP spid="181" grpId="2" animBg="1"/>
      <p:bldP spid="18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07" name="Rectangle 106">
            <a:extLst>
              <a:ext uri="{FF2B5EF4-FFF2-40B4-BE49-F238E27FC236}">
                <a16:creationId xmlns:a16="http://schemas.microsoft.com/office/drawing/2014/main" id="{496DBF34-4FA1-E645-93E5-D644153F6F0A}"/>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B28BD6AD-EEBD-DA44-84CD-AE3C5BE2F7E7}"/>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9" name="Rectangle 168">
            <a:extLst>
              <a:ext uri="{FF2B5EF4-FFF2-40B4-BE49-F238E27FC236}">
                <a16:creationId xmlns:a16="http://schemas.microsoft.com/office/drawing/2014/main" id="{5AE40C94-CE66-2A42-8035-AC1F0D5D632A}"/>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0" name="Rectangle 169">
            <a:extLst>
              <a:ext uri="{FF2B5EF4-FFF2-40B4-BE49-F238E27FC236}">
                <a16:creationId xmlns:a16="http://schemas.microsoft.com/office/drawing/2014/main" id="{88DC48E0-E65F-1449-BD96-A6480D24BFE2}"/>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1" name="Rectangle 170">
            <a:extLst>
              <a:ext uri="{FF2B5EF4-FFF2-40B4-BE49-F238E27FC236}">
                <a16:creationId xmlns:a16="http://schemas.microsoft.com/office/drawing/2014/main" id="{9DC6F53B-2432-274A-A57D-72F79B424D2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72" name="Shape 770">
            <a:extLst>
              <a:ext uri="{FF2B5EF4-FFF2-40B4-BE49-F238E27FC236}">
                <a16:creationId xmlns:a16="http://schemas.microsoft.com/office/drawing/2014/main" id="{83CA62C7-4E7B-EA46-A8C6-DB34C55D877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FCD9EB5-9940-7746-AF94-1A6B51250638}"/>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6C47D77D-4C85-344C-802B-4047406B8C8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5" name="Shape 770">
            <a:extLst>
              <a:ext uri="{FF2B5EF4-FFF2-40B4-BE49-F238E27FC236}">
                <a16:creationId xmlns:a16="http://schemas.microsoft.com/office/drawing/2014/main" id="{7935C8D9-3F6E-FA46-8223-EFA405FEF772}"/>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6" name="Shape 770">
            <a:extLst>
              <a:ext uri="{FF2B5EF4-FFF2-40B4-BE49-F238E27FC236}">
                <a16:creationId xmlns:a16="http://schemas.microsoft.com/office/drawing/2014/main" id="{201A171D-149C-BF4D-ABB5-5273E29C5C47}"/>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2" name="Freeform: Shape 57">
            <a:extLst>
              <a:ext uri="{FF2B5EF4-FFF2-40B4-BE49-F238E27FC236}">
                <a16:creationId xmlns:a16="http://schemas.microsoft.com/office/drawing/2014/main" id="{907C1591-FD19-4C4C-B297-C60BC295BD09}"/>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6">
            <a:extLst>
              <a:ext uri="{FF2B5EF4-FFF2-40B4-BE49-F238E27FC236}">
                <a16:creationId xmlns:a16="http://schemas.microsoft.com/office/drawing/2014/main" id="{D1C9BE21-B0FB-4942-BC78-CA003992FA97}"/>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4" name="Freeform: Shape 55">
            <a:extLst>
              <a:ext uri="{FF2B5EF4-FFF2-40B4-BE49-F238E27FC236}">
                <a16:creationId xmlns:a16="http://schemas.microsoft.com/office/drawing/2014/main" id="{C3E698FF-052B-1B4E-8E5D-9B2C29275D5D}"/>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5" name="Freeform: Shape 54">
            <a:extLst>
              <a:ext uri="{FF2B5EF4-FFF2-40B4-BE49-F238E27FC236}">
                <a16:creationId xmlns:a16="http://schemas.microsoft.com/office/drawing/2014/main" id="{92DBD909-4983-8240-A1EB-FD204BFA53AE}"/>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6" name="Freeform: Shape 53">
            <a:extLst>
              <a:ext uri="{FF2B5EF4-FFF2-40B4-BE49-F238E27FC236}">
                <a16:creationId xmlns:a16="http://schemas.microsoft.com/office/drawing/2014/main" id="{15F72E5D-9930-EA40-AF39-BDFD8AA379E6}"/>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26C63D73-06D2-4BD7-86C4-4A77A646E7D1}"/>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b="0" dirty="0">
                <a:sym typeface="Source Sans Pro"/>
              </a:rPr>
              <a:t>Content personalization</a:t>
            </a:r>
          </a:p>
        </p:txBody>
      </p:sp>
      <p:sp>
        <p:nvSpPr>
          <p:cNvPr id="8" name="Text Placeholder 7">
            <a:extLst>
              <a:ext uri="{FF2B5EF4-FFF2-40B4-BE49-F238E27FC236}">
                <a16:creationId xmlns:a16="http://schemas.microsoft.com/office/drawing/2014/main" id="{B2372ED4-BC2D-4AB7-ACF7-7BBF3C2775C8}"/>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b="0" dirty="0">
                <a:sym typeface="Source Sans Pro"/>
              </a:rPr>
              <a:t>Customer churn prevention</a:t>
            </a:r>
          </a:p>
        </p:txBody>
      </p:sp>
      <p:sp>
        <p:nvSpPr>
          <p:cNvPr id="9" name="Text Placeholder 8">
            <a:extLst>
              <a:ext uri="{FF2B5EF4-FFF2-40B4-BE49-F238E27FC236}">
                <a16:creationId xmlns:a16="http://schemas.microsoft.com/office/drawing/2014/main" id="{9B4423BF-D668-4D92-9499-E7F37C752076}"/>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b="0" dirty="0">
                <a:sym typeface="Source Sans Pro"/>
              </a:rPr>
              <a:t>Recommendation engine</a:t>
            </a:r>
          </a:p>
        </p:txBody>
      </p:sp>
      <p:sp>
        <p:nvSpPr>
          <p:cNvPr id="10" name="Text Placeholder 9">
            <a:extLst>
              <a:ext uri="{FF2B5EF4-FFF2-40B4-BE49-F238E27FC236}">
                <a16:creationId xmlns:a16="http://schemas.microsoft.com/office/drawing/2014/main" id="{AACEBC01-F1A6-44F4-8111-3BC84F708A2C}"/>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b="0" dirty="0">
                <a:sym typeface="Source Sans Pro"/>
              </a:rPr>
              <a:t>Predictive</a:t>
            </a:r>
            <a:br>
              <a:rPr lang="en-US" b="0" dirty="0">
                <a:sym typeface="Source Sans Pro"/>
              </a:rPr>
            </a:br>
            <a:r>
              <a:rPr lang="en-US" b="0" dirty="0">
                <a:sym typeface="Source Sans Pro"/>
              </a:rPr>
              <a:t>analytics</a:t>
            </a:r>
          </a:p>
        </p:txBody>
      </p:sp>
      <p:sp>
        <p:nvSpPr>
          <p:cNvPr id="11" name="Text Placeholder 10">
            <a:extLst>
              <a:ext uri="{FF2B5EF4-FFF2-40B4-BE49-F238E27FC236}">
                <a16:creationId xmlns:a16="http://schemas.microsoft.com/office/drawing/2014/main" id="{C7865D0F-7FF1-4CDB-B2DD-BE13FBE24B2D}"/>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b="0" dirty="0">
                <a:sym typeface="Source Sans Pro"/>
              </a:rPr>
              <a:t>Sentiment</a:t>
            </a:r>
            <a:br>
              <a:rPr lang="en-US" b="0" dirty="0">
                <a:sym typeface="Source Sans Pro"/>
              </a:rPr>
            </a:br>
            <a:r>
              <a:rPr lang="en-US" b="0" dirty="0">
                <a:sym typeface="Source Sans Pro"/>
              </a:rPr>
              <a:t>analysis</a:t>
            </a:r>
          </a:p>
        </p:txBody>
      </p:sp>
      <p:sp>
        <p:nvSpPr>
          <p:cNvPr id="777" name="Text Placeholder 776">
            <a:extLst>
              <a:ext uri="{FF2B5EF4-FFF2-40B4-BE49-F238E27FC236}">
                <a16:creationId xmlns:a16="http://schemas.microsoft.com/office/drawing/2014/main" id="{6ED2DE86-82BF-4C2B-BEA1-17961CCDB74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customer experience</a:t>
            </a:r>
          </a:p>
        </p:txBody>
      </p:sp>
      <p:sp>
        <p:nvSpPr>
          <p:cNvPr id="778" name="Text Placeholder 777">
            <a:extLst>
              <a:ext uri="{FF2B5EF4-FFF2-40B4-BE49-F238E27FC236}">
                <a16:creationId xmlns:a16="http://schemas.microsoft.com/office/drawing/2014/main" id="{C1FFC9FC-F2FD-4153-9CC1-0C93660F4D44}"/>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outcomes and increased revenue</a:t>
            </a:r>
          </a:p>
        </p:txBody>
      </p:sp>
      <p:sp>
        <p:nvSpPr>
          <p:cNvPr id="779" name="Text Placeholder 778">
            <a:extLst>
              <a:ext uri="{FF2B5EF4-FFF2-40B4-BE49-F238E27FC236}">
                <a16:creationId xmlns:a16="http://schemas.microsoft.com/office/drawing/2014/main" id="{A7D9E9A4-4E7D-473F-90A0-950E9A5B814C}"/>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Enhance user experience with machine learning</a:t>
            </a:r>
          </a:p>
        </p:txBody>
      </p:sp>
      <p:sp>
        <p:nvSpPr>
          <p:cNvPr id="780" name="Text Placeholder 779">
            <a:extLst>
              <a:ext uri="{FF2B5EF4-FFF2-40B4-BE49-F238E27FC236}">
                <a16:creationId xmlns:a16="http://schemas.microsoft.com/office/drawing/2014/main" id="{D9103A4A-DEB8-41D0-B1EC-3B0826AE402E}"/>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a:t>
            </a:r>
            <a:br>
              <a:rPr lang="en-US" b="0" dirty="0">
                <a:latin typeface="+mj-lt"/>
                <a:sym typeface="Source Sans Pro"/>
              </a:rPr>
            </a:br>
            <a:r>
              <a:rPr lang="en-US" b="0" dirty="0">
                <a:latin typeface="+mj-lt"/>
                <a:sym typeface="Source Sans Pro"/>
              </a:rPr>
              <a:t>analytics</a:t>
            </a:r>
            <a:br>
              <a:rPr lang="en-US" b="0" dirty="0">
                <a:latin typeface="+mj-lt"/>
                <a:sym typeface="Source Sans Pro"/>
              </a:rPr>
            </a:br>
            <a:r>
              <a:rPr lang="en-US" b="0" dirty="0">
                <a:latin typeface="+mj-lt"/>
                <a:sym typeface="Source Sans Pro"/>
              </a:rPr>
              <a:t>transforms growth</a:t>
            </a:r>
          </a:p>
        </p:txBody>
      </p:sp>
      <p:sp>
        <p:nvSpPr>
          <p:cNvPr id="781" name="Text Placeholder 780">
            <a:extLst>
              <a:ext uri="{FF2B5EF4-FFF2-40B4-BE49-F238E27FC236}">
                <a16:creationId xmlns:a16="http://schemas.microsoft.com/office/drawing/2014/main" id="{8199E4A6-2D88-48A3-A55E-1465E3B78962}"/>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engagement with machine learning</a:t>
            </a:r>
          </a:p>
        </p:txBody>
      </p:sp>
      <p:sp>
        <p:nvSpPr>
          <p:cNvPr id="708" name="Text Placeholder 707">
            <a:extLst>
              <a:ext uri="{FF2B5EF4-FFF2-40B4-BE49-F238E27FC236}">
                <a16:creationId xmlns:a16="http://schemas.microsoft.com/office/drawing/2014/main" id="{0E8A1834-807E-4719-AD49-ADAF8C7C95A6}"/>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View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sour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hannels </a:t>
            </a:r>
          </a:p>
        </p:txBody>
      </p:sp>
      <p:sp>
        <p:nvSpPr>
          <p:cNvPr id="709" name="Text Placeholder 708">
            <a:extLst>
              <a:ext uri="{FF2B5EF4-FFF2-40B4-BE49-F238E27FC236}">
                <a16:creationId xmlns:a16="http://schemas.microsoft.com/office/drawing/2014/main" id="{2DDE1400-F7CB-4FFF-B4C3-812D417B4C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distribu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 data</a:t>
            </a:r>
          </a:p>
        </p:txBody>
      </p:sp>
      <p:sp>
        <p:nvSpPr>
          <p:cNvPr id="710" name="Text Placeholder 709">
            <a:extLst>
              <a:ext uri="{FF2B5EF4-FFF2-40B4-BE49-F238E27FC236}">
                <a16:creationId xmlns:a16="http://schemas.microsoft.com/office/drawing/2014/main" id="{C4D8D6D9-FDE6-4630-9177-331C21D828C5}"/>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ubscrip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 </a:t>
            </a:r>
          </a:p>
        </p:txBody>
      </p:sp>
      <p:sp>
        <p:nvSpPr>
          <p:cNvPr id="711" name="Text Placeholder 710">
            <a:extLst>
              <a:ext uri="{FF2B5EF4-FFF2-40B4-BE49-F238E27FC236}">
                <a16:creationId xmlns:a16="http://schemas.microsoft.com/office/drawing/2014/main" id="{E8BEEA2B-E5F9-4347-B067-F99208D527A8}"/>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meta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atin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mmen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 activity</a:t>
            </a:r>
          </a:p>
        </p:txBody>
      </p:sp>
      <p:sp>
        <p:nvSpPr>
          <p:cNvPr id="712" name="Text Placeholder 711">
            <a:extLst>
              <a:ext uri="{FF2B5EF4-FFF2-40B4-BE49-F238E27FC236}">
                <a16:creationId xmlns:a16="http://schemas.microsoft.com/office/drawing/2014/main" id="{9FD702AE-F2C4-4A58-A1AA-8EEFD1CE4DBA}"/>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Personalized viewing and engagement experience</a:t>
            </a:r>
          </a:p>
          <a:p>
            <a:pPr>
              <a:lnSpc>
                <a:spcPct val="90000"/>
              </a:lnSpc>
              <a:spcAft>
                <a:spcPts val="0"/>
              </a:spcAft>
            </a:pPr>
            <a:r>
              <a:rPr lang="en-US" dirty="0">
                <a:sym typeface="Source Sans Pro Light"/>
              </a:rPr>
              <a:t>Click-path optimization</a:t>
            </a:r>
          </a:p>
          <a:p>
            <a:pPr>
              <a:lnSpc>
                <a:spcPct val="90000"/>
              </a:lnSpc>
              <a:spcAft>
                <a:spcPts val="0"/>
              </a:spcAft>
            </a:pPr>
            <a:r>
              <a:rPr lang="en-US" dirty="0">
                <a:sym typeface="Source Sans Pro"/>
              </a:rPr>
              <a:t>Next best content analysis</a:t>
            </a:r>
          </a:p>
          <a:p>
            <a:pPr>
              <a:lnSpc>
                <a:spcPct val="90000"/>
              </a:lnSpc>
              <a:spcAft>
                <a:spcPts val="0"/>
              </a:spcAft>
            </a:pPr>
            <a:r>
              <a:rPr lang="en-US" dirty="0">
                <a:sym typeface="Source Sans Pro Light"/>
              </a:rPr>
              <a:t>Improved real time</a:t>
            </a:r>
            <a:br>
              <a:rPr lang="en-US" dirty="0">
                <a:sym typeface="Source Sans Pro Light"/>
              </a:rPr>
            </a:br>
            <a:r>
              <a:rPr lang="en-US" dirty="0">
                <a:sym typeface="Source Sans Pro Light"/>
              </a:rPr>
              <a:t>ad targeting</a:t>
            </a:r>
          </a:p>
          <a:p>
            <a:pPr>
              <a:lnSpc>
                <a:spcPct val="90000"/>
              </a:lnSpc>
              <a:spcAft>
                <a:spcPts val="0"/>
              </a:spcAft>
            </a:pPr>
            <a:endParaRPr lang="en-US" dirty="0"/>
          </a:p>
        </p:txBody>
      </p:sp>
      <p:sp>
        <p:nvSpPr>
          <p:cNvPr id="713" name="Text Placeholder 712">
            <a:extLst>
              <a:ext uri="{FF2B5EF4-FFF2-40B4-BE49-F238E27FC236}">
                <a16:creationId xmlns:a16="http://schemas.microsoft.com/office/drawing/2014/main" id="{D2BFACB8-D8EC-4925-85D9-340BC81C2013}"/>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a:rPr>
              <a:t>Quality of service and operational efficiency</a:t>
            </a:r>
          </a:p>
          <a:p>
            <a:pPr>
              <a:lnSpc>
                <a:spcPct val="90000"/>
              </a:lnSpc>
              <a:spcAft>
                <a:spcPts val="0"/>
              </a:spcAft>
            </a:pPr>
            <a:r>
              <a:rPr lang="en-US" dirty="0">
                <a:sym typeface="Source Sans Pro Light"/>
              </a:rPr>
              <a:t>Market basket analysis</a:t>
            </a:r>
          </a:p>
          <a:p>
            <a:pPr>
              <a:lnSpc>
                <a:spcPct val="90000"/>
              </a:lnSpc>
              <a:spcAft>
                <a:spcPts val="0"/>
              </a:spcAft>
            </a:pPr>
            <a:r>
              <a:rPr lang="en-US" dirty="0">
                <a:sym typeface="Source Sans Pro Light"/>
              </a:rPr>
              <a:t>Customer behavior analysis</a:t>
            </a:r>
          </a:p>
          <a:p>
            <a:pPr>
              <a:lnSpc>
                <a:spcPct val="90000"/>
              </a:lnSpc>
              <a:spcAft>
                <a:spcPts val="0"/>
              </a:spcAft>
            </a:pPr>
            <a:r>
              <a:rPr lang="en-US" dirty="0">
                <a:sym typeface="Source Sans Pro Light"/>
              </a:rPr>
              <a:t>Click-through analysis</a:t>
            </a:r>
          </a:p>
          <a:p>
            <a:pPr>
              <a:lnSpc>
                <a:spcPct val="90000"/>
              </a:lnSpc>
              <a:spcAft>
                <a:spcPts val="0"/>
              </a:spcAft>
            </a:pPr>
            <a:endParaRPr lang="en-US" dirty="0"/>
          </a:p>
        </p:txBody>
      </p:sp>
      <p:sp>
        <p:nvSpPr>
          <p:cNvPr id="714" name="Text Placeholder 713">
            <a:extLst>
              <a:ext uri="{FF2B5EF4-FFF2-40B4-BE49-F238E27FC236}">
                <a16:creationId xmlns:a16="http://schemas.microsoft.com/office/drawing/2014/main" id="{4F664E99-D083-48B2-9FE1-01AFC34AC01F}"/>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Ad effectiveness</a:t>
            </a:r>
          </a:p>
          <a:p>
            <a:pPr>
              <a:lnSpc>
                <a:spcPct val="90000"/>
              </a:lnSpc>
              <a:spcAft>
                <a:spcPts val="0"/>
              </a:spcAft>
            </a:pPr>
            <a:r>
              <a:rPr lang="en-US" dirty="0">
                <a:sym typeface="Source Sans Pro Light"/>
              </a:rPr>
              <a:t>Content monetization</a:t>
            </a:r>
          </a:p>
          <a:p>
            <a:pPr>
              <a:lnSpc>
                <a:spcPct val="90000"/>
              </a:lnSpc>
              <a:spcAft>
                <a:spcPts val="0"/>
              </a:spcAft>
            </a:pPr>
            <a:r>
              <a:rPr lang="en-US" dirty="0">
                <a:sym typeface="Source Sans Pro Light"/>
              </a:rPr>
              <a:t>Fraud detection </a:t>
            </a:r>
          </a:p>
          <a:p>
            <a:pPr>
              <a:lnSpc>
                <a:spcPct val="90000"/>
              </a:lnSpc>
              <a:spcAft>
                <a:spcPts val="0"/>
              </a:spcAft>
            </a:pPr>
            <a:r>
              <a:rPr lang="en-US" dirty="0">
                <a:sym typeface="Source Sans Pro Light"/>
              </a:rPr>
              <a:t>Information-as-a-service</a:t>
            </a:r>
          </a:p>
          <a:p>
            <a:pPr>
              <a:lnSpc>
                <a:spcPct val="90000"/>
              </a:lnSpc>
              <a:spcAft>
                <a:spcPts val="0"/>
              </a:spcAft>
            </a:pPr>
            <a:r>
              <a:rPr lang="en-US" dirty="0">
                <a:sym typeface="Source Sans Pro Light"/>
              </a:rPr>
              <a:t>High value user engagement</a:t>
            </a:r>
          </a:p>
          <a:p>
            <a:pPr>
              <a:lnSpc>
                <a:spcPct val="90000"/>
              </a:lnSpc>
              <a:spcAft>
                <a:spcPts val="0"/>
              </a:spcAft>
            </a:pPr>
            <a:endParaRPr lang="en-US" dirty="0"/>
          </a:p>
        </p:txBody>
      </p:sp>
      <p:sp>
        <p:nvSpPr>
          <p:cNvPr id="715" name="Text Placeholder 714">
            <a:extLst>
              <a:ext uri="{FF2B5EF4-FFF2-40B4-BE49-F238E27FC236}">
                <a16:creationId xmlns:a16="http://schemas.microsoft.com/office/drawing/2014/main" id="{3CBAD9DC-2547-44BA-982B-D03AEB61F9B3}"/>
              </a:ext>
            </a:extLst>
          </p:cNvPr>
          <p:cNvSpPr>
            <a:spLocks noGrp="1"/>
          </p:cNvSpPr>
          <p:nvPr>
            <p:ph type="body" sz="quarter" idx="39"/>
          </p:nvPr>
        </p:nvSpPr>
        <p:spPr>
          <a:xfrm>
            <a:off x="7520214" y="4076371"/>
            <a:ext cx="1852613" cy="1585049"/>
          </a:xfrm>
        </p:spPr>
        <p:txBody>
          <a:bodyPr vert="horz" wrap="square" lIns="91440" tIns="45720" rIns="91440" bIns="45720" rtlCol="0">
            <a:spAutoFit/>
          </a:bodyPr>
          <a:lstStyle/>
          <a:p>
            <a:pPr>
              <a:lnSpc>
                <a:spcPct val="90000"/>
              </a:lnSpc>
              <a:spcAft>
                <a:spcPts val="0"/>
              </a:spcAft>
            </a:pPr>
            <a:r>
              <a:rPr lang="en-US" dirty="0">
                <a:sym typeface="Source Sans Pro"/>
              </a:rPr>
              <a:t>Predict audience interests</a:t>
            </a:r>
          </a:p>
          <a:p>
            <a:pPr>
              <a:lnSpc>
                <a:spcPct val="90000"/>
              </a:lnSpc>
              <a:spcAft>
                <a:spcPts val="0"/>
              </a:spcAft>
            </a:pPr>
            <a:r>
              <a:rPr lang="en-US" dirty="0">
                <a:sym typeface="Source Sans Pro Light"/>
              </a:rPr>
              <a:t>Network performance</a:t>
            </a:r>
            <a:br>
              <a:rPr lang="en-US" dirty="0">
                <a:sym typeface="Source Sans Pro Light"/>
              </a:rPr>
            </a:br>
            <a:r>
              <a:rPr lang="en-US" dirty="0">
                <a:sym typeface="Source Sans Pro Light"/>
              </a:rPr>
              <a:t>and optimization</a:t>
            </a:r>
          </a:p>
          <a:p>
            <a:pPr>
              <a:lnSpc>
                <a:spcPct val="90000"/>
              </a:lnSpc>
              <a:spcAft>
                <a:spcPts val="0"/>
              </a:spcAft>
            </a:pPr>
            <a:r>
              <a:rPr lang="en-US" dirty="0">
                <a:sym typeface="Source Sans Pro Light"/>
              </a:rPr>
              <a:t>Pricing predictions</a:t>
            </a:r>
          </a:p>
          <a:p>
            <a:pPr>
              <a:lnSpc>
                <a:spcPct val="90000"/>
              </a:lnSpc>
              <a:spcAft>
                <a:spcPts val="0"/>
              </a:spcAft>
            </a:pPr>
            <a:r>
              <a:rPr lang="en-US" dirty="0">
                <a:sym typeface="Source Sans Pro Light"/>
              </a:rPr>
              <a:t>Nielsen ratings and projections</a:t>
            </a:r>
          </a:p>
          <a:p>
            <a:pPr>
              <a:lnSpc>
                <a:spcPct val="90000"/>
              </a:lnSpc>
              <a:spcAft>
                <a:spcPts val="0"/>
              </a:spcAft>
            </a:pPr>
            <a:r>
              <a:rPr lang="en-US" dirty="0">
                <a:sym typeface="Source Sans Pro Light"/>
              </a:rPr>
              <a:t>Mobile spatial analytics</a:t>
            </a:r>
          </a:p>
          <a:p>
            <a:pPr>
              <a:lnSpc>
                <a:spcPct val="90000"/>
              </a:lnSpc>
              <a:spcAft>
                <a:spcPts val="0"/>
              </a:spcAft>
            </a:pPr>
            <a:endParaRPr lang="en-US" dirty="0"/>
          </a:p>
        </p:txBody>
      </p:sp>
      <p:sp>
        <p:nvSpPr>
          <p:cNvPr id="716" name="Text Placeholder 715">
            <a:extLst>
              <a:ext uri="{FF2B5EF4-FFF2-40B4-BE49-F238E27FC236}">
                <a16:creationId xmlns:a16="http://schemas.microsoft.com/office/drawing/2014/main" id="{AAA20E88-FCEB-43DA-8A1D-78CC24695BE3}"/>
              </a:ext>
            </a:extLst>
          </p:cNvPr>
          <p:cNvSpPr>
            <a:spLocks noGrp="1"/>
          </p:cNvSpPr>
          <p:nvPr>
            <p:ph type="body" sz="quarter" idx="40"/>
          </p:nvPr>
        </p:nvSpPr>
        <p:spPr>
          <a:xfrm>
            <a:off x="9876858"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Demand-elasticity</a:t>
            </a:r>
          </a:p>
          <a:p>
            <a:pPr>
              <a:lnSpc>
                <a:spcPct val="90000"/>
              </a:lnSpc>
              <a:spcAft>
                <a:spcPts val="0"/>
              </a:spcAft>
            </a:pPr>
            <a:r>
              <a:rPr lang="en-US" dirty="0">
                <a:sym typeface="Source Sans Pro Light"/>
              </a:rPr>
              <a:t>Social network analysis</a:t>
            </a:r>
          </a:p>
          <a:p>
            <a:pPr>
              <a:lnSpc>
                <a:spcPct val="90000"/>
              </a:lnSpc>
              <a:spcAft>
                <a:spcPts val="0"/>
              </a:spcAft>
            </a:pPr>
            <a:r>
              <a:rPr lang="en-US" dirty="0">
                <a:sym typeface="Source Sans Pro Light"/>
              </a:rPr>
              <a:t>Promotion events</a:t>
            </a:r>
            <a:br>
              <a:rPr lang="en-US" dirty="0">
                <a:sym typeface="Source Sans Pro Light"/>
              </a:rPr>
            </a:br>
            <a:r>
              <a:rPr lang="en-US" dirty="0">
                <a:sym typeface="Source Sans Pro Light"/>
              </a:rPr>
              <a:t>time-series analysis</a:t>
            </a:r>
          </a:p>
          <a:p>
            <a:pPr>
              <a:lnSpc>
                <a:spcPct val="90000"/>
              </a:lnSpc>
              <a:spcAft>
                <a:spcPts val="0"/>
              </a:spcAft>
            </a:pPr>
            <a:r>
              <a:rPr lang="en-US" dirty="0">
                <a:sym typeface="Source Sans Pro Light"/>
              </a:rPr>
              <a:t>Multi-channel marketing attribution</a:t>
            </a:r>
          </a:p>
          <a:p>
            <a:pPr>
              <a:lnSpc>
                <a:spcPct val="90000"/>
              </a:lnSpc>
              <a:spcAft>
                <a:spcPts val="0"/>
              </a:spcAft>
            </a:pPr>
            <a:endParaRPr lang="en-US" dirty="0"/>
          </a:p>
        </p:txBody>
      </p:sp>
      <p:sp>
        <p:nvSpPr>
          <p:cNvPr id="717" name="Text Placeholder 716">
            <a:extLst>
              <a:ext uri="{FF2B5EF4-FFF2-40B4-BE49-F238E27FC236}">
                <a16:creationId xmlns:a16="http://schemas.microsoft.com/office/drawing/2014/main" id="{B3D159C8-D83D-435B-B3EF-C4FCF0110B32}"/>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sumption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and de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ing campaign responses</a:t>
            </a:r>
          </a:p>
        </p:txBody>
      </p:sp>
      <p:sp>
        <p:nvSpPr>
          <p:cNvPr id="27" name="Text Placeholder 26">
            <a:extLst>
              <a:ext uri="{FF2B5EF4-FFF2-40B4-BE49-F238E27FC236}">
                <a16:creationId xmlns:a16="http://schemas.microsoft.com/office/drawing/2014/main" id="{5644077D-C85D-4232-B081-6F60CB9FB57B}"/>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Personalized recommendations</a:t>
            </a:r>
          </a:p>
          <a:p>
            <a:endParaRPr lang="en-US" dirty="0">
              <a:latin typeface="+mj-lt"/>
            </a:endParaRPr>
          </a:p>
        </p:txBody>
      </p:sp>
      <p:sp>
        <p:nvSpPr>
          <p:cNvPr id="28" name="Text Placeholder 27">
            <a:extLst>
              <a:ext uri="{FF2B5EF4-FFF2-40B4-BE49-F238E27FC236}">
                <a16:creationId xmlns:a16="http://schemas.microsoft.com/office/drawing/2014/main" id="{9CE38DBA-C509-4DBE-9B67-0DA6BE143A49}"/>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Effective</a:t>
            </a:r>
            <a:br>
              <a:rPr lang="en-US">
                <a:latin typeface="+mj-lt"/>
                <a:sym typeface="Source Sans Pro"/>
              </a:rPr>
            </a:br>
            <a:r>
              <a:rPr lang="en-US">
                <a:latin typeface="+mj-lt"/>
                <a:sym typeface="Source Sans Pro"/>
              </a:rPr>
              <a:t>customer retention</a:t>
            </a:r>
            <a:endParaRPr lang="en-US" dirty="0">
              <a:latin typeface="+mj-lt"/>
              <a:sym typeface="Source Sans Pro"/>
            </a:endParaRPr>
          </a:p>
        </p:txBody>
      </p:sp>
      <p:sp>
        <p:nvSpPr>
          <p:cNvPr id="718" name="Text Placeholder 717">
            <a:extLst>
              <a:ext uri="{FF2B5EF4-FFF2-40B4-BE49-F238E27FC236}">
                <a16:creationId xmlns:a16="http://schemas.microsoft.com/office/drawing/2014/main" id="{D7DBF904-B85D-4749-9FE5-4D212E73FA5E}"/>
              </a:ext>
            </a:extLst>
          </p:cNvPr>
          <p:cNvSpPr>
            <a:spLocks noGrp="1"/>
          </p:cNvSpPr>
          <p:nvPr>
            <p:ph type="body" sz="quarter" idx="44"/>
          </p:nvPr>
        </p:nvSpPr>
        <p:spPr/>
        <p:txBody>
          <a:bodyPr vert="horz" wrap="square" lIns="91440" tIns="45720" rIns="91440" bIns="45720" rtlCol="0">
            <a:spAutoFit/>
          </a:bodyPr>
          <a:lstStyle/>
          <a:p>
            <a:r>
              <a:rPr lang="en-US">
                <a:latin typeface="+mj-lt"/>
              </a:rPr>
              <a:t>Information</a:t>
            </a:r>
            <a:br>
              <a:rPr lang="en-US">
                <a:latin typeface="+mj-lt"/>
              </a:rPr>
            </a:br>
            <a:r>
              <a:rPr lang="en-US">
                <a:latin typeface="+mj-lt"/>
              </a:rPr>
              <a:t>optimization</a:t>
            </a:r>
            <a:endParaRPr lang="en-US" dirty="0">
              <a:latin typeface="+mj-lt"/>
            </a:endParaRPr>
          </a:p>
        </p:txBody>
      </p:sp>
      <p:sp>
        <p:nvSpPr>
          <p:cNvPr id="30" name="Text Placeholder 29">
            <a:extLst>
              <a:ext uri="{FF2B5EF4-FFF2-40B4-BE49-F238E27FC236}">
                <a16:creationId xmlns:a16="http://schemas.microsoft.com/office/drawing/2014/main" id="{8B086965-82D1-42F0-9AA5-DAA7F5BFFAD7}"/>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Inventory</a:t>
            </a:r>
            <a:br>
              <a:rPr lang="en-US">
                <a:latin typeface="+mj-lt"/>
                <a:sym typeface="Source Sans Pro"/>
              </a:rPr>
            </a:br>
            <a:r>
              <a:rPr lang="en-US">
                <a:latin typeface="+mj-lt"/>
                <a:sym typeface="Source Sans Pro"/>
              </a:rPr>
              <a:t>allocation</a:t>
            </a:r>
            <a:endParaRPr lang="en-US" dirty="0">
              <a:latin typeface="+mj-lt"/>
              <a:sym typeface="Source Sans Pro"/>
            </a:endParaRPr>
          </a:p>
        </p:txBody>
      </p:sp>
      <p:sp>
        <p:nvSpPr>
          <p:cNvPr id="31" name="Text Placeholder 30">
            <a:extLst>
              <a:ext uri="{FF2B5EF4-FFF2-40B4-BE49-F238E27FC236}">
                <a16:creationId xmlns:a16="http://schemas.microsoft.com/office/drawing/2014/main" id="{DF504D1B-E7B2-4657-8458-0FF3DA7DDB40}"/>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Consumer engagement analysis</a:t>
            </a:r>
            <a:endParaRPr lang="en-US" dirty="0">
              <a:latin typeface="+mj-lt"/>
              <a:sym typeface="Source Sans Pro"/>
            </a:endParaRPr>
          </a:p>
        </p:txBody>
      </p:sp>
      <p:sp>
        <p:nvSpPr>
          <p:cNvPr id="738" name="Shape 738"/>
          <p:cNvSpPr txBox="1">
            <a:spLocks noGrp="1"/>
          </p:cNvSpPr>
          <p:nvPr>
            <p:ph type="title"/>
          </p:nvPr>
        </p:nvSpPr>
        <p:spPr/>
        <p:txBody>
          <a:bodyPr vert="horz" wrap="square" lIns="0" tIns="164592" rIns="0" bIns="0" rtlCol="0" anchor="t">
            <a:noAutofit/>
          </a:bodyPr>
          <a:lstStyle/>
          <a:p>
            <a:r>
              <a:rPr lang="en-US" sz="3529" cap="none" spc="-150" dirty="0">
                <a:solidFill>
                  <a:srgbClr val="0078D7"/>
                </a:solidFill>
                <a:latin typeface="+mj-lt"/>
                <a:cs typeface="Segoe UI" pitchFamily="34" charset="0"/>
                <a:sym typeface="Source Sans Pro"/>
              </a:rPr>
              <a:t>Media and entertainment use cases</a:t>
            </a:r>
          </a:p>
        </p:txBody>
      </p:sp>
      <p:grpSp>
        <p:nvGrpSpPr>
          <p:cNvPr id="97" name="Group 96">
            <a:extLst>
              <a:ext uri="{FF2B5EF4-FFF2-40B4-BE49-F238E27FC236}">
                <a16:creationId xmlns:a16="http://schemas.microsoft.com/office/drawing/2014/main" id="{8471B12A-AB4A-42B9-B2F5-9A45313F5882}"/>
              </a:ext>
            </a:extLst>
          </p:cNvPr>
          <p:cNvGrpSpPr/>
          <p:nvPr/>
        </p:nvGrpSpPr>
        <p:grpSpPr>
          <a:xfrm>
            <a:off x="5940963" y="3060448"/>
            <a:ext cx="302425" cy="350343"/>
            <a:chOff x="7682678" y="3568950"/>
            <a:chExt cx="1278317" cy="1480857"/>
          </a:xfrm>
        </p:grpSpPr>
        <p:grpSp>
          <p:nvGrpSpPr>
            <p:cNvPr id="98" name="Group 97">
              <a:extLst>
                <a:ext uri="{FF2B5EF4-FFF2-40B4-BE49-F238E27FC236}">
                  <a16:creationId xmlns:a16="http://schemas.microsoft.com/office/drawing/2014/main" id="{2C0EB69C-A548-4F2C-BF65-037983C2E3C8}"/>
                </a:ext>
              </a:extLst>
            </p:cNvPr>
            <p:cNvGrpSpPr/>
            <p:nvPr/>
          </p:nvGrpSpPr>
          <p:grpSpPr>
            <a:xfrm>
              <a:off x="7828962" y="4132106"/>
              <a:ext cx="545756" cy="766540"/>
              <a:chOff x="7735005" y="4099729"/>
              <a:chExt cx="595834" cy="836877"/>
            </a:xfrm>
          </p:grpSpPr>
          <p:sp>
            <p:nvSpPr>
              <p:cNvPr id="101" name="Freeform 21">
                <a:extLst>
                  <a:ext uri="{FF2B5EF4-FFF2-40B4-BE49-F238E27FC236}">
                    <a16:creationId xmlns:a16="http://schemas.microsoft.com/office/drawing/2014/main" id="{77115577-3DAA-495A-9EBF-875F5E1BE655}"/>
                  </a:ext>
                </a:extLst>
              </p:cNvPr>
              <p:cNvSpPr>
                <a:spLocks/>
              </p:cNvSpPr>
              <p:nvPr/>
            </p:nvSpPr>
            <p:spPr bwMode="auto">
              <a:xfrm>
                <a:off x="7735005"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Freeform 22">
                <a:extLst>
                  <a:ext uri="{FF2B5EF4-FFF2-40B4-BE49-F238E27FC236}">
                    <a16:creationId xmlns:a16="http://schemas.microsoft.com/office/drawing/2014/main" id="{362D8BB7-45F8-4FEE-BBE0-AE34749A27A5}"/>
                  </a:ext>
                </a:extLst>
              </p:cNvPr>
              <p:cNvSpPr>
                <a:spLocks/>
              </p:cNvSpPr>
              <p:nvPr/>
            </p:nvSpPr>
            <p:spPr bwMode="auto">
              <a:xfrm>
                <a:off x="8095214"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24">
                <a:extLst>
                  <a:ext uri="{FF2B5EF4-FFF2-40B4-BE49-F238E27FC236}">
                    <a16:creationId xmlns:a16="http://schemas.microsoft.com/office/drawing/2014/main" id="{B0BBA1A5-CF51-41BC-8FB9-E9D11ED54899}"/>
                  </a:ext>
                </a:extLst>
              </p:cNvPr>
              <p:cNvSpPr>
                <a:spLocks/>
              </p:cNvSpPr>
              <p:nvPr/>
            </p:nvSpPr>
            <p:spPr bwMode="auto">
              <a:xfrm>
                <a:off x="7851463" y="4099729"/>
                <a:ext cx="127292" cy="195000"/>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25">
                <a:extLst>
                  <a:ext uri="{FF2B5EF4-FFF2-40B4-BE49-F238E27FC236}">
                    <a16:creationId xmlns:a16="http://schemas.microsoft.com/office/drawing/2014/main" id="{0B8D34FA-0F4C-46A5-B03C-F81FAC4E7F88}"/>
                  </a:ext>
                </a:extLst>
              </p:cNvPr>
              <p:cNvSpPr>
                <a:spLocks/>
              </p:cNvSpPr>
              <p:nvPr/>
            </p:nvSpPr>
            <p:spPr bwMode="auto">
              <a:xfrm>
                <a:off x="8211672" y="4099729"/>
                <a:ext cx="119167" cy="195000"/>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27">
                <a:extLst>
                  <a:ext uri="{FF2B5EF4-FFF2-40B4-BE49-F238E27FC236}">
                    <a16:creationId xmlns:a16="http://schemas.microsoft.com/office/drawing/2014/main" id="{C5BCEAB2-30CA-49B2-BDA4-434B500C1B71}"/>
                  </a:ext>
                </a:extLst>
              </p:cNvPr>
              <p:cNvSpPr>
                <a:spLocks/>
              </p:cNvSpPr>
              <p:nvPr/>
            </p:nvSpPr>
            <p:spPr bwMode="auto">
              <a:xfrm>
                <a:off x="7735005"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28">
                <a:extLst>
                  <a:ext uri="{FF2B5EF4-FFF2-40B4-BE49-F238E27FC236}">
                    <a16:creationId xmlns:a16="http://schemas.microsoft.com/office/drawing/2014/main" id="{50A29829-1981-4F5D-926A-7A2203F026AF}"/>
                  </a:ext>
                </a:extLst>
              </p:cNvPr>
              <p:cNvSpPr>
                <a:spLocks/>
              </p:cNvSpPr>
              <p:nvPr/>
            </p:nvSpPr>
            <p:spPr bwMode="auto">
              <a:xfrm>
                <a:off x="8095214"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0">
                <a:extLst>
                  <a:ext uri="{FF2B5EF4-FFF2-40B4-BE49-F238E27FC236}">
                    <a16:creationId xmlns:a16="http://schemas.microsoft.com/office/drawing/2014/main" id="{48F9BEA4-C5B1-49B4-8B78-B4198CD88AB9}"/>
                  </a:ext>
                </a:extLst>
              </p:cNvPr>
              <p:cNvSpPr>
                <a:spLocks/>
              </p:cNvSpPr>
              <p:nvPr/>
            </p:nvSpPr>
            <p:spPr bwMode="auto">
              <a:xfrm>
                <a:off x="7851463" y="4741606"/>
                <a:ext cx="127292" cy="195000"/>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1">
                <a:extLst>
                  <a:ext uri="{FF2B5EF4-FFF2-40B4-BE49-F238E27FC236}">
                    <a16:creationId xmlns:a16="http://schemas.microsoft.com/office/drawing/2014/main" id="{1A7D48C2-C11B-457B-A95E-B0B168693978}"/>
                  </a:ext>
                </a:extLst>
              </p:cNvPr>
              <p:cNvSpPr>
                <a:spLocks/>
              </p:cNvSpPr>
              <p:nvPr/>
            </p:nvSpPr>
            <p:spPr bwMode="auto">
              <a:xfrm>
                <a:off x="8211672" y="4741606"/>
                <a:ext cx="119167" cy="195000"/>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3">
                <a:extLst>
                  <a:ext uri="{FF2B5EF4-FFF2-40B4-BE49-F238E27FC236}">
                    <a16:creationId xmlns:a16="http://schemas.microsoft.com/office/drawing/2014/main" id="{921FE0B5-DD69-4445-8E30-A43BAA59E5DE}"/>
                  </a:ext>
                </a:extLst>
              </p:cNvPr>
              <p:cNvSpPr>
                <a:spLocks/>
              </p:cNvSpPr>
              <p:nvPr/>
            </p:nvSpPr>
            <p:spPr bwMode="auto">
              <a:xfrm>
                <a:off x="7978755"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4">
                <a:extLst>
                  <a:ext uri="{FF2B5EF4-FFF2-40B4-BE49-F238E27FC236}">
                    <a16:creationId xmlns:a16="http://schemas.microsoft.com/office/drawing/2014/main" id="{B7CB6162-4C99-4111-A4B3-7E17E7B4CB50}"/>
                  </a:ext>
                </a:extLst>
              </p:cNvPr>
              <p:cNvSpPr>
                <a:spLocks/>
              </p:cNvSpPr>
              <p:nvPr/>
            </p:nvSpPr>
            <p:spPr bwMode="auto">
              <a:xfrm>
                <a:off x="8330839"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Freeform 35">
                <a:extLst>
                  <a:ext uri="{FF2B5EF4-FFF2-40B4-BE49-F238E27FC236}">
                    <a16:creationId xmlns:a16="http://schemas.microsoft.com/office/drawing/2014/main" id="{DD9FB18B-E79B-4FE8-80B7-D2E37569D3E6}"/>
                  </a:ext>
                </a:extLst>
              </p:cNvPr>
              <p:cNvSpPr>
                <a:spLocks/>
              </p:cNvSpPr>
              <p:nvPr/>
            </p:nvSpPr>
            <p:spPr bwMode="auto">
              <a:xfrm>
                <a:off x="7735005" y="4430146"/>
                <a:ext cx="124584" cy="19229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Freeform 36">
                <a:extLst>
                  <a:ext uri="{FF2B5EF4-FFF2-40B4-BE49-F238E27FC236}">
                    <a16:creationId xmlns:a16="http://schemas.microsoft.com/office/drawing/2014/main" id="{0E39910E-8DC3-47E7-9E7C-6455538E326A}"/>
                  </a:ext>
                </a:extLst>
              </p:cNvPr>
              <p:cNvSpPr>
                <a:spLocks/>
              </p:cNvSpPr>
              <p:nvPr/>
            </p:nvSpPr>
            <p:spPr bwMode="auto">
              <a:xfrm>
                <a:off x="8095214" y="4430146"/>
                <a:ext cx="121875" cy="19229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99" name="Arc 98">
              <a:extLst>
                <a:ext uri="{FF2B5EF4-FFF2-40B4-BE49-F238E27FC236}">
                  <a16:creationId xmlns:a16="http://schemas.microsoft.com/office/drawing/2014/main" id="{C3B27522-19A3-4E5E-8F54-BFCCAC5F802E}"/>
                </a:ext>
              </a:extLst>
            </p:cNvPr>
            <p:cNvSpPr/>
            <p:nvPr/>
          </p:nvSpPr>
          <p:spPr bwMode="auto">
            <a:xfrm>
              <a:off x="8053457" y="3568950"/>
              <a:ext cx="907538" cy="907531"/>
            </a:xfrm>
            <a:prstGeom prst="arc">
              <a:avLst>
                <a:gd name="adj1" fmla="val 11796011"/>
                <a:gd name="adj2" fmla="val 5325615"/>
              </a:avLst>
            </a:prstGeom>
            <a:noFill/>
            <a:ln w="15875" cap="flat" cmpd="sng" algn="ctr">
              <a:solidFill>
                <a:schemeClr val="tx1"/>
              </a:solidFill>
              <a:prstDash val="solid"/>
              <a:round/>
              <a:headEnd type="oval" w="sm" len="sm"/>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F3F7539A-45DA-4668-9A28-14CFA01FF9EE}"/>
                </a:ext>
              </a:extLst>
            </p:cNvPr>
            <p:cNvSpPr/>
            <p:nvPr/>
          </p:nvSpPr>
          <p:spPr bwMode="auto">
            <a:xfrm>
              <a:off x="7682678" y="3746737"/>
              <a:ext cx="833941" cy="1303070"/>
            </a:xfrm>
            <a:custGeom>
              <a:avLst/>
              <a:gdLst>
                <a:gd name="connsiteX0" fmla="*/ 252904 w 833941"/>
                <a:gd name="connsiteY0" fmla="*/ 0 h 1303070"/>
                <a:gd name="connsiteX1" fmla="*/ 581038 w 833941"/>
                <a:gd name="connsiteY1" fmla="*/ 0 h 1303070"/>
                <a:gd name="connsiteX2" fmla="*/ 833941 w 833941"/>
                <a:gd name="connsiteY2" fmla="*/ 222090 h 1303070"/>
                <a:gd name="connsiteX3" fmla="*/ 833941 w 833941"/>
                <a:gd name="connsiteY3" fmla="*/ 1303070 h 1303070"/>
                <a:gd name="connsiteX4" fmla="*/ 0 w 833941"/>
                <a:gd name="connsiteY4" fmla="*/ 1303070 h 1303070"/>
                <a:gd name="connsiteX5" fmla="*/ 0 w 833941"/>
                <a:gd name="connsiteY5" fmla="*/ 222090 h 1303070"/>
                <a:gd name="connsiteX6" fmla="*/ 252904 w 833941"/>
                <a:gd name="connsiteY6" fmla="*/ 0 h 130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941" h="1303070">
                  <a:moveTo>
                    <a:pt x="252904" y="0"/>
                  </a:moveTo>
                  <a:lnTo>
                    <a:pt x="581038" y="0"/>
                  </a:lnTo>
                  <a:lnTo>
                    <a:pt x="833941" y="222090"/>
                  </a:lnTo>
                  <a:lnTo>
                    <a:pt x="833941" y="1303070"/>
                  </a:lnTo>
                  <a:lnTo>
                    <a:pt x="0" y="1303070"/>
                  </a:lnTo>
                  <a:lnTo>
                    <a:pt x="0" y="222090"/>
                  </a:lnTo>
                  <a:lnTo>
                    <a:pt x="252904" y="0"/>
                  </a:lnTo>
                  <a:close/>
                </a:path>
              </a:pathLst>
            </a:custGeom>
            <a:noFill/>
            <a:ln w="15875" cap="rnd">
              <a:solidFill>
                <a:schemeClr val="tx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821D31D2-23A8-4CBF-B5B8-CD980ADE55F9}"/>
              </a:ext>
            </a:extLst>
          </p:cNvPr>
          <p:cNvGrpSpPr/>
          <p:nvPr/>
        </p:nvGrpSpPr>
        <p:grpSpPr>
          <a:xfrm>
            <a:off x="3541109" y="3062683"/>
            <a:ext cx="406740" cy="345874"/>
            <a:chOff x="7053501" y="3597930"/>
            <a:chExt cx="815469" cy="693438"/>
          </a:xfrm>
        </p:grpSpPr>
        <p:sp>
          <p:nvSpPr>
            <p:cNvPr id="115" name="ShoppingCart_E7BF">
              <a:extLst>
                <a:ext uri="{FF2B5EF4-FFF2-40B4-BE49-F238E27FC236}">
                  <a16:creationId xmlns:a16="http://schemas.microsoft.com/office/drawing/2014/main" id="{D436C66B-DBAD-442E-862B-0720BADF27FD}"/>
                </a:ext>
              </a:extLst>
            </p:cNvPr>
            <p:cNvSpPr>
              <a:spLocks noChangeAspect="1" noEditPoints="1"/>
            </p:cNvSpPr>
            <p:nvPr/>
          </p:nvSpPr>
          <p:spPr bwMode="auto">
            <a:xfrm>
              <a:off x="7053501" y="3597930"/>
              <a:ext cx="815469" cy="69343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6" name="Freeform 5">
              <a:extLst>
                <a:ext uri="{FF2B5EF4-FFF2-40B4-BE49-F238E27FC236}">
                  <a16:creationId xmlns:a16="http://schemas.microsoft.com/office/drawing/2014/main" id="{85528BB4-5774-4AE3-A4C2-2380F82C5CDF}"/>
                </a:ext>
              </a:extLst>
            </p:cNvPr>
            <p:cNvSpPr>
              <a:spLocks noEditPoints="1"/>
            </p:cNvSpPr>
            <p:nvPr/>
          </p:nvSpPr>
          <p:spPr bwMode="auto">
            <a:xfrm>
              <a:off x="7437227" y="3762384"/>
              <a:ext cx="175969" cy="19661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EC51BDB6-36C7-4242-889F-92ABE58D6FC7}"/>
              </a:ext>
            </a:extLst>
          </p:cNvPr>
          <p:cNvGrpSpPr/>
          <p:nvPr/>
        </p:nvGrpSpPr>
        <p:grpSpPr>
          <a:xfrm>
            <a:off x="8166941" y="3060080"/>
            <a:ext cx="559158" cy="351078"/>
            <a:chOff x="8945115" y="3682264"/>
            <a:chExt cx="1334584" cy="837944"/>
          </a:xfrm>
        </p:grpSpPr>
        <p:grpSp>
          <p:nvGrpSpPr>
            <p:cNvPr id="118" name="Group 117">
              <a:extLst>
                <a:ext uri="{FF2B5EF4-FFF2-40B4-BE49-F238E27FC236}">
                  <a16:creationId xmlns:a16="http://schemas.microsoft.com/office/drawing/2014/main" id="{FF1AE3F1-584F-4A98-8971-82E87245D3C4}"/>
                </a:ext>
              </a:extLst>
            </p:cNvPr>
            <p:cNvGrpSpPr/>
            <p:nvPr/>
          </p:nvGrpSpPr>
          <p:grpSpPr>
            <a:xfrm>
              <a:off x="8945115" y="3682264"/>
              <a:ext cx="983639" cy="837944"/>
              <a:chOff x="3097731" y="3411002"/>
              <a:chExt cx="3912131" cy="3332680"/>
            </a:xfrm>
          </p:grpSpPr>
          <p:sp>
            <p:nvSpPr>
              <p:cNvPr id="125" name="Freeform: Shape 399">
                <a:extLst>
                  <a:ext uri="{FF2B5EF4-FFF2-40B4-BE49-F238E27FC236}">
                    <a16:creationId xmlns:a16="http://schemas.microsoft.com/office/drawing/2014/main" id="{B106E032-84F7-4958-A105-14EB7A4BEBC1}"/>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69C81B52-81BB-4F19-989C-0717157299DE}"/>
                  </a:ext>
                </a:extLst>
              </p:cNvPr>
              <p:cNvGrpSpPr/>
              <p:nvPr/>
            </p:nvGrpSpPr>
            <p:grpSpPr>
              <a:xfrm>
                <a:off x="3558863" y="3838170"/>
                <a:ext cx="2873016" cy="2905512"/>
                <a:chOff x="3440120" y="3859753"/>
                <a:chExt cx="2873016" cy="2905512"/>
              </a:xfrm>
            </p:grpSpPr>
            <p:sp>
              <p:nvSpPr>
                <p:cNvPr id="127" name="Freeform: Shape 935">
                  <a:extLst>
                    <a:ext uri="{FF2B5EF4-FFF2-40B4-BE49-F238E27FC236}">
                      <a16:creationId xmlns:a16="http://schemas.microsoft.com/office/drawing/2014/main" id="{054C236C-59EC-4F6C-8643-84CCFC74EA9C}"/>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8" name="Freeform: Shape 936">
                  <a:extLst>
                    <a:ext uri="{FF2B5EF4-FFF2-40B4-BE49-F238E27FC236}">
                      <a16:creationId xmlns:a16="http://schemas.microsoft.com/office/drawing/2014/main" id="{766C2FD1-CEA9-4207-A610-D0269BFC0EAD}"/>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9" name="Freeform: Shape 937">
                  <a:extLst>
                    <a:ext uri="{FF2B5EF4-FFF2-40B4-BE49-F238E27FC236}">
                      <a16:creationId xmlns:a16="http://schemas.microsoft.com/office/drawing/2014/main" id="{ACD16F27-DF46-4594-BCE0-98F8B195457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 name="Freeform: Shape 938">
                  <a:extLst>
                    <a:ext uri="{FF2B5EF4-FFF2-40B4-BE49-F238E27FC236}">
                      <a16:creationId xmlns:a16="http://schemas.microsoft.com/office/drawing/2014/main" id="{51964C39-D586-4042-97F7-9711C5949AD4}"/>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 name="Freeform: Shape 939">
                  <a:extLst>
                    <a:ext uri="{FF2B5EF4-FFF2-40B4-BE49-F238E27FC236}">
                      <a16:creationId xmlns:a16="http://schemas.microsoft.com/office/drawing/2014/main" id="{22468895-12B5-4315-A6C0-64064E3EDECA}"/>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Freeform: Shape 940">
                  <a:extLst>
                    <a:ext uri="{FF2B5EF4-FFF2-40B4-BE49-F238E27FC236}">
                      <a16:creationId xmlns:a16="http://schemas.microsoft.com/office/drawing/2014/main" id="{8B2014BE-1C32-4A56-86EA-F91D334616E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3" name="Freeform: Shape 941">
                  <a:extLst>
                    <a:ext uri="{FF2B5EF4-FFF2-40B4-BE49-F238E27FC236}">
                      <a16:creationId xmlns:a16="http://schemas.microsoft.com/office/drawing/2014/main" id="{2BA03435-C999-4A6D-AA26-DDDEDEBE9CC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4" name="Freeform: Shape 942">
                  <a:extLst>
                    <a:ext uri="{FF2B5EF4-FFF2-40B4-BE49-F238E27FC236}">
                      <a16:creationId xmlns:a16="http://schemas.microsoft.com/office/drawing/2014/main" id="{707D87A1-3DA6-4509-8C5B-D3E84D8F9C0B}"/>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5" name="Freeform: Shape 943">
                  <a:extLst>
                    <a:ext uri="{FF2B5EF4-FFF2-40B4-BE49-F238E27FC236}">
                      <a16:creationId xmlns:a16="http://schemas.microsoft.com/office/drawing/2014/main" id="{6BED5A1A-4531-4DC8-B7D0-A76230C1A803}"/>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6" name="Freeform: Shape 944">
                  <a:extLst>
                    <a:ext uri="{FF2B5EF4-FFF2-40B4-BE49-F238E27FC236}">
                      <a16:creationId xmlns:a16="http://schemas.microsoft.com/office/drawing/2014/main" id="{09D6AD53-53EF-4BFA-ABCA-A140643ED64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19" name="Group 118">
              <a:extLst>
                <a:ext uri="{FF2B5EF4-FFF2-40B4-BE49-F238E27FC236}">
                  <a16:creationId xmlns:a16="http://schemas.microsoft.com/office/drawing/2014/main" id="{AB4EFE08-DD3C-4F7F-A6F0-4DCE6E5A76EB}"/>
                </a:ext>
              </a:extLst>
            </p:cNvPr>
            <p:cNvGrpSpPr/>
            <p:nvPr/>
          </p:nvGrpSpPr>
          <p:grpSpPr>
            <a:xfrm>
              <a:off x="9721782" y="3922763"/>
              <a:ext cx="557917" cy="596697"/>
              <a:chOff x="9250363" y="2803525"/>
              <a:chExt cx="708025" cy="757238"/>
            </a:xfrm>
          </p:grpSpPr>
          <p:cxnSp>
            <p:nvCxnSpPr>
              <p:cNvPr id="120" name="Straight Connector 119">
                <a:extLst>
                  <a:ext uri="{FF2B5EF4-FFF2-40B4-BE49-F238E27FC236}">
                    <a16:creationId xmlns:a16="http://schemas.microsoft.com/office/drawing/2014/main" id="{19CA724B-4550-4C64-A1C6-A7159DE8D6E6}"/>
                  </a:ext>
                </a:extLst>
              </p:cNvPr>
              <p:cNvCxnSpPr>
                <a:cxnSpLocks/>
              </p:cNvCxnSpPr>
              <p:nvPr/>
            </p:nvCxnSpPr>
            <p:spPr>
              <a:xfrm>
                <a:off x="9250363" y="3409950"/>
                <a:ext cx="0" cy="1508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D544EF-A6F3-4208-B9A7-70D7E1817929}"/>
                  </a:ext>
                </a:extLst>
              </p:cNvPr>
              <p:cNvCxnSpPr>
                <a:cxnSpLocks/>
              </p:cNvCxnSpPr>
              <p:nvPr/>
            </p:nvCxnSpPr>
            <p:spPr>
              <a:xfrm>
                <a:off x="9427370" y="3257550"/>
                <a:ext cx="0" cy="3032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EA20162-C399-48C8-BEE4-4821332A8EA5}"/>
                  </a:ext>
                </a:extLst>
              </p:cNvPr>
              <p:cNvCxnSpPr>
                <a:cxnSpLocks/>
              </p:cNvCxnSpPr>
              <p:nvPr/>
            </p:nvCxnSpPr>
            <p:spPr>
              <a:xfrm>
                <a:off x="9604376" y="3106738"/>
                <a:ext cx="0" cy="4540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E87CDF2-60B8-433E-916E-2656995A0675}"/>
                  </a:ext>
                </a:extLst>
              </p:cNvPr>
              <p:cNvCxnSpPr>
                <a:cxnSpLocks/>
              </p:cNvCxnSpPr>
              <p:nvPr/>
            </p:nvCxnSpPr>
            <p:spPr>
              <a:xfrm>
                <a:off x="9781383" y="2954338"/>
                <a:ext cx="0" cy="6064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06D328B-4DBA-4545-89A1-45FFC5B92987}"/>
                  </a:ext>
                </a:extLst>
              </p:cNvPr>
              <p:cNvCxnSpPr>
                <a:cxnSpLocks/>
              </p:cNvCxnSpPr>
              <p:nvPr/>
            </p:nvCxnSpPr>
            <p:spPr>
              <a:xfrm flipV="1">
                <a:off x="9958388" y="2803525"/>
                <a:ext cx="0" cy="7572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7" name="Group 136">
            <a:extLst>
              <a:ext uri="{FF2B5EF4-FFF2-40B4-BE49-F238E27FC236}">
                <a16:creationId xmlns:a16="http://schemas.microsoft.com/office/drawing/2014/main" id="{0961354A-039F-4D70-B477-41504BEAC8FE}"/>
              </a:ext>
            </a:extLst>
          </p:cNvPr>
          <p:cNvGrpSpPr/>
          <p:nvPr/>
        </p:nvGrpSpPr>
        <p:grpSpPr>
          <a:xfrm>
            <a:off x="10572404" y="3058213"/>
            <a:ext cx="459647" cy="354813"/>
            <a:chOff x="1995052" y="4339012"/>
            <a:chExt cx="840681" cy="648942"/>
          </a:xfrm>
        </p:grpSpPr>
        <p:grpSp>
          <p:nvGrpSpPr>
            <p:cNvPr id="138" name="Group 137">
              <a:extLst>
                <a:ext uri="{FF2B5EF4-FFF2-40B4-BE49-F238E27FC236}">
                  <a16:creationId xmlns:a16="http://schemas.microsoft.com/office/drawing/2014/main" id="{67F52914-150F-4CAC-BE66-12A51EC6EDDC}"/>
                </a:ext>
              </a:extLst>
            </p:cNvPr>
            <p:cNvGrpSpPr/>
            <p:nvPr/>
          </p:nvGrpSpPr>
          <p:grpSpPr>
            <a:xfrm>
              <a:off x="2523833" y="4677320"/>
              <a:ext cx="311900" cy="310634"/>
              <a:chOff x="2774291" y="4335942"/>
              <a:chExt cx="311900" cy="310634"/>
            </a:xfrm>
          </p:grpSpPr>
          <p:sp>
            <p:nvSpPr>
              <p:cNvPr id="160" name="retail">
                <a:extLst>
                  <a:ext uri="{FF2B5EF4-FFF2-40B4-BE49-F238E27FC236}">
                    <a16:creationId xmlns:a16="http://schemas.microsoft.com/office/drawing/2014/main" id="{798AB8DD-FB29-4FA5-9356-4F47E7DC0864}"/>
                  </a:ext>
                </a:extLst>
              </p:cNvPr>
              <p:cNvSpPr>
                <a:spLocks noChangeAspect="1" noEditPoints="1"/>
              </p:cNvSpPr>
              <p:nvPr/>
            </p:nvSpPr>
            <p:spPr bwMode="auto">
              <a:xfrm>
                <a:off x="2848283" y="4369249"/>
                <a:ext cx="160131" cy="216360"/>
              </a:xfrm>
              <a:custGeom>
                <a:avLst/>
                <a:gdLst>
                  <a:gd name="T0" fmla="*/ 37 w 190"/>
                  <a:gd name="T1" fmla="*/ 105 h 259"/>
                  <a:gd name="T2" fmla="*/ 53 w 190"/>
                  <a:gd name="T3" fmla="*/ 89 h 259"/>
                  <a:gd name="T4" fmla="*/ 69 w 190"/>
                  <a:gd name="T5" fmla="*/ 105 h 259"/>
                  <a:gd name="T6" fmla="*/ 53 w 190"/>
                  <a:gd name="T7" fmla="*/ 121 h 259"/>
                  <a:gd name="T8" fmla="*/ 37 w 190"/>
                  <a:gd name="T9" fmla="*/ 105 h 259"/>
                  <a:gd name="T10" fmla="*/ 123 w 190"/>
                  <a:gd name="T11" fmla="*/ 105 h 259"/>
                  <a:gd name="T12" fmla="*/ 139 w 190"/>
                  <a:gd name="T13" fmla="*/ 121 h 259"/>
                  <a:gd name="T14" fmla="*/ 155 w 190"/>
                  <a:gd name="T15" fmla="*/ 105 h 259"/>
                  <a:gd name="T16" fmla="*/ 139 w 190"/>
                  <a:gd name="T17" fmla="*/ 89 h 259"/>
                  <a:gd name="T18" fmla="*/ 123 w 190"/>
                  <a:gd name="T19" fmla="*/ 105 h 259"/>
                  <a:gd name="T20" fmla="*/ 10 w 190"/>
                  <a:gd name="T21" fmla="*/ 74 h 259"/>
                  <a:gd name="T22" fmla="*/ 0 w 190"/>
                  <a:gd name="T23" fmla="*/ 259 h 259"/>
                  <a:gd name="T24" fmla="*/ 190 w 190"/>
                  <a:gd name="T25" fmla="*/ 259 h 259"/>
                  <a:gd name="T26" fmla="*/ 179 w 190"/>
                  <a:gd name="T27" fmla="*/ 74 h 259"/>
                  <a:gd name="T28" fmla="*/ 10 w 190"/>
                  <a:gd name="T29" fmla="*/ 74 h 259"/>
                  <a:gd name="T30" fmla="*/ 10 w 190"/>
                  <a:gd name="T31" fmla="*/ 74 h 259"/>
                  <a:gd name="T32" fmla="*/ 139 w 190"/>
                  <a:gd name="T33" fmla="*/ 89 h 259"/>
                  <a:gd name="T34" fmla="*/ 139 w 190"/>
                  <a:gd name="T35" fmla="*/ 35 h 259"/>
                  <a:gd name="T36" fmla="*/ 98 w 190"/>
                  <a:gd name="T37" fmla="*/ 0 h 259"/>
                  <a:gd name="T38" fmla="*/ 53 w 190"/>
                  <a:gd name="T39" fmla="*/ 34 h 259"/>
                  <a:gd name="T40" fmla="*/ 53 w 190"/>
                  <a:gd name="T41" fmla="*/ 8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259">
                    <a:moveTo>
                      <a:pt x="37" y="105"/>
                    </a:moveTo>
                    <a:cubicBezTo>
                      <a:pt x="37" y="96"/>
                      <a:pt x="44" y="89"/>
                      <a:pt x="53" y="89"/>
                    </a:cubicBezTo>
                    <a:cubicBezTo>
                      <a:pt x="61" y="89"/>
                      <a:pt x="69" y="96"/>
                      <a:pt x="69" y="105"/>
                    </a:cubicBezTo>
                    <a:cubicBezTo>
                      <a:pt x="69" y="114"/>
                      <a:pt x="61" y="121"/>
                      <a:pt x="53" y="121"/>
                    </a:cubicBezTo>
                    <a:cubicBezTo>
                      <a:pt x="44" y="121"/>
                      <a:pt x="37" y="114"/>
                      <a:pt x="37" y="105"/>
                    </a:cubicBezTo>
                    <a:close/>
                    <a:moveTo>
                      <a:pt x="123" y="105"/>
                    </a:moveTo>
                    <a:cubicBezTo>
                      <a:pt x="123" y="114"/>
                      <a:pt x="130" y="121"/>
                      <a:pt x="139" y="121"/>
                    </a:cubicBezTo>
                    <a:cubicBezTo>
                      <a:pt x="148" y="121"/>
                      <a:pt x="155" y="114"/>
                      <a:pt x="155" y="105"/>
                    </a:cubicBezTo>
                    <a:cubicBezTo>
                      <a:pt x="155" y="96"/>
                      <a:pt x="148" y="89"/>
                      <a:pt x="139" y="89"/>
                    </a:cubicBezTo>
                    <a:cubicBezTo>
                      <a:pt x="130" y="89"/>
                      <a:pt x="123" y="96"/>
                      <a:pt x="123" y="105"/>
                    </a:cubicBezTo>
                    <a:close/>
                    <a:moveTo>
                      <a:pt x="10" y="74"/>
                    </a:moveTo>
                    <a:cubicBezTo>
                      <a:pt x="0" y="259"/>
                      <a:pt x="0" y="259"/>
                      <a:pt x="0" y="259"/>
                    </a:cubicBezTo>
                    <a:cubicBezTo>
                      <a:pt x="190" y="259"/>
                      <a:pt x="190" y="259"/>
                      <a:pt x="190" y="259"/>
                    </a:cubicBezTo>
                    <a:cubicBezTo>
                      <a:pt x="179" y="74"/>
                      <a:pt x="179" y="74"/>
                      <a:pt x="179" y="74"/>
                    </a:cubicBezTo>
                    <a:cubicBezTo>
                      <a:pt x="10" y="74"/>
                      <a:pt x="10" y="74"/>
                      <a:pt x="10" y="74"/>
                    </a:cubicBezTo>
                    <a:cubicBezTo>
                      <a:pt x="10" y="74"/>
                      <a:pt x="10" y="74"/>
                      <a:pt x="10" y="74"/>
                    </a:cubicBezTo>
                    <a:close/>
                    <a:moveTo>
                      <a:pt x="139" y="89"/>
                    </a:moveTo>
                    <a:cubicBezTo>
                      <a:pt x="139" y="89"/>
                      <a:pt x="139" y="89"/>
                      <a:pt x="139" y="35"/>
                    </a:cubicBezTo>
                    <a:cubicBezTo>
                      <a:pt x="139" y="35"/>
                      <a:pt x="143" y="0"/>
                      <a:pt x="98" y="0"/>
                    </a:cubicBezTo>
                    <a:cubicBezTo>
                      <a:pt x="54" y="0"/>
                      <a:pt x="53" y="34"/>
                      <a:pt x="53" y="34"/>
                    </a:cubicBezTo>
                    <a:cubicBezTo>
                      <a:pt x="53" y="34"/>
                      <a:pt x="53" y="34"/>
                      <a:pt x="53" y="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61" name="Freeform 5">
                <a:extLst>
                  <a:ext uri="{FF2B5EF4-FFF2-40B4-BE49-F238E27FC236}">
                    <a16:creationId xmlns:a16="http://schemas.microsoft.com/office/drawing/2014/main" id="{4303BE8C-1B6D-44C6-A539-E3DF96064CE4}"/>
                  </a:ext>
                </a:extLst>
              </p:cNvPr>
              <p:cNvSpPr>
                <a:spLocks noEditPoints="1"/>
              </p:cNvSpPr>
              <p:nvPr/>
            </p:nvSpPr>
            <p:spPr bwMode="auto">
              <a:xfrm>
                <a:off x="2774291" y="4335942"/>
                <a:ext cx="311900" cy="310634"/>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9" name="Group 138">
              <a:extLst>
                <a:ext uri="{FF2B5EF4-FFF2-40B4-BE49-F238E27FC236}">
                  <a16:creationId xmlns:a16="http://schemas.microsoft.com/office/drawing/2014/main" id="{C2DF9902-9E08-44F7-BBAE-51FD32A0E6A7}"/>
                </a:ext>
              </a:extLst>
            </p:cNvPr>
            <p:cNvGrpSpPr/>
            <p:nvPr/>
          </p:nvGrpSpPr>
          <p:grpSpPr>
            <a:xfrm>
              <a:off x="2258806" y="4339012"/>
              <a:ext cx="311900" cy="310634"/>
              <a:chOff x="2942046" y="731757"/>
              <a:chExt cx="951188" cy="947326"/>
            </a:xfrm>
          </p:grpSpPr>
          <p:sp>
            <p:nvSpPr>
              <p:cNvPr id="158" name="Freeform 5">
                <a:extLst>
                  <a:ext uri="{FF2B5EF4-FFF2-40B4-BE49-F238E27FC236}">
                    <a16:creationId xmlns:a16="http://schemas.microsoft.com/office/drawing/2014/main" id="{F4CAA398-EB93-430A-9B4C-5A6729388D6F}"/>
                  </a:ext>
                </a:extLst>
              </p:cNvPr>
              <p:cNvSpPr>
                <a:spLocks noEditPoints="1"/>
              </p:cNvSpPr>
              <p:nvPr/>
            </p:nvSpPr>
            <p:spPr bwMode="auto">
              <a:xfrm>
                <a:off x="3132366" y="942949"/>
                <a:ext cx="570548"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9" name="Freeform 5">
                <a:extLst>
                  <a:ext uri="{FF2B5EF4-FFF2-40B4-BE49-F238E27FC236}">
                    <a16:creationId xmlns:a16="http://schemas.microsoft.com/office/drawing/2014/main" id="{2F8AF130-8899-4D68-8D73-998CE9EFC0AB}"/>
                  </a:ext>
                </a:extLst>
              </p:cNvPr>
              <p:cNvSpPr>
                <a:spLocks noEditPoints="1"/>
              </p:cNvSpPr>
              <p:nvPr/>
            </p:nvSpPr>
            <p:spPr bwMode="auto">
              <a:xfrm>
                <a:off x="2942046" y="73175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cxnSp>
          <p:nvCxnSpPr>
            <p:cNvPr id="140" name="Straight Connector 139">
              <a:extLst>
                <a:ext uri="{FF2B5EF4-FFF2-40B4-BE49-F238E27FC236}">
                  <a16:creationId xmlns:a16="http://schemas.microsoft.com/office/drawing/2014/main" id="{FCD9270A-5DFA-40A4-8D38-45ABA08793B6}"/>
                </a:ext>
              </a:extLst>
            </p:cNvPr>
            <p:cNvCxnSpPr>
              <a:cxnSpLocks/>
              <a:stCxn id="161" idx="1"/>
              <a:endCxn id="159" idx="5"/>
            </p:cNvCxnSpPr>
            <p:nvPr/>
          </p:nvCxnSpPr>
          <p:spPr>
            <a:xfrm flipH="1" flipV="1">
              <a:off x="2525029" y="4604155"/>
              <a:ext cx="44481" cy="1186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92195EE-36CE-4524-9216-04639CA3A3DA}"/>
                </a:ext>
              </a:extLst>
            </p:cNvPr>
            <p:cNvCxnSpPr>
              <a:cxnSpLocks/>
              <a:stCxn id="159" idx="3"/>
              <a:endCxn id="157" idx="7"/>
            </p:cNvCxnSpPr>
            <p:nvPr/>
          </p:nvCxnSpPr>
          <p:spPr>
            <a:xfrm flipH="1">
              <a:off x="2260189" y="4604155"/>
              <a:ext cx="44294" cy="11866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057FD151-B6F9-4A12-9E09-58F27DD0E140}"/>
                </a:ext>
              </a:extLst>
            </p:cNvPr>
            <p:cNvGrpSpPr/>
            <p:nvPr/>
          </p:nvGrpSpPr>
          <p:grpSpPr>
            <a:xfrm>
              <a:off x="1995052" y="4677329"/>
              <a:ext cx="310627" cy="310625"/>
              <a:chOff x="5857874" y="904874"/>
              <a:chExt cx="1641475" cy="1641475"/>
            </a:xfrm>
          </p:grpSpPr>
          <p:sp>
            <p:nvSpPr>
              <p:cNvPr id="144" name="Freeform 1060">
                <a:extLst>
                  <a:ext uri="{FF2B5EF4-FFF2-40B4-BE49-F238E27FC236}">
                    <a16:creationId xmlns:a16="http://schemas.microsoft.com/office/drawing/2014/main" id="{5B96EABC-F949-465F-BEF6-3ACD6B23DC6B}"/>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061">
                <a:extLst>
                  <a:ext uri="{FF2B5EF4-FFF2-40B4-BE49-F238E27FC236}">
                    <a16:creationId xmlns:a16="http://schemas.microsoft.com/office/drawing/2014/main" id="{9079549D-5871-461C-A32C-DD109B8F46D6}"/>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Freeform 1062">
                <a:extLst>
                  <a:ext uri="{FF2B5EF4-FFF2-40B4-BE49-F238E27FC236}">
                    <a16:creationId xmlns:a16="http://schemas.microsoft.com/office/drawing/2014/main" id="{34C8DB53-C798-4AC3-B0CC-DC37F1552EC4}"/>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3">
                <a:extLst>
                  <a:ext uri="{FF2B5EF4-FFF2-40B4-BE49-F238E27FC236}">
                    <a16:creationId xmlns:a16="http://schemas.microsoft.com/office/drawing/2014/main" id="{F7288459-2728-4B1E-B8FA-C4047FA6230C}"/>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8" name="Freeform 1064">
                <a:extLst>
                  <a:ext uri="{FF2B5EF4-FFF2-40B4-BE49-F238E27FC236}">
                    <a16:creationId xmlns:a16="http://schemas.microsoft.com/office/drawing/2014/main" id="{5EEA952B-E135-41FC-8083-64BA84B20438}"/>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9" name="Freeform 1065">
                <a:extLst>
                  <a:ext uri="{FF2B5EF4-FFF2-40B4-BE49-F238E27FC236}">
                    <a16:creationId xmlns:a16="http://schemas.microsoft.com/office/drawing/2014/main" id="{80FAA37D-60C4-4367-B246-4469D2D3641D}"/>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6">
                <a:extLst>
                  <a:ext uri="{FF2B5EF4-FFF2-40B4-BE49-F238E27FC236}">
                    <a16:creationId xmlns:a16="http://schemas.microsoft.com/office/drawing/2014/main" id="{EF7655D7-97D3-499C-8C2E-110EC57E2FCF}"/>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Freeform 22">
                <a:extLst>
                  <a:ext uri="{FF2B5EF4-FFF2-40B4-BE49-F238E27FC236}">
                    <a16:creationId xmlns:a16="http://schemas.microsoft.com/office/drawing/2014/main" id="{9F1AC913-FE41-4EDB-8BA4-3DD9DFB6C104}"/>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23">
                <a:extLst>
                  <a:ext uri="{FF2B5EF4-FFF2-40B4-BE49-F238E27FC236}">
                    <a16:creationId xmlns:a16="http://schemas.microsoft.com/office/drawing/2014/main" id="{EB0248B2-46CE-4C96-BDFB-69646044522A}"/>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28">
                <a:extLst>
                  <a:ext uri="{FF2B5EF4-FFF2-40B4-BE49-F238E27FC236}">
                    <a16:creationId xmlns:a16="http://schemas.microsoft.com/office/drawing/2014/main" id="{B5349460-7993-47F6-A592-599D29D52757}"/>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29">
                <a:extLst>
                  <a:ext uri="{FF2B5EF4-FFF2-40B4-BE49-F238E27FC236}">
                    <a16:creationId xmlns:a16="http://schemas.microsoft.com/office/drawing/2014/main" id="{BA114A02-EF03-46D6-A041-039DF4095B06}"/>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Freeform 33">
                <a:extLst>
                  <a:ext uri="{FF2B5EF4-FFF2-40B4-BE49-F238E27FC236}">
                    <a16:creationId xmlns:a16="http://schemas.microsoft.com/office/drawing/2014/main" id="{63FA4971-1080-4DC0-B322-D83ADCAFAB5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34">
                <a:extLst>
                  <a:ext uri="{FF2B5EF4-FFF2-40B4-BE49-F238E27FC236}">
                    <a16:creationId xmlns:a16="http://schemas.microsoft.com/office/drawing/2014/main" id="{1C5ED166-16DB-4C39-BF92-70498B3854AF}"/>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5AB55002-1C8E-4369-8B1A-DA3DDE6C3F50}"/>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43" name="Straight Connector 142">
              <a:extLst>
                <a:ext uri="{FF2B5EF4-FFF2-40B4-BE49-F238E27FC236}">
                  <a16:creationId xmlns:a16="http://schemas.microsoft.com/office/drawing/2014/main" id="{C8BE34D8-E7BE-47D6-A654-F887DD09B8D6}"/>
                </a:ext>
              </a:extLst>
            </p:cNvPr>
            <p:cNvCxnSpPr>
              <a:cxnSpLocks/>
              <a:stCxn id="161" idx="2"/>
              <a:endCxn id="157" idx="6"/>
            </p:cNvCxnSpPr>
            <p:nvPr/>
          </p:nvCxnSpPr>
          <p:spPr>
            <a:xfrm flipH="1">
              <a:off x="2305679" y="4832637"/>
              <a:ext cx="218154" cy="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02A9D30D-CDA1-4054-B69E-4D5E0606C8F6}"/>
              </a:ext>
            </a:extLst>
          </p:cNvPr>
          <p:cNvGrpSpPr/>
          <p:nvPr/>
        </p:nvGrpSpPr>
        <p:grpSpPr>
          <a:xfrm>
            <a:off x="1199735" y="3071567"/>
            <a:ext cx="373479" cy="328105"/>
            <a:chOff x="5058585" y="1578863"/>
            <a:chExt cx="677585" cy="595264"/>
          </a:xfrm>
        </p:grpSpPr>
        <p:sp>
          <p:nvSpPr>
            <p:cNvPr id="163" name="people_3">
              <a:extLst>
                <a:ext uri="{FF2B5EF4-FFF2-40B4-BE49-F238E27FC236}">
                  <a16:creationId xmlns:a16="http://schemas.microsoft.com/office/drawing/2014/main" id="{BF4E4A55-20BC-481E-BFB3-91B458185810}"/>
                </a:ext>
              </a:extLst>
            </p:cNvPr>
            <p:cNvSpPr>
              <a:spLocks noChangeAspect="1" noEditPoints="1"/>
            </p:cNvSpPr>
            <p:nvPr/>
          </p:nvSpPr>
          <p:spPr bwMode="auto">
            <a:xfrm>
              <a:off x="5058585" y="1663636"/>
              <a:ext cx="506440" cy="51049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EEFD524-47FE-443E-BC24-C25BDC3A82CB}"/>
                </a:ext>
              </a:extLst>
            </p:cNvPr>
            <p:cNvGrpSpPr/>
            <p:nvPr/>
          </p:nvGrpSpPr>
          <p:grpSpPr>
            <a:xfrm rot="13500000">
              <a:off x="5480253" y="1492491"/>
              <a:ext cx="169545" cy="342289"/>
              <a:chOff x="4575512" y="427612"/>
              <a:chExt cx="484632" cy="978408"/>
            </a:xfrm>
            <a:solidFill>
              <a:schemeClr val="bg1"/>
            </a:solidFill>
          </p:grpSpPr>
          <p:sp>
            <p:nvSpPr>
              <p:cNvPr id="165" name="Arrow: Pentagon 164">
                <a:extLst>
                  <a:ext uri="{FF2B5EF4-FFF2-40B4-BE49-F238E27FC236}">
                    <a16:creationId xmlns:a16="http://schemas.microsoft.com/office/drawing/2014/main" id="{34446684-9CAC-4463-9EC4-FD7BEC376416}"/>
                  </a:ext>
                </a:extLst>
              </p:cNvPr>
              <p:cNvSpPr/>
              <p:nvPr/>
            </p:nvSpPr>
            <p:spPr bwMode="auto">
              <a:xfrm rot="16200000">
                <a:off x="4328624" y="674500"/>
                <a:ext cx="978408" cy="484632"/>
              </a:xfrm>
              <a:prstGeom prst="homePlate">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6" name="Straight Connector 165">
                <a:extLst>
                  <a:ext uri="{FF2B5EF4-FFF2-40B4-BE49-F238E27FC236}">
                    <a16:creationId xmlns:a16="http://schemas.microsoft.com/office/drawing/2014/main" id="{E79124D2-5916-4BDA-AE8B-CD6B9638A039}"/>
                  </a:ext>
                </a:extLst>
              </p:cNvPr>
              <p:cNvCxnSpPr/>
              <p:nvPr/>
            </p:nvCxnSpPr>
            <p:spPr>
              <a:xfrm>
                <a:off x="4705445" y="542382"/>
                <a:ext cx="224766"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7803728-2450-46CE-8FBB-4C3BE65401A8}"/>
                  </a:ext>
                </a:extLst>
              </p:cNvPr>
              <p:cNvCxnSpPr>
                <a:cxnSpLocks/>
              </p:cNvCxnSpPr>
              <p:nvPr/>
            </p:nvCxnSpPr>
            <p:spPr>
              <a:xfrm>
                <a:off x="4575512" y="669433"/>
                <a:ext cx="484632"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87" name="Freeform 3">
            <a:extLst>
              <a:ext uri="{FF2B5EF4-FFF2-40B4-BE49-F238E27FC236}">
                <a16:creationId xmlns:a16="http://schemas.microsoft.com/office/drawing/2014/main" id="{1BBBD82F-F262-48FA-B8FD-4FCFFDD887AE}"/>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77">
            <a:extLst>
              <a:ext uri="{FF2B5EF4-FFF2-40B4-BE49-F238E27FC236}">
                <a16:creationId xmlns:a16="http://schemas.microsoft.com/office/drawing/2014/main" id="{9C6DEF0F-174E-463B-8170-053C3F424F0F}"/>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179">
            <a:extLst>
              <a:ext uri="{FF2B5EF4-FFF2-40B4-BE49-F238E27FC236}">
                <a16:creationId xmlns:a16="http://schemas.microsoft.com/office/drawing/2014/main" id="{E0E42B28-8534-4E4F-8613-6533DEA74547}"/>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0" name="Freeform 181">
            <a:extLst>
              <a:ext uri="{FF2B5EF4-FFF2-40B4-BE49-F238E27FC236}">
                <a16:creationId xmlns:a16="http://schemas.microsoft.com/office/drawing/2014/main" id="{EEA6760E-7FA6-451E-9844-31E288B51CBA}"/>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1" name="Freeform 183">
            <a:extLst>
              <a:ext uri="{FF2B5EF4-FFF2-40B4-BE49-F238E27FC236}">
                <a16:creationId xmlns:a16="http://schemas.microsoft.com/office/drawing/2014/main" id="{8952568F-420B-4A98-9F7A-3E3AD1D4C9D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0263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172"/>
                                        </p:tgtEl>
                                        <p:attrNameLst>
                                          <p:attrName>style.visibility</p:attrName>
                                        </p:attrNameLst>
                                      </p:cBhvr>
                                      <p:to>
                                        <p:strVal val="visible"/>
                                      </p:to>
                                    </p:set>
                                    <p:animEffect transition="in" filter="fade">
                                      <p:cBhvr>
                                        <p:cTn id="10" dur="500"/>
                                        <p:tgtEl>
                                          <p:spTgt spid="1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2"/>
                                        </p:tgtEl>
                                        <p:attrNameLst>
                                          <p:attrName>style.visibility</p:attrName>
                                        </p:attrNameLst>
                                      </p:cBhvr>
                                      <p:to>
                                        <p:strVal val="visible"/>
                                      </p:to>
                                    </p:set>
                                    <p:animEffect transition="in" filter="fade">
                                      <p:cBhvr>
                                        <p:cTn id="13" dur="500"/>
                                        <p:tgtEl>
                                          <p:spTgt spid="18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77">
                                            <p:txEl>
                                              <p:pRg st="0" end="0"/>
                                            </p:txEl>
                                          </p:spTgt>
                                        </p:tgtEl>
                                        <p:attrNameLst>
                                          <p:attrName>style.visibility</p:attrName>
                                        </p:attrNameLst>
                                      </p:cBhvr>
                                      <p:to>
                                        <p:strVal val="visible"/>
                                      </p:to>
                                    </p:set>
                                    <p:animEffect transition="in" filter="fade">
                                      <p:cBhvr>
                                        <p:cTn id="19" dur="500"/>
                                        <p:tgtEl>
                                          <p:spTgt spid="777">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8"/>
                                        </p:tgtEl>
                                        <p:attrNameLst>
                                          <p:attrName>style.visibility</p:attrName>
                                        </p:attrNameLst>
                                      </p:cBhvr>
                                      <p:to>
                                        <p:strVal val="visible"/>
                                      </p:to>
                                    </p:set>
                                    <p:animEffect transition="in" filter="fade">
                                      <p:cBhvr>
                                        <p:cTn id="22" dur="500"/>
                                        <p:tgtEl>
                                          <p:spTgt spid="70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12"/>
                                        </p:tgtEl>
                                        <p:attrNameLst>
                                          <p:attrName>style.visibility</p:attrName>
                                        </p:attrNameLst>
                                      </p:cBhvr>
                                      <p:to>
                                        <p:strVal val="visible"/>
                                      </p:to>
                                    </p:set>
                                    <p:animEffect transition="in" filter="fade">
                                      <p:cBhvr>
                                        <p:cTn id="25" dur="500"/>
                                        <p:tgtEl>
                                          <p:spTgt spid="7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
                                            <p:txEl>
                                              <p:pRg st="0" end="0"/>
                                            </p:txEl>
                                          </p:spTgt>
                                        </p:tgtEl>
                                        <p:attrNameLst>
                                          <p:attrName>style.visibility</p:attrName>
                                        </p:attrNameLst>
                                      </p:cBhvr>
                                      <p:to>
                                        <p:strVal val="visible"/>
                                      </p:to>
                                    </p:set>
                                    <p:animEffect transition="in" filter="fade">
                                      <p:cBhvr>
                                        <p:cTn id="28" dur="500"/>
                                        <p:tgtEl>
                                          <p:spTgt spid="27">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62"/>
                                        </p:tgtEl>
                                        <p:attrNameLst>
                                          <p:attrName>style.visibility</p:attrName>
                                        </p:attrNameLst>
                                      </p:cBhvr>
                                      <p:to>
                                        <p:strVal val="visible"/>
                                      </p:to>
                                    </p:set>
                                    <p:animEffect transition="in" filter="fade">
                                      <p:cBhvr>
                                        <p:cTn id="31" dur="500"/>
                                        <p:tgtEl>
                                          <p:spTgt spid="16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07"/>
                                        </p:tgtEl>
                                        <p:attrNameLst>
                                          <p:attrName>style.opacity</p:attrName>
                                        </p:attrNameLst>
                                      </p:cBhvr>
                                      <p:to>
                                        <p:strVal val="0.1"/>
                                      </p:to>
                                    </p:set>
                                    <p:animEffect filter="image" prLst="opacity: 0.1">
                                      <p:cBhvr rctx="IE">
                                        <p:cTn id="36" dur="indefinite"/>
                                        <p:tgtEl>
                                          <p:spTgt spid="107"/>
                                        </p:tgtEl>
                                      </p:cBhvr>
                                    </p:animEffect>
                                  </p:childTnLst>
                                </p:cTn>
                              </p:par>
                              <p:par>
                                <p:cTn id="37" presetID="9" presetClass="emph" presetSubtype="0" nodeType="withEffect">
                                  <p:stCondLst>
                                    <p:cond delay="0"/>
                                  </p:stCondLst>
                                  <p:childTnLst>
                                    <p:set>
                                      <p:cBhvr>
                                        <p:cTn id="38" dur="indefinite"/>
                                        <p:tgtEl>
                                          <p:spTgt spid="172"/>
                                        </p:tgtEl>
                                        <p:attrNameLst>
                                          <p:attrName>style.opacity</p:attrName>
                                        </p:attrNameLst>
                                      </p:cBhvr>
                                      <p:to>
                                        <p:strVal val="0.1"/>
                                      </p:to>
                                    </p:set>
                                    <p:animEffect filter="image" prLst="opacity: 0.1">
                                      <p:cBhvr rctx="IE">
                                        <p:cTn id="39" dur="indefinite"/>
                                        <p:tgtEl>
                                          <p:spTgt spid="172"/>
                                        </p:tgtEl>
                                      </p:cBhvr>
                                    </p:animEffect>
                                  </p:childTnLst>
                                </p:cTn>
                              </p:par>
                              <p:par>
                                <p:cTn id="40" presetID="9" presetClass="emph" presetSubtype="0" grpId="1" nodeType="withEffect">
                                  <p:stCondLst>
                                    <p:cond delay="0"/>
                                  </p:stCondLst>
                                  <p:childTnLst>
                                    <p:set>
                                      <p:cBhvr>
                                        <p:cTn id="41" dur="indefinite"/>
                                        <p:tgtEl>
                                          <p:spTgt spid="182"/>
                                        </p:tgtEl>
                                        <p:attrNameLst>
                                          <p:attrName>style.opacity</p:attrName>
                                        </p:attrNameLst>
                                      </p:cBhvr>
                                      <p:to>
                                        <p:strVal val="0.1"/>
                                      </p:to>
                                    </p:set>
                                    <p:animEffect filter="image" prLst="opacity: 0.1">
                                      <p:cBhvr rctx="IE">
                                        <p:cTn id="42" dur="indefinite"/>
                                        <p:tgtEl>
                                          <p:spTgt spid="182"/>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777">
                                            <p:txEl>
                                              <p:pRg st="0" end="0"/>
                                            </p:txEl>
                                          </p:spTgt>
                                        </p:tgtEl>
                                        <p:attrNameLst>
                                          <p:attrName>style.opacity</p:attrName>
                                        </p:attrNameLst>
                                      </p:cBhvr>
                                      <p:to>
                                        <p:strVal val="0.1"/>
                                      </p:to>
                                    </p:set>
                                    <p:animEffect filter="image" prLst="opacity: 0.1">
                                      <p:cBhvr rctx="IE">
                                        <p:cTn id="48" dur="indefinite"/>
                                        <p:tgtEl>
                                          <p:spTgt spid="777">
                                            <p:txEl>
                                              <p:pRg st="0" end="0"/>
                                            </p:txEl>
                                          </p:spTgt>
                                        </p:tgtEl>
                                      </p:cBhvr>
                                    </p:animEffect>
                                  </p:childTnLst>
                                </p:cTn>
                              </p:par>
                              <p:par>
                                <p:cTn id="49" presetID="9" presetClass="emph" presetSubtype="0" grpId="1" nodeType="withEffect">
                                  <p:stCondLst>
                                    <p:cond delay="0"/>
                                  </p:stCondLst>
                                  <p:childTnLst>
                                    <p:set>
                                      <p:cBhvr>
                                        <p:cTn id="50" dur="indefinite"/>
                                        <p:tgtEl>
                                          <p:spTgt spid="708"/>
                                        </p:tgtEl>
                                        <p:attrNameLst>
                                          <p:attrName>style.opacity</p:attrName>
                                        </p:attrNameLst>
                                      </p:cBhvr>
                                      <p:to>
                                        <p:strVal val="0.1"/>
                                      </p:to>
                                    </p:set>
                                    <p:animEffect filter="image" prLst="opacity: 0.1">
                                      <p:cBhvr rctx="IE">
                                        <p:cTn id="51" dur="indefinite"/>
                                        <p:tgtEl>
                                          <p:spTgt spid="708"/>
                                        </p:tgtEl>
                                      </p:cBhvr>
                                    </p:animEffect>
                                  </p:childTnLst>
                                </p:cTn>
                              </p:par>
                              <p:par>
                                <p:cTn id="52" presetID="9" presetClass="emph" presetSubtype="0" grpId="1" nodeType="withEffect">
                                  <p:stCondLst>
                                    <p:cond delay="0"/>
                                  </p:stCondLst>
                                  <p:childTnLst>
                                    <p:set>
                                      <p:cBhvr>
                                        <p:cTn id="53" dur="indefinite"/>
                                        <p:tgtEl>
                                          <p:spTgt spid="712"/>
                                        </p:tgtEl>
                                        <p:attrNameLst>
                                          <p:attrName>style.opacity</p:attrName>
                                        </p:attrNameLst>
                                      </p:cBhvr>
                                      <p:to>
                                        <p:strVal val="0.1"/>
                                      </p:to>
                                    </p:set>
                                    <p:animEffect filter="image" prLst="opacity: 0.1">
                                      <p:cBhvr rctx="IE">
                                        <p:cTn id="54" dur="indefinite"/>
                                        <p:tgtEl>
                                          <p:spTgt spid="712"/>
                                        </p:tgtEl>
                                      </p:cBhvr>
                                    </p:animEffect>
                                  </p:childTnLst>
                                </p:cTn>
                              </p:par>
                              <p:par>
                                <p:cTn id="55" presetID="9" presetClass="emph" presetSubtype="0" grpId="1" nodeType="withEffect">
                                  <p:stCondLst>
                                    <p:cond delay="0"/>
                                  </p:stCondLst>
                                  <p:childTnLst>
                                    <p:set>
                                      <p:cBhvr>
                                        <p:cTn id="56" dur="indefinite"/>
                                        <p:tgtEl>
                                          <p:spTgt spid="27">
                                            <p:txEl>
                                              <p:pRg st="0" end="0"/>
                                            </p:txEl>
                                          </p:spTgt>
                                        </p:tgtEl>
                                        <p:attrNameLst>
                                          <p:attrName>style.opacity</p:attrName>
                                        </p:attrNameLst>
                                      </p:cBhvr>
                                      <p:to>
                                        <p:strVal val="0.1"/>
                                      </p:to>
                                    </p:set>
                                    <p:animEffect filter="image" prLst="opacity: 0.1">
                                      <p:cBhvr rctx="IE">
                                        <p:cTn id="57" dur="indefinite"/>
                                        <p:tgtEl>
                                          <p:spTgt spid="27">
                                            <p:txEl>
                                              <p:pRg st="0" end="0"/>
                                            </p:txEl>
                                          </p:spTgt>
                                        </p:tgtEl>
                                      </p:cBhvr>
                                    </p:animEffect>
                                  </p:childTnLst>
                                </p:cTn>
                              </p:par>
                              <p:par>
                                <p:cTn id="58" presetID="9" presetClass="emph" presetSubtype="0" nodeType="withEffect">
                                  <p:stCondLst>
                                    <p:cond delay="0"/>
                                  </p:stCondLst>
                                  <p:childTnLst>
                                    <p:set>
                                      <p:cBhvr>
                                        <p:cTn id="59" dur="indefinite"/>
                                        <p:tgtEl>
                                          <p:spTgt spid="162"/>
                                        </p:tgtEl>
                                        <p:attrNameLst>
                                          <p:attrName>style.opacity</p:attrName>
                                        </p:attrNameLst>
                                      </p:cBhvr>
                                      <p:to>
                                        <p:strVal val="0.1"/>
                                      </p:to>
                                    </p:set>
                                    <p:animEffect filter="image" prLst="opacity: 0.1">
                                      <p:cBhvr rctx="IE">
                                        <p:cTn id="60" dur="indefinite"/>
                                        <p:tgtEl>
                                          <p:spTgt spid="16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8"/>
                                        </p:tgtEl>
                                        <p:attrNameLst>
                                          <p:attrName>style.visibility</p:attrName>
                                        </p:attrNameLst>
                                      </p:cBhvr>
                                      <p:to>
                                        <p:strVal val="visible"/>
                                      </p:to>
                                    </p:set>
                                    <p:animEffect transition="in" filter="fade">
                                      <p:cBhvr>
                                        <p:cTn id="63" dur="500"/>
                                        <p:tgtEl>
                                          <p:spTgt spid="168"/>
                                        </p:tgtEl>
                                      </p:cBhvr>
                                    </p:animEffect>
                                  </p:childTnLst>
                                </p:cTn>
                              </p:par>
                              <p:par>
                                <p:cTn id="64" presetID="10" presetClass="entr" presetSubtype="0" fill="hold" nodeType="withEffect">
                                  <p:stCondLst>
                                    <p:cond delay="0"/>
                                  </p:stCondLst>
                                  <p:childTnLst>
                                    <p:set>
                                      <p:cBhvr>
                                        <p:cTn id="65" dur="1" fill="hold">
                                          <p:stCondLst>
                                            <p:cond delay="0"/>
                                          </p:stCondLst>
                                        </p:cTn>
                                        <p:tgtEl>
                                          <p:spTgt spid="173"/>
                                        </p:tgtEl>
                                        <p:attrNameLst>
                                          <p:attrName>style.visibility</p:attrName>
                                        </p:attrNameLst>
                                      </p:cBhvr>
                                      <p:to>
                                        <p:strVal val="visible"/>
                                      </p:to>
                                    </p:set>
                                    <p:animEffect transition="in" filter="fade">
                                      <p:cBhvr>
                                        <p:cTn id="66" dur="500"/>
                                        <p:tgtEl>
                                          <p:spTgt spid="17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animEffect transition="in" filter="fade">
                                      <p:cBhvr>
                                        <p:cTn id="69" dur="500"/>
                                        <p:tgtEl>
                                          <p:spTgt spid="18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xEl>
                                              <p:pRg st="0" end="0"/>
                                            </p:txEl>
                                          </p:spTgt>
                                        </p:tgtEl>
                                        <p:attrNameLst>
                                          <p:attrName>style.visibility</p:attrName>
                                        </p:attrNameLst>
                                      </p:cBhvr>
                                      <p:to>
                                        <p:strVal val="visible"/>
                                      </p:to>
                                    </p:set>
                                    <p:animEffect transition="in" filter="fade">
                                      <p:cBhvr>
                                        <p:cTn id="72" dur="500"/>
                                        <p:tgtEl>
                                          <p:spTgt spid="8">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78">
                                            <p:txEl>
                                              <p:pRg st="0" end="0"/>
                                            </p:txEl>
                                          </p:spTgt>
                                        </p:tgtEl>
                                        <p:attrNameLst>
                                          <p:attrName>style.visibility</p:attrName>
                                        </p:attrNameLst>
                                      </p:cBhvr>
                                      <p:to>
                                        <p:strVal val="visible"/>
                                      </p:to>
                                    </p:set>
                                    <p:animEffect transition="in" filter="fade">
                                      <p:cBhvr>
                                        <p:cTn id="75" dur="500"/>
                                        <p:tgtEl>
                                          <p:spTgt spid="778">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09"/>
                                        </p:tgtEl>
                                        <p:attrNameLst>
                                          <p:attrName>style.visibility</p:attrName>
                                        </p:attrNameLst>
                                      </p:cBhvr>
                                      <p:to>
                                        <p:strVal val="visible"/>
                                      </p:to>
                                    </p:set>
                                    <p:animEffect transition="in" filter="fade">
                                      <p:cBhvr>
                                        <p:cTn id="78" dur="500"/>
                                        <p:tgtEl>
                                          <p:spTgt spid="70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13"/>
                                        </p:tgtEl>
                                        <p:attrNameLst>
                                          <p:attrName>style.visibility</p:attrName>
                                        </p:attrNameLst>
                                      </p:cBhvr>
                                      <p:to>
                                        <p:strVal val="visible"/>
                                      </p:to>
                                    </p:set>
                                    <p:animEffect transition="in" filter="fade">
                                      <p:cBhvr>
                                        <p:cTn id="81" dur="500"/>
                                        <p:tgtEl>
                                          <p:spTgt spid="71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xEl>
                                              <p:pRg st="0" end="0"/>
                                            </p:txEl>
                                          </p:spTgt>
                                        </p:tgtEl>
                                        <p:attrNameLst>
                                          <p:attrName>style.visibility</p:attrName>
                                        </p:attrNameLst>
                                      </p:cBhvr>
                                      <p:to>
                                        <p:strVal val="visible"/>
                                      </p:to>
                                    </p:set>
                                    <p:animEffect transition="in" filter="fade">
                                      <p:cBhvr>
                                        <p:cTn id="84" dur="500"/>
                                        <p:tgtEl>
                                          <p:spTgt spid="28">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14"/>
                                        </p:tgtEl>
                                        <p:attrNameLst>
                                          <p:attrName>style.visibility</p:attrName>
                                        </p:attrNameLst>
                                      </p:cBhvr>
                                      <p:to>
                                        <p:strVal val="visible"/>
                                      </p:to>
                                    </p:set>
                                    <p:animEffect transition="in" filter="fade">
                                      <p:cBhvr>
                                        <p:cTn id="87" dur="500"/>
                                        <p:tgtEl>
                                          <p:spTgt spid="114"/>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68"/>
                                        </p:tgtEl>
                                        <p:attrNameLst>
                                          <p:attrName>style.opacity</p:attrName>
                                        </p:attrNameLst>
                                      </p:cBhvr>
                                      <p:to>
                                        <p:strVal val="0.1"/>
                                      </p:to>
                                    </p:set>
                                    <p:animEffect filter="image" prLst="opacity: 0.1">
                                      <p:cBhvr rctx="IE">
                                        <p:cTn id="92" dur="indefinite"/>
                                        <p:tgtEl>
                                          <p:spTgt spid="168"/>
                                        </p:tgtEl>
                                      </p:cBhvr>
                                    </p:animEffect>
                                  </p:childTnLst>
                                </p:cTn>
                              </p:par>
                              <p:par>
                                <p:cTn id="93" presetID="9" presetClass="emph" presetSubtype="0" nodeType="withEffect">
                                  <p:stCondLst>
                                    <p:cond delay="0"/>
                                  </p:stCondLst>
                                  <p:childTnLst>
                                    <p:set>
                                      <p:cBhvr>
                                        <p:cTn id="94" dur="indefinite"/>
                                        <p:tgtEl>
                                          <p:spTgt spid="173"/>
                                        </p:tgtEl>
                                        <p:attrNameLst>
                                          <p:attrName>style.opacity</p:attrName>
                                        </p:attrNameLst>
                                      </p:cBhvr>
                                      <p:to>
                                        <p:strVal val="0.1"/>
                                      </p:to>
                                    </p:set>
                                    <p:animEffect filter="image" prLst="opacity: 0.1">
                                      <p:cBhvr rctx="IE">
                                        <p:cTn id="95" dur="indefinite"/>
                                        <p:tgtEl>
                                          <p:spTgt spid="173"/>
                                        </p:tgtEl>
                                      </p:cBhvr>
                                    </p:animEffect>
                                  </p:childTnLst>
                                </p:cTn>
                              </p:par>
                              <p:par>
                                <p:cTn id="96" presetID="9" presetClass="emph" presetSubtype="0" grpId="1" nodeType="withEffect">
                                  <p:stCondLst>
                                    <p:cond delay="0"/>
                                  </p:stCondLst>
                                  <p:childTnLst>
                                    <p:set>
                                      <p:cBhvr>
                                        <p:cTn id="97" dur="indefinite"/>
                                        <p:tgtEl>
                                          <p:spTgt spid="183"/>
                                        </p:tgtEl>
                                        <p:attrNameLst>
                                          <p:attrName>style.opacity</p:attrName>
                                        </p:attrNameLst>
                                      </p:cBhvr>
                                      <p:to>
                                        <p:strVal val="0.1"/>
                                      </p:to>
                                    </p:set>
                                    <p:animEffect filter="image" prLst="opacity: 0.1">
                                      <p:cBhvr rctx="IE">
                                        <p:cTn id="98" dur="indefinite"/>
                                        <p:tgtEl>
                                          <p:spTgt spid="183"/>
                                        </p:tgtEl>
                                      </p:cBhvr>
                                    </p:animEffect>
                                  </p:childTnLst>
                                </p:cTn>
                              </p:par>
                              <p:par>
                                <p:cTn id="99" presetID="9" presetClass="emph" presetSubtype="0" grpId="1" nodeType="withEffect">
                                  <p:stCondLst>
                                    <p:cond delay="0"/>
                                  </p:stCondLst>
                                  <p:childTnLst>
                                    <p:set>
                                      <p:cBhvr>
                                        <p:cTn id="100" dur="indefinite"/>
                                        <p:tgtEl>
                                          <p:spTgt spid="8">
                                            <p:txEl>
                                              <p:pRg st="0" end="0"/>
                                            </p:txEl>
                                          </p:spTgt>
                                        </p:tgtEl>
                                        <p:attrNameLst>
                                          <p:attrName>style.opacity</p:attrName>
                                        </p:attrNameLst>
                                      </p:cBhvr>
                                      <p:to>
                                        <p:strVal val="0.1"/>
                                      </p:to>
                                    </p:set>
                                    <p:animEffect filter="image" prLst="opacity: 0.1">
                                      <p:cBhvr rctx="IE">
                                        <p:cTn id="101" dur="indefinite"/>
                                        <p:tgtEl>
                                          <p:spTgt spid="8">
                                            <p:txEl>
                                              <p:pRg st="0" end="0"/>
                                            </p:txEl>
                                          </p:spTgt>
                                        </p:tgtEl>
                                      </p:cBhvr>
                                    </p:animEffect>
                                  </p:childTnLst>
                                </p:cTn>
                              </p:par>
                              <p:par>
                                <p:cTn id="102" presetID="9" presetClass="emph" presetSubtype="0" grpId="1" nodeType="withEffect">
                                  <p:stCondLst>
                                    <p:cond delay="0"/>
                                  </p:stCondLst>
                                  <p:childTnLst>
                                    <p:set>
                                      <p:cBhvr>
                                        <p:cTn id="103" dur="indefinite"/>
                                        <p:tgtEl>
                                          <p:spTgt spid="778">
                                            <p:txEl>
                                              <p:pRg st="0" end="0"/>
                                            </p:txEl>
                                          </p:spTgt>
                                        </p:tgtEl>
                                        <p:attrNameLst>
                                          <p:attrName>style.opacity</p:attrName>
                                        </p:attrNameLst>
                                      </p:cBhvr>
                                      <p:to>
                                        <p:strVal val="0.1"/>
                                      </p:to>
                                    </p:set>
                                    <p:animEffect filter="image" prLst="opacity: 0.1">
                                      <p:cBhvr rctx="IE">
                                        <p:cTn id="104" dur="indefinite"/>
                                        <p:tgtEl>
                                          <p:spTgt spid="778">
                                            <p:txEl>
                                              <p:pRg st="0" end="0"/>
                                            </p:txEl>
                                          </p:spTgt>
                                        </p:tgtEl>
                                      </p:cBhvr>
                                    </p:animEffect>
                                  </p:childTnLst>
                                </p:cTn>
                              </p:par>
                              <p:par>
                                <p:cTn id="105" presetID="9" presetClass="emph" presetSubtype="0" grpId="1" nodeType="withEffect">
                                  <p:stCondLst>
                                    <p:cond delay="0"/>
                                  </p:stCondLst>
                                  <p:childTnLst>
                                    <p:set>
                                      <p:cBhvr>
                                        <p:cTn id="106" dur="indefinite"/>
                                        <p:tgtEl>
                                          <p:spTgt spid="709"/>
                                        </p:tgtEl>
                                        <p:attrNameLst>
                                          <p:attrName>style.opacity</p:attrName>
                                        </p:attrNameLst>
                                      </p:cBhvr>
                                      <p:to>
                                        <p:strVal val="0.1"/>
                                      </p:to>
                                    </p:set>
                                    <p:animEffect filter="image" prLst="opacity: 0.1">
                                      <p:cBhvr rctx="IE">
                                        <p:cTn id="107" dur="indefinite"/>
                                        <p:tgtEl>
                                          <p:spTgt spid="709"/>
                                        </p:tgtEl>
                                      </p:cBhvr>
                                    </p:animEffect>
                                  </p:childTnLst>
                                </p:cTn>
                              </p:par>
                              <p:par>
                                <p:cTn id="108" presetID="9" presetClass="emph" presetSubtype="0" grpId="1" nodeType="withEffect">
                                  <p:stCondLst>
                                    <p:cond delay="0"/>
                                  </p:stCondLst>
                                  <p:childTnLst>
                                    <p:set>
                                      <p:cBhvr>
                                        <p:cTn id="109" dur="indefinite"/>
                                        <p:tgtEl>
                                          <p:spTgt spid="713"/>
                                        </p:tgtEl>
                                        <p:attrNameLst>
                                          <p:attrName>style.opacity</p:attrName>
                                        </p:attrNameLst>
                                      </p:cBhvr>
                                      <p:to>
                                        <p:strVal val="0.1"/>
                                      </p:to>
                                    </p:set>
                                    <p:animEffect filter="image" prLst="opacity: 0.1">
                                      <p:cBhvr rctx="IE">
                                        <p:cTn id="110" dur="indefinite"/>
                                        <p:tgtEl>
                                          <p:spTgt spid="713"/>
                                        </p:tgtEl>
                                      </p:cBhvr>
                                    </p:animEffect>
                                  </p:childTnLst>
                                </p:cTn>
                              </p:par>
                              <p:par>
                                <p:cTn id="111" presetID="9" presetClass="emph" presetSubtype="0" grpId="1" nodeType="withEffect">
                                  <p:stCondLst>
                                    <p:cond delay="0"/>
                                  </p:stCondLst>
                                  <p:childTnLst>
                                    <p:set>
                                      <p:cBhvr>
                                        <p:cTn id="112" dur="indefinite"/>
                                        <p:tgtEl>
                                          <p:spTgt spid="28">
                                            <p:txEl>
                                              <p:pRg st="0" end="0"/>
                                            </p:txEl>
                                          </p:spTgt>
                                        </p:tgtEl>
                                        <p:attrNameLst>
                                          <p:attrName>style.opacity</p:attrName>
                                        </p:attrNameLst>
                                      </p:cBhvr>
                                      <p:to>
                                        <p:strVal val="0.1"/>
                                      </p:to>
                                    </p:set>
                                    <p:animEffect filter="image" prLst="opacity: 0.1">
                                      <p:cBhvr rctx="IE">
                                        <p:cTn id="113" dur="indefinite"/>
                                        <p:tgtEl>
                                          <p:spTgt spid="28">
                                            <p:txEl>
                                              <p:pRg st="0" end="0"/>
                                            </p:txEl>
                                          </p:spTgt>
                                        </p:tgtEl>
                                      </p:cBhvr>
                                    </p:animEffect>
                                  </p:childTnLst>
                                </p:cTn>
                              </p:par>
                              <p:par>
                                <p:cTn id="114" presetID="9" presetClass="emph" presetSubtype="0" nodeType="withEffect">
                                  <p:stCondLst>
                                    <p:cond delay="0"/>
                                  </p:stCondLst>
                                  <p:childTnLst>
                                    <p:set>
                                      <p:cBhvr>
                                        <p:cTn id="115" dur="indefinite"/>
                                        <p:tgtEl>
                                          <p:spTgt spid="114"/>
                                        </p:tgtEl>
                                        <p:attrNameLst>
                                          <p:attrName>style.opacity</p:attrName>
                                        </p:attrNameLst>
                                      </p:cBhvr>
                                      <p:to>
                                        <p:strVal val="0.1"/>
                                      </p:to>
                                    </p:set>
                                    <p:animEffect filter="image" prLst="opacity: 0.1">
                                      <p:cBhvr rctx="IE">
                                        <p:cTn id="116" dur="indefinite"/>
                                        <p:tgtEl>
                                          <p:spTgt spid="114"/>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9"/>
                                        </p:tgtEl>
                                        <p:attrNameLst>
                                          <p:attrName>style.visibility</p:attrName>
                                        </p:attrNameLst>
                                      </p:cBhvr>
                                      <p:to>
                                        <p:strVal val="visible"/>
                                      </p:to>
                                    </p:set>
                                    <p:animEffect transition="in" filter="fade">
                                      <p:cBhvr>
                                        <p:cTn id="119" dur="500"/>
                                        <p:tgtEl>
                                          <p:spTgt spid="169"/>
                                        </p:tgtEl>
                                      </p:cBhvr>
                                    </p:animEffect>
                                  </p:childTnLst>
                                </p:cTn>
                              </p:par>
                              <p:par>
                                <p:cTn id="120" presetID="10" presetClass="entr" presetSubtype="0" fill="hold" nodeType="withEffect">
                                  <p:stCondLst>
                                    <p:cond delay="0"/>
                                  </p:stCondLst>
                                  <p:childTnLst>
                                    <p:set>
                                      <p:cBhvr>
                                        <p:cTn id="121" dur="1" fill="hold">
                                          <p:stCondLst>
                                            <p:cond delay="0"/>
                                          </p:stCondLst>
                                        </p:cTn>
                                        <p:tgtEl>
                                          <p:spTgt spid="174"/>
                                        </p:tgtEl>
                                        <p:attrNameLst>
                                          <p:attrName>style.visibility</p:attrName>
                                        </p:attrNameLst>
                                      </p:cBhvr>
                                      <p:to>
                                        <p:strVal val="visible"/>
                                      </p:to>
                                    </p:set>
                                    <p:animEffect transition="in" filter="fade">
                                      <p:cBhvr>
                                        <p:cTn id="122" dur="500"/>
                                        <p:tgtEl>
                                          <p:spTgt spid="174"/>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4"/>
                                        </p:tgtEl>
                                        <p:attrNameLst>
                                          <p:attrName>style.visibility</p:attrName>
                                        </p:attrNameLst>
                                      </p:cBhvr>
                                      <p:to>
                                        <p:strVal val="visible"/>
                                      </p:to>
                                    </p:set>
                                    <p:animEffect transition="in" filter="fade">
                                      <p:cBhvr>
                                        <p:cTn id="125" dur="500"/>
                                        <p:tgtEl>
                                          <p:spTgt spid="184"/>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9">
                                            <p:txEl>
                                              <p:pRg st="0" end="0"/>
                                            </p:txEl>
                                          </p:spTgt>
                                        </p:tgtEl>
                                        <p:attrNameLst>
                                          <p:attrName>style.visibility</p:attrName>
                                        </p:attrNameLst>
                                      </p:cBhvr>
                                      <p:to>
                                        <p:strVal val="visible"/>
                                      </p:to>
                                    </p:set>
                                    <p:animEffect transition="in" filter="fade">
                                      <p:cBhvr>
                                        <p:cTn id="128" dur="500"/>
                                        <p:tgtEl>
                                          <p:spTgt spid="9">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779">
                                            <p:txEl>
                                              <p:pRg st="0" end="0"/>
                                            </p:txEl>
                                          </p:spTgt>
                                        </p:tgtEl>
                                        <p:attrNameLst>
                                          <p:attrName>style.visibility</p:attrName>
                                        </p:attrNameLst>
                                      </p:cBhvr>
                                      <p:to>
                                        <p:strVal val="visible"/>
                                      </p:to>
                                    </p:set>
                                    <p:animEffect transition="in" filter="fade">
                                      <p:cBhvr>
                                        <p:cTn id="131" dur="500"/>
                                        <p:tgtEl>
                                          <p:spTgt spid="779">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714"/>
                                        </p:tgtEl>
                                        <p:attrNameLst>
                                          <p:attrName>style.visibility</p:attrName>
                                        </p:attrNameLst>
                                      </p:cBhvr>
                                      <p:to>
                                        <p:strVal val="visible"/>
                                      </p:to>
                                    </p:set>
                                    <p:animEffect transition="in" filter="fade">
                                      <p:cBhvr>
                                        <p:cTn id="134" dur="500"/>
                                        <p:tgtEl>
                                          <p:spTgt spid="71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717"/>
                                        </p:tgtEl>
                                        <p:attrNameLst>
                                          <p:attrName>style.visibility</p:attrName>
                                        </p:attrNameLst>
                                      </p:cBhvr>
                                      <p:to>
                                        <p:strVal val="visible"/>
                                      </p:to>
                                    </p:set>
                                    <p:animEffect transition="in" filter="fade">
                                      <p:cBhvr>
                                        <p:cTn id="137" dur="500"/>
                                        <p:tgtEl>
                                          <p:spTgt spid="717"/>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718">
                                            <p:txEl>
                                              <p:pRg st="0" end="0"/>
                                            </p:txEl>
                                          </p:spTgt>
                                        </p:tgtEl>
                                        <p:attrNameLst>
                                          <p:attrName>style.visibility</p:attrName>
                                        </p:attrNameLst>
                                      </p:cBhvr>
                                      <p:to>
                                        <p:strVal val="visible"/>
                                      </p:to>
                                    </p:set>
                                    <p:animEffect transition="in" filter="fade">
                                      <p:cBhvr>
                                        <p:cTn id="140" dur="500"/>
                                        <p:tgtEl>
                                          <p:spTgt spid="718">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97"/>
                                        </p:tgtEl>
                                        <p:attrNameLst>
                                          <p:attrName>style.visibility</p:attrName>
                                        </p:attrNameLst>
                                      </p:cBhvr>
                                      <p:to>
                                        <p:strVal val="visible"/>
                                      </p:to>
                                    </p:set>
                                    <p:animEffect transition="in" filter="fade">
                                      <p:cBhvr>
                                        <p:cTn id="143" dur="500"/>
                                        <p:tgtEl>
                                          <p:spTgt spid="97"/>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69"/>
                                        </p:tgtEl>
                                        <p:attrNameLst>
                                          <p:attrName>style.opacity</p:attrName>
                                        </p:attrNameLst>
                                      </p:cBhvr>
                                      <p:to>
                                        <p:strVal val="0.1"/>
                                      </p:to>
                                    </p:set>
                                    <p:animEffect filter="image" prLst="opacity: 0.1">
                                      <p:cBhvr rctx="IE">
                                        <p:cTn id="148" dur="indefinite"/>
                                        <p:tgtEl>
                                          <p:spTgt spid="169"/>
                                        </p:tgtEl>
                                      </p:cBhvr>
                                    </p:animEffect>
                                  </p:childTnLst>
                                </p:cTn>
                              </p:par>
                              <p:par>
                                <p:cTn id="149" presetID="9" presetClass="emph" presetSubtype="0" nodeType="withEffect">
                                  <p:stCondLst>
                                    <p:cond delay="0"/>
                                  </p:stCondLst>
                                  <p:childTnLst>
                                    <p:set>
                                      <p:cBhvr>
                                        <p:cTn id="150" dur="indefinite"/>
                                        <p:tgtEl>
                                          <p:spTgt spid="174"/>
                                        </p:tgtEl>
                                        <p:attrNameLst>
                                          <p:attrName>style.opacity</p:attrName>
                                        </p:attrNameLst>
                                      </p:cBhvr>
                                      <p:to>
                                        <p:strVal val="0.1"/>
                                      </p:to>
                                    </p:set>
                                    <p:animEffect filter="image" prLst="opacity: 0.1">
                                      <p:cBhvr rctx="IE">
                                        <p:cTn id="151" dur="indefinite"/>
                                        <p:tgtEl>
                                          <p:spTgt spid="174"/>
                                        </p:tgtEl>
                                      </p:cBhvr>
                                    </p:animEffect>
                                  </p:childTnLst>
                                </p:cTn>
                              </p:par>
                              <p:par>
                                <p:cTn id="152" presetID="9" presetClass="emph" presetSubtype="0" grpId="1" nodeType="withEffect">
                                  <p:stCondLst>
                                    <p:cond delay="0"/>
                                  </p:stCondLst>
                                  <p:childTnLst>
                                    <p:set>
                                      <p:cBhvr>
                                        <p:cTn id="153" dur="indefinite"/>
                                        <p:tgtEl>
                                          <p:spTgt spid="184"/>
                                        </p:tgtEl>
                                        <p:attrNameLst>
                                          <p:attrName>style.opacity</p:attrName>
                                        </p:attrNameLst>
                                      </p:cBhvr>
                                      <p:to>
                                        <p:strVal val="0.1"/>
                                      </p:to>
                                    </p:set>
                                    <p:animEffect filter="image" prLst="opacity: 0.1">
                                      <p:cBhvr rctx="IE">
                                        <p:cTn id="154" dur="indefinite"/>
                                        <p:tgtEl>
                                          <p:spTgt spid="184"/>
                                        </p:tgtEl>
                                      </p:cBhvr>
                                    </p:animEffect>
                                  </p:childTnLst>
                                </p:cTn>
                              </p:par>
                              <p:par>
                                <p:cTn id="155" presetID="9" presetClass="emph" presetSubtype="0" grpId="1" nodeType="withEffect">
                                  <p:stCondLst>
                                    <p:cond delay="0"/>
                                  </p:stCondLst>
                                  <p:childTnLst>
                                    <p:set>
                                      <p:cBhvr>
                                        <p:cTn id="156" dur="indefinite"/>
                                        <p:tgtEl>
                                          <p:spTgt spid="9">
                                            <p:txEl>
                                              <p:pRg st="0" end="0"/>
                                            </p:txEl>
                                          </p:spTgt>
                                        </p:tgtEl>
                                        <p:attrNameLst>
                                          <p:attrName>style.opacity</p:attrName>
                                        </p:attrNameLst>
                                      </p:cBhvr>
                                      <p:to>
                                        <p:strVal val="0.1"/>
                                      </p:to>
                                    </p:set>
                                    <p:animEffect filter="image" prLst="opacity: 0.1">
                                      <p:cBhvr rctx="IE">
                                        <p:cTn id="157" dur="indefinite"/>
                                        <p:tgtEl>
                                          <p:spTgt spid="9">
                                            <p:txEl>
                                              <p:pRg st="0" end="0"/>
                                            </p:txEl>
                                          </p:spTgt>
                                        </p:tgtEl>
                                      </p:cBhvr>
                                    </p:animEffect>
                                  </p:childTnLst>
                                </p:cTn>
                              </p:par>
                              <p:par>
                                <p:cTn id="158" presetID="9" presetClass="emph" presetSubtype="0" grpId="1" nodeType="withEffect">
                                  <p:stCondLst>
                                    <p:cond delay="0"/>
                                  </p:stCondLst>
                                  <p:childTnLst>
                                    <p:set>
                                      <p:cBhvr>
                                        <p:cTn id="159" dur="indefinite"/>
                                        <p:tgtEl>
                                          <p:spTgt spid="779">
                                            <p:txEl>
                                              <p:pRg st="0" end="0"/>
                                            </p:txEl>
                                          </p:spTgt>
                                        </p:tgtEl>
                                        <p:attrNameLst>
                                          <p:attrName>style.opacity</p:attrName>
                                        </p:attrNameLst>
                                      </p:cBhvr>
                                      <p:to>
                                        <p:strVal val="0.1"/>
                                      </p:to>
                                    </p:set>
                                    <p:animEffect filter="image" prLst="opacity: 0.1">
                                      <p:cBhvr rctx="IE">
                                        <p:cTn id="160" dur="indefinite"/>
                                        <p:tgtEl>
                                          <p:spTgt spid="779">
                                            <p:txEl>
                                              <p:pRg st="0" end="0"/>
                                            </p:txEl>
                                          </p:spTgt>
                                        </p:tgtEl>
                                      </p:cBhvr>
                                    </p:animEffect>
                                  </p:childTnLst>
                                </p:cTn>
                              </p:par>
                              <p:par>
                                <p:cTn id="161" presetID="9" presetClass="emph" presetSubtype="0" grpId="1" nodeType="withEffect">
                                  <p:stCondLst>
                                    <p:cond delay="0"/>
                                  </p:stCondLst>
                                  <p:childTnLst>
                                    <p:set>
                                      <p:cBhvr>
                                        <p:cTn id="162" dur="indefinite"/>
                                        <p:tgtEl>
                                          <p:spTgt spid="714"/>
                                        </p:tgtEl>
                                        <p:attrNameLst>
                                          <p:attrName>style.opacity</p:attrName>
                                        </p:attrNameLst>
                                      </p:cBhvr>
                                      <p:to>
                                        <p:strVal val="0.1"/>
                                      </p:to>
                                    </p:set>
                                    <p:animEffect filter="image" prLst="opacity: 0.1">
                                      <p:cBhvr rctx="IE">
                                        <p:cTn id="163" dur="indefinite"/>
                                        <p:tgtEl>
                                          <p:spTgt spid="714"/>
                                        </p:tgtEl>
                                      </p:cBhvr>
                                    </p:animEffect>
                                  </p:childTnLst>
                                </p:cTn>
                              </p:par>
                              <p:par>
                                <p:cTn id="164" presetID="9" presetClass="emph" presetSubtype="0" grpId="1" nodeType="withEffect">
                                  <p:stCondLst>
                                    <p:cond delay="0"/>
                                  </p:stCondLst>
                                  <p:childTnLst>
                                    <p:set>
                                      <p:cBhvr>
                                        <p:cTn id="165" dur="indefinite"/>
                                        <p:tgtEl>
                                          <p:spTgt spid="717"/>
                                        </p:tgtEl>
                                        <p:attrNameLst>
                                          <p:attrName>style.opacity</p:attrName>
                                        </p:attrNameLst>
                                      </p:cBhvr>
                                      <p:to>
                                        <p:strVal val="0.1"/>
                                      </p:to>
                                    </p:set>
                                    <p:animEffect filter="image" prLst="opacity: 0.1">
                                      <p:cBhvr rctx="IE">
                                        <p:cTn id="166" dur="indefinite"/>
                                        <p:tgtEl>
                                          <p:spTgt spid="717"/>
                                        </p:tgtEl>
                                      </p:cBhvr>
                                    </p:animEffect>
                                  </p:childTnLst>
                                </p:cTn>
                              </p:par>
                              <p:par>
                                <p:cTn id="167" presetID="9" presetClass="emph" presetSubtype="0" grpId="1" nodeType="withEffect">
                                  <p:stCondLst>
                                    <p:cond delay="0"/>
                                  </p:stCondLst>
                                  <p:childTnLst>
                                    <p:set>
                                      <p:cBhvr>
                                        <p:cTn id="168" dur="indefinite"/>
                                        <p:tgtEl>
                                          <p:spTgt spid="718">
                                            <p:txEl>
                                              <p:pRg st="0" end="0"/>
                                            </p:txEl>
                                          </p:spTgt>
                                        </p:tgtEl>
                                        <p:attrNameLst>
                                          <p:attrName>style.opacity</p:attrName>
                                        </p:attrNameLst>
                                      </p:cBhvr>
                                      <p:to>
                                        <p:strVal val="0.1"/>
                                      </p:to>
                                    </p:set>
                                    <p:animEffect filter="image" prLst="opacity: 0.1">
                                      <p:cBhvr rctx="IE">
                                        <p:cTn id="169" dur="indefinite"/>
                                        <p:tgtEl>
                                          <p:spTgt spid="718">
                                            <p:txEl>
                                              <p:pRg st="0" end="0"/>
                                            </p:txEl>
                                          </p:spTgt>
                                        </p:tgtEl>
                                      </p:cBhvr>
                                    </p:animEffect>
                                  </p:childTnLst>
                                </p:cTn>
                              </p:par>
                              <p:par>
                                <p:cTn id="170" presetID="9" presetClass="emph" presetSubtype="0" nodeType="withEffect">
                                  <p:stCondLst>
                                    <p:cond delay="0"/>
                                  </p:stCondLst>
                                  <p:childTnLst>
                                    <p:set>
                                      <p:cBhvr>
                                        <p:cTn id="171" dur="indefinite"/>
                                        <p:tgtEl>
                                          <p:spTgt spid="97"/>
                                        </p:tgtEl>
                                        <p:attrNameLst>
                                          <p:attrName>style.opacity</p:attrName>
                                        </p:attrNameLst>
                                      </p:cBhvr>
                                      <p:to>
                                        <p:strVal val="0.1"/>
                                      </p:to>
                                    </p:set>
                                    <p:animEffect filter="image" prLst="opacity: 0.1">
                                      <p:cBhvr rctx="IE">
                                        <p:cTn id="172" dur="indefinite"/>
                                        <p:tgtEl>
                                          <p:spTgt spid="97"/>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70"/>
                                        </p:tgtEl>
                                        <p:attrNameLst>
                                          <p:attrName>style.visibility</p:attrName>
                                        </p:attrNameLst>
                                      </p:cBhvr>
                                      <p:to>
                                        <p:strVal val="visible"/>
                                      </p:to>
                                    </p:set>
                                    <p:animEffect transition="in" filter="fade">
                                      <p:cBhvr>
                                        <p:cTn id="175" dur="500"/>
                                        <p:tgtEl>
                                          <p:spTgt spid="170"/>
                                        </p:tgtEl>
                                      </p:cBhvr>
                                    </p:animEffect>
                                  </p:childTnLst>
                                </p:cTn>
                              </p:par>
                              <p:par>
                                <p:cTn id="176" presetID="10" presetClass="entr" presetSubtype="0" fill="hold" nodeType="withEffect">
                                  <p:stCondLst>
                                    <p:cond delay="0"/>
                                  </p:stCondLst>
                                  <p:childTnLst>
                                    <p:set>
                                      <p:cBhvr>
                                        <p:cTn id="177" dur="1" fill="hold">
                                          <p:stCondLst>
                                            <p:cond delay="0"/>
                                          </p:stCondLst>
                                        </p:cTn>
                                        <p:tgtEl>
                                          <p:spTgt spid="175"/>
                                        </p:tgtEl>
                                        <p:attrNameLst>
                                          <p:attrName>style.visibility</p:attrName>
                                        </p:attrNameLst>
                                      </p:cBhvr>
                                      <p:to>
                                        <p:strVal val="visible"/>
                                      </p:to>
                                    </p:set>
                                    <p:animEffect transition="in" filter="fade">
                                      <p:cBhvr>
                                        <p:cTn id="178" dur="500"/>
                                        <p:tgtEl>
                                          <p:spTgt spid="175"/>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85"/>
                                        </p:tgtEl>
                                        <p:attrNameLst>
                                          <p:attrName>style.visibility</p:attrName>
                                        </p:attrNameLst>
                                      </p:cBhvr>
                                      <p:to>
                                        <p:strVal val="visible"/>
                                      </p:to>
                                    </p:set>
                                    <p:animEffect transition="in" filter="fade">
                                      <p:cBhvr>
                                        <p:cTn id="181" dur="500"/>
                                        <p:tgtEl>
                                          <p:spTgt spid="18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0">
                                            <p:txEl>
                                              <p:pRg st="0" end="0"/>
                                            </p:txEl>
                                          </p:spTgt>
                                        </p:tgtEl>
                                        <p:attrNameLst>
                                          <p:attrName>style.visibility</p:attrName>
                                        </p:attrNameLst>
                                      </p:cBhvr>
                                      <p:to>
                                        <p:strVal val="visible"/>
                                      </p:to>
                                    </p:set>
                                    <p:animEffect transition="in" filter="fade">
                                      <p:cBhvr>
                                        <p:cTn id="184" dur="500"/>
                                        <p:tgtEl>
                                          <p:spTgt spid="10">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780">
                                            <p:txEl>
                                              <p:pRg st="0" end="0"/>
                                            </p:txEl>
                                          </p:spTgt>
                                        </p:tgtEl>
                                        <p:attrNameLst>
                                          <p:attrName>style.visibility</p:attrName>
                                        </p:attrNameLst>
                                      </p:cBhvr>
                                      <p:to>
                                        <p:strVal val="visible"/>
                                      </p:to>
                                    </p:set>
                                    <p:animEffect transition="in" filter="fade">
                                      <p:cBhvr>
                                        <p:cTn id="187" dur="500"/>
                                        <p:tgtEl>
                                          <p:spTgt spid="780">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10"/>
                                        </p:tgtEl>
                                        <p:attrNameLst>
                                          <p:attrName>style.visibility</p:attrName>
                                        </p:attrNameLst>
                                      </p:cBhvr>
                                      <p:to>
                                        <p:strVal val="visible"/>
                                      </p:to>
                                    </p:set>
                                    <p:animEffect transition="in" filter="fade">
                                      <p:cBhvr>
                                        <p:cTn id="190" dur="500"/>
                                        <p:tgtEl>
                                          <p:spTgt spid="710"/>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15"/>
                                        </p:tgtEl>
                                        <p:attrNameLst>
                                          <p:attrName>style.visibility</p:attrName>
                                        </p:attrNameLst>
                                      </p:cBhvr>
                                      <p:to>
                                        <p:strVal val="visible"/>
                                      </p:to>
                                    </p:set>
                                    <p:animEffect transition="in" filter="fade">
                                      <p:cBhvr>
                                        <p:cTn id="193" dur="500"/>
                                        <p:tgtEl>
                                          <p:spTgt spid="715"/>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30">
                                            <p:txEl>
                                              <p:pRg st="0" end="0"/>
                                            </p:txEl>
                                          </p:spTgt>
                                        </p:tgtEl>
                                        <p:attrNameLst>
                                          <p:attrName>style.visibility</p:attrName>
                                        </p:attrNameLst>
                                      </p:cBhvr>
                                      <p:to>
                                        <p:strVal val="visible"/>
                                      </p:to>
                                    </p:set>
                                    <p:animEffect transition="in" filter="fade">
                                      <p:cBhvr>
                                        <p:cTn id="196" dur="500"/>
                                        <p:tgtEl>
                                          <p:spTgt spid="30">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17"/>
                                        </p:tgtEl>
                                        <p:attrNameLst>
                                          <p:attrName>style.visibility</p:attrName>
                                        </p:attrNameLst>
                                      </p:cBhvr>
                                      <p:to>
                                        <p:strVal val="visible"/>
                                      </p:to>
                                    </p:set>
                                    <p:animEffect transition="in" filter="fade">
                                      <p:cBhvr>
                                        <p:cTn id="199" dur="500"/>
                                        <p:tgtEl>
                                          <p:spTgt spid="117"/>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70"/>
                                        </p:tgtEl>
                                        <p:attrNameLst>
                                          <p:attrName>style.opacity</p:attrName>
                                        </p:attrNameLst>
                                      </p:cBhvr>
                                      <p:to>
                                        <p:strVal val="0.1"/>
                                      </p:to>
                                    </p:set>
                                    <p:animEffect filter="image" prLst="opacity: 0.1">
                                      <p:cBhvr rctx="IE">
                                        <p:cTn id="204" dur="indefinite"/>
                                        <p:tgtEl>
                                          <p:spTgt spid="170"/>
                                        </p:tgtEl>
                                      </p:cBhvr>
                                    </p:animEffect>
                                  </p:childTnLst>
                                </p:cTn>
                              </p:par>
                              <p:par>
                                <p:cTn id="205" presetID="9" presetClass="emph" presetSubtype="0" nodeType="withEffect">
                                  <p:stCondLst>
                                    <p:cond delay="0"/>
                                  </p:stCondLst>
                                  <p:childTnLst>
                                    <p:set>
                                      <p:cBhvr>
                                        <p:cTn id="206" dur="indefinite"/>
                                        <p:tgtEl>
                                          <p:spTgt spid="175"/>
                                        </p:tgtEl>
                                        <p:attrNameLst>
                                          <p:attrName>style.opacity</p:attrName>
                                        </p:attrNameLst>
                                      </p:cBhvr>
                                      <p:to>
                                        <p:strVal val="0.1"/>
                                      </p:to>
                                    </p:set>
                                    <p:animEffect filter="image" prLst="opacity: 0.1">
                                      <p:cBhvr rctx="IE">
                                        <p:cTn id="207" dur="indefinite"/>
                                        <p:tgtEl>
                                          <p:spTgt spid="175"/>
                                        </p:tgtEl>
                                      </p:cBhvr>
                                    </p:animEffect>
                                  </p:childTnLst>
                                </p:cTn>
                              </p:par>
                              <p:par>
                                <p:cTn id="208" presetID="9" presetClass="emph" presetSubtype="0" grpId="1" nodeType="withEffect">
                                  <p:stCondLst>
                                    <p:cond delay="0"/>
                                  </p:stCondLst>
                                  <p:childTnLst>
                                    <p:set>
                                      <p:cBhvr>
                                        <p:cTn id="209" dur="indefinite"/>
                                        <p:tgtEl>
                                          <p:spTgt spid="185"/>
                                        </p:tgtEl>
                                        <p:attrNameLst>
                                          <p:attrName>style.opacity</p:attrName>
                                        </p:attrNameLst>
                                      </p:cBhvr>
                                      <p:to>
                                        <p:strVal val="0.1"/>
                                      </p:to>
                                    </p:set>
                                    <p:animEffect filter="image" prLst="opacity: 0.1">
                                      <p:cBhvr rctx="IE">
                                        <p:cTn id="210" dur="indefinite"/>
                                        <p:tgtEl>
                                          <p:spTgt spid="185"/>
                                        </p:tgtEl>
                                      </p:cBhvr>
                                    </p:animEffect>
                                  </p:childTnLst>
                                </p:cTn>
                              </p:par>
                              <p:par>
                                <p:cTn id="211" presetID="9" presetClass="emph" presetSubtype="0" grpId="1" nodeType="withEffect">
                                  <p:stCondLst>
                                    <p:cond delay="0"/>
                                  </p:stCondLst>
                                  <p:childTnLst>
                                    <p:set>
                                      <p:cBhvr>
                                        <p:cTn id="212" dur="indefinite"/>
                                        <p:tgtEl>
                                          <p:spTgt spid="10">
                                            <p:txEl>
                                              <p:pRg st="0" end="0"/>
                                            </p:txEl>
                                          </p:spTgt>
                                        </p:tgtEl>
                                        <p:attrNameLst>
                                          <p:attrName>style.opacity</p:attrName>
                                        </p:attrNameLst>
                                      </p:cBhvr>
                                      <p:to>
                                        <p:strVal val="0.1"/>
                                      </p:to>
                                    </p:set>
                                    <p:animEffect filter="image" prLst="opacity: 0.1">
                                      <p:cBhvr rctx="IE">
                                        <p:cTn id="213" dur="indefinite"/>
                                        <p:tgtEl>
                                          <p:spTgt spid="10">
                                            <p:txEl>
                                              <p:pRg st="0" end="0"/>
                                            </p:txEl>
                                          </p:spTgt>
                                        </p:tgtEl>
                                      </p:cBhvr>
                                    </p:animEffect>
                                  </p:childTnLst>
                                </p:cTn>
                              </p:par>
                              <p:par>
                                <p:cTn id="214" presetID="9" presetClass="emph" presetSubtype="0" grpId="1" nodeType="withEffect">
                                  <p:stCondLst>
                                    <p:cond delay="0"/>
                                  </p:stCondLst>
                                  <p:childTnLst>
                                    <p:set>
                                      <p:cBhvr>
                                        <p:cTn id="215" dur="indefinite"/>
                                        <p:tgtEl>
                                          <p:spTgt spid="780">
                                            <p:txEl>
                                              <p:pRg st="0" end="0"/>
                                            </p:txEl>
                                          </p:spTgt>
                                        </p:tgtEl>
                                        <p:attrNameLst>
                                          <p:attrName>style.opacity</p:attrName>
                                        </p:attrNameLst>
                                      </p:cBhvr>
                                      <p:to>
                                        <p:strVal val="0.1"/>
                                      </p:to>
                                    </p:set>
                                    <p:animEffect filter="image" prLst="opacity: 0.1">
                                      <p:cBhvr rctx="IE">
                                        <p:cTn id="216" dur="indefinite"/>
                                        <p:tgtEl>
                                          <p:spTgt spid="780">
                                            <p:txEl>
                                              <p:pRg st="0" end="0"/>
                                            </p:txEl>
                                          </p:spTgt>
                                        </p:tgtEl>
                                      </p:cBhvr>
                                    </p:animEffect>
                                  </p:childTnLst>
                                </p:cTn>
                              </p:par>
                              <p:par>
                                <p:cTn id="217" presetID="9" presetClass="emph" presetSubtype="0" grpId="1" nodeType="withEffect">
                                  <p:stCondLst>
                                    <p:cond delay="0"/>
                                  </p:stCondLst>
                                  <p:childTnLst>
                                    <p:set>
                                      <p:cBhvr>
                                        <p:cTn id="218" dur="indefinite"/>
                                        <p:tgtEl>
                                          <p:spTgt spid="710"/>
                                        </p:tgtEl>
                                        <p:attrNameLst>
                                          <p:attrName>style.opacity</p:attrName>
                                        </p:attrNameLst>
                                      </p:cBhvr>
                                      <p:to>
                                        <p:strVal val="0.1"/>
                                      </p:to>
                                    </p:set>
                                    <p:animEffect filter="image" prLst="opacity: 0.1">
                                      <p:cBhvr rctx="IE">
                                        <p:cTn id="219" dur="indefinite"/>
                                        <p:tgtEl>
                                          <p:spTgt spid="710"/>
                                        </p:tgtEl>
                                      </p:cBhvr>
                                    </p:animEffect>
                                  </p:childTnLst>
                                </p:cTn>
                              </p:par>
                              <p:par>
                                <p:cTn id="220" presetID="9" presetClass="emph" presetSubtype="0" grpId="1" nodeType="withEffect">
                                  <p:stCondLst>
                                    <p:cond delay="0"/>
                                  </p:stCondLst>
                                  <p:childTnLst>
                                    <p:set>
                                      <p:cBhvr>
                                        <p:cTn id="221" dur="indefinite"/>
                                        <p:tgtEl>
                                          <p:spTgt spid="715"/>
                                        </p:tgtEl>
                                        <p:attrNameLst>
                                          <p:attrName>style.opacity</p:attrName>
                                        </p:attrNameLst>
                                      </p:cBhvr>
                                      <p:to>
                                        <p:strVal val="0.1"/>
                                      </p:to>
                                    </p:set>
                                    <p:animEffect filter="image" prLst="opacity: 0.1">
                                      <p:cBhvr rctx="IE">
                                        <p:cTn id="222" dur="indefinite"/>
                                        <p:tgtEl>
                                          <p:spTgt spid="715"/>
                                        </p:tgtEl>
                                      </p:cBhvr>
                                    </p:animEffect>
                                  </p:childTnLst>
                                </p:cTn>
                              </p:par>
                              <p:par>
                                <p:cTn id="223" presetID="9" presetClass="emph" presetSubtype="0" grpId="1" nodeType="withEffect">
                                  <p:stCondLst>
                                    <p:cond delay="0"/>
                                  </p:stCondLst>
                                  <p:childTnLst>
                                    <p:set>
                                      <p:cBhvr>
                                        <p:cTn id="224" dur="indefinite"/>
                                        <p:tgtEl>
                                          <p:spTgt spid="30">
                                            <p:txEl>
                                              <p:pRg st="0" end="0"/>
                                            </p:txEl>
                                          </p:spTgt>
                                        </p:tgtEl>
                                        <p:attrNameLst>
                                          <p:attrName>style.opacity</p:attrName>
                                        </p:attrNameLst>
                                      </p:cBhvr>
                                      <p:to>
                                        <p:strVal val="0.1"/>
                                      </p:to>
                                    </p:set>
                                    <p:animEffect filter="image" prLst="opacity: 0.1">
                                      <p:cBhvr rctx="IE">
                                        <p:cTn id="225" dur="indefinite"/>
                                        <p:tgtEl>
                                          <p:spTgt spid="30">
                                            <p:txEl>
                                              <p:pRg st="0" end="0"/>
                                            </p:txEl>
                                          </p:spTgt>
                                        </p:tgtEl>
                                      </p:cBhvr>
                                    </p:animEffect>
                                  </p:childTnLst>
                                </p:cTn>
                              </p:par>
                              <p:par>
                                <p:cTn id="226" presetID="9" presetClass="emph" presetSubtype="0" nodeType="withEffect">
                                  <p:stCondLst>
                                    <p:cond delay="0"/>
                                  </p:stCondLst>
                                  <p:childTnLst>
                                    <p:set>
                                      <p:cBhvr>
                                        <p:cTn id="227" dur="indefinite"/>
                                        <p:tgtEl>
                                          <p:spTgt spid="117"/>
                                        </p:tgtEl>
                                        <p:attrNameLst>
                                          <p:attrName>style.opacity</p:attrName>
                                        </p:attrNameLst>
                                      </p:cBhvr>
                                      <p:to>
                                        <p:strVal val="0.1"/>
                                      </p:to>
                                    </p:set>
                                    <p:animEffect filter="image" prLst="opacity: 0.1">
                                      <p:cBhvr rctx="IE">
                                        <p:cTn id="228" dur="indefinite"/>
                                        <p:tgtEl>
                                          <p:spTgt spid="117"/>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71"/>
                                        </p:tgtEl>
                                        <p:attrNameLst>
                                          <p:attrName>style.visibility</p:attrName>
                                        </p:attrNameLst>
                                      </p:cBhvr>
                                      <p:to>
                                        <p:strVal val="visible"/>
                                      </p:to>
                                    </p:set>
                                    <p:animEffect transition="in" filter="fade">
                                      <p:cBhvr>
                                        <p:cTn id="231" dur="500"/>
                                        <p:tgtEl>
                                          <p:spTgt spid="171"/>
                                        </p:tgtEl>
                                      </p:cBhvr>
                                    </p:animEffect>
                                  </p:childTnLst>
                                </p:cTn>
                              </p:par>
                              <p:par>
                                <p:cTn id="232" presetID="10" presetClass="entr" presetSubtype="0" fill="hold" nodeType="withEffect">
                                  <p:stCondLst>
                                    <p:cond delay="0"/>
                                  </p:stCondLst>
                                  <p:childTnLst>
                                    <p:set>
                                      <p:cBhvr>
                                        <p:cTn id="233" dur="1" fill="hold">
                                          <p:stCondLst>
                                            <p:cond delay="0"/>
                                          </p:stCondLst>
                                        </p:cTn>
                                        <p:tgtEl>
                                          <p:spTgt spid="176"/>
                                        </p:tgtEl>
                                        <p:attrNameLst>
                                          <p:attrName>style.visibility</p:attrName>
                                        </p:attrNameLst>
                                      </p:cBhvr>
                                      <p:to>
                                        <p:strVal val="visible"/>
                                      </p:to>
                                    </p:set>
                                    <p:animEffect transition="in" filter="fade">
                                      <p:cBhvr>
                                        <p:cTn id="234" dur="500"/>
                                        <p:tgtEl>
                                          <p:spTgt spid="176"/>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86"/>
                                        </p:tgtEl>
                                        <p:attrNameLst>
                                          <p:attrName>style.visibility</p:attrName>
                                        </p:attrNameLst>
                                      </p:cBhvr>
                                      <p:to>
                                        <p:strVal val="visible"/>
                                      </p:to>
                                    </p:set>
                                    <p:animEffect transition="in" filter="fade">
                                      <p:cBhvr>
                                        <p:cTn id="237" dur="500"/>
                                        <p:tgtEl>
                                          <p:spTgt spid="186"/>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1">
                                            <p:txEl>
                                              <p:pRg st="0" end="0"/>
                                            </p:txEl>
                                          </p:spTgt>
                                        </p:tgtEl>
                                        <p:attrNameLst>
                                          <p:attrName>style.visibility</p:attrName>
                                        </p:attrNameLst>
                                      </p:cBhvr>
                                      <p:to>
                                        <p:strVal val="visible"/>
                                      </p:to>
                                    </p:set>
                                    <p:animEffect transition="in" filter="fade">
                                      <p:cBhvr>
                                        <p:cTn id="240" dur="500"/>
                                        <p:tgtEl>
                                          <p:spTgt spid="11">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781">
                                            <p:txEl>
                                              <p:pRg st="0" end="0"/>
                                            </p:txEl>
                                          </p:spTgt>
                                        </p:tgtEl>
                                        <p:attrNameLst>
                                          <p:attrName>style.visibility</p:attrName>
                                        </p:attrNameLst>
                                      </p:cBhvr>
                                      <p:to>
                                        <p:strVal val="visible"/>
                                      </p:to>
                                    </p:set>
                                    <p:animEffect transition="in" filter="fade">
                                      <p:cBhvr>
                                        <p:cTn id="243" dur="500"/>
                                        <p:tgtEl>
                                          <p:spTgt spid="781">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711"/>
                                        </p:tgtEl>
                                        <p:attrNameLst>
                                          <p:attrName>style.visibility</p:attrName>
                                        </p:attrNameLst>
                                      </p:cBhvr>
                                      <p:to>
                                        <p:strVal val="visible"/>
                                      </p:to>
                                    </p:set>
                                    <p:animEffect transition="in" filter="fade">
                                      <p:cBhvr>
                                        <p:cTn id="246" dur="500"/>
                                        <p:tgtEl>
                                          <p:spTgt spid="711"/>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716"/>
                                        </p:tgtEl>
                                        <p:attrNameLst>
                                          <p:attrName>style.visibility</p:attrName>
                                        </p:attrNameLst>
                                      </p:cBhvr>
                                      <p:to>
                                        <p:strVal val="visible"/>
                                      </p:to>
                                    </p:set>
                                    <p:animEffect transition="in" filter="fade">
                                      <p:cBhvr>
                                        <p:cTn id="249" dur="500"/>
                                        <p:tgtEl>
                                          <p:spTgt spid="716"/>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31">
                                            <p:txEl>
                                              <p:pRg st="0" end="0"/>
                                            </p:txEl>
                                          </p:spTgt>
                                        </p:tgtEl>
                                        <p:attrNameLst>
                                          <p:attrName>style.visibility</p:attrName>
                                        </p:attrNameLst>
                                      </p:cBhvr>
                                      <p:to>
                                        <p:strVal val="visible"/>
                                      </p:to>
                                    </p:set>
                                    <p:animEffect transition="in" filter="fade">
                                      <p:cBhvr>
                                        <p:cTn id="252" dur="500"/>
                                        <p:tgtEl>
                                          <p:spTgt spid="31">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37"/>
                                        </p:tgtEl>
                                        <p:attrNameLst>
                                          <p:attrName>style.visibility</p:attrName>
                                        </p:attrNameLst>
                                      </p:cBhvr>
                                      <p:to>
                                        <p:strVal val="visible"/>
                                      </p:to>
                                    </p:set>
                                    <p:animEffect transition="in" filter="fade">
                                      <p:cBhvr>
                                        <p:cTn id="255" dur="500"/>
                                        <p:tgtEl>
                                          <p:spTgt spid="137"/>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07"/>
                                        </p:tgtEl>
                                        <p:attrNameLst>
                                          <p:attrName>style.opacity</p:attrName>
                                        </p:attrNameLst>
                                      </p:cBhvr>
                                      <p:to>
                                        <p:strVal val="1"/>
                                      </p:to>
                                    </p:set>
                                    <p:animEffect filter="image" prLst="opacity: 1">
                                      <p:cBhvr rctx="IE">
                                        <p:cTn id="260" dur="indefinite"/>
                                        <p:tgtEl>
                                          <p:spTgt spid="107"/>
                                        </p:tgtEl>
                                      </p:cBhvr>
                                    </p:animEffect>
                                  </p:childTnLst>
                                </p:cTn>
                              </p:par>
                              <p:par>
                                <p:cTn id="261" presetID="9" presetClass="emph" presetSubtype="0" grpId="2" nodeType="withEffect">
                                  <p:stCondLst>
                                    <p:cond delay="0"/>
                                  </p:stCondLst>
                                  <p:childTnLst>
                                    <p:set>
                                      <p:cBhvr>
                                        <p:cTn id="262" dur="indefinite"/>
                                        <p:tgtEl>
                                          <p:spTgt spid="168"/>
                                        </p:tgtEl>
                                        <p:attrNameLst>
                                          <p:attrName>style.opacity</p:attrName>
                                        </p:attrNameLst>
                                      </p:cBhvr>
                                      <p:to>
                                        <p:strVal val="1"/>
                                      </p:to>
                                    </p:set>
                                    <p:animEffect filter="image" prLst="opacity: 1">
                                      <p:cBhvr rctx="IE">
                                        <p:cTn id="263" dur="indefinite"/>
                                        <p:tgtEl>
                                          <p:spTgt spid="168"/>
                                        </p:tgtEl>
                                      </p:cBhvr>
                                    </p:animEffect>
                                  </p:childTnLst>
                                </p:cTn>
                              </p:par>
                              <p:par>
                                <p:cTn id="264" presetID="9" presetClass="emph" presetSubtype="0" grpId="2" nodeType="withEffect">
                                  <p:stCondLst>
                                    <p:cond delay="0"/>
                                  </p:stCondLst>
                                  <p:childTnLst>
                                    <p:set>
                                      <p:cBhvr>
                                        <p:cTn id="265" dur="indefinite"/>
                                        <p:tgtEl>
                                          <p:spTgt spid="169"/>
                                        </p:tgtEl>
                                        <p:attrNameLst>
                                          <p:attrName>style.opacity</p:attrName>
                                        </p:attrNameLst>
                                      </p:cBhvr>
                                      <p:to>
                                        <p:strVal val="1"/>
                                      </p:to>
                                    </p:set>
                                    <p:animEffect filter="image" prLst="opacity: 1">
                                      <p:cBhvr rctx="IE">
                                        <p:cTn id="266" dur="indefinite"/>
                                        <p:tgtEl>
                                          <p:spTgt spid="169"/>
                                        </p:tgtEl>
                                      </p:cBhvr>
                                    </p:animEffect>
                                  </p:childTnLst>
                                </p:cTn>
                              </p:par>
                              <p:par>
                                <p:cTn id="267" presetID="9" presetClass="emph" presetSubtype="0" grpId="2" nodeType="withEffect">
                                  <p:stCondLst>
                                    <p:cond delay="0"/>
                                  </p:stCondLst>
                                  <p:childTnLst>
                                    <p:set>
                                      <p:cBhvr>
                                        <p:cTn id="268" dur="indefinite"/>
                                        <p:tgtEl>
                                          <p:spTgt spid="170"/>
                                        </p:tgtEl>
                                        <p:attrNameLst>
                                          <p:attrName>style.opacity</p:attrName>
                                        </p:attrNameLst>
                                      </p:cBhvr>
                                      <p:to>
                                        <p:strVal val="1"/>
                                      </p:to>
                                    </p:set>
                                    <p:animEffect filter="image" prLst="opacity: 1">
                                      <p:cBhvr rctx="IE">
                                        <p:cTn id="269" dur="indefinite"/>
                                        <p:tgtEl>
                                          <p:spTgt spid="170"/>
                                        </p:tgtEl>
                                      </p:cBhvr>
                                    </p:animEffect>
                                  </p:childTnLst>
                                </p:cTn>
                              </p:par>
                              <p:par>
                                <p:cTn id="270" presetID="9" presetClass="emph" presetSubtype="0" nodeType="withEffect">
                                  <p:stCondLst>
                                    <p:cond delay="0"/>
                                  </p:stCondLst>
                                  <p:childTnLst>
                                    <p:set>
                                      <p:cBhvr>
                                        <p:cTn id="271" dur="indefinite"/>
                                        <p:tgtEl>
                                          <p:spTgt spid="172"/>
                                        </p:tgtEl>
                                        <p:attrNameLst>
                                          <p:attrName>style.opacity</p:attrName>
                                        </p:attrNameLst>
                                      </p:cBhvr>
                                      <p:to>
                                        <p:strVal val="1"/>
                                      </p:to>
                                    </p:set>
                                    <p:animEffect filter="image" prLst="opacity: 1">
                                      <p:cBhvr rctx="IE">
                                        <p:cTn id="272" dur="indefinite"/>
                                        <p:tgtEl>
                                          <p:spTgt spid="172"/>
                                        </p:tgtEl>
                                      </p:cBhvr>
                                    </p:animEffect>
                                  </p:childTnLst>
                                </p:cTn>
                              </p:par>
                              <p:par>
                                <p:cTn id="273" presetID="9" presetClass="emph" presetSubtype="0" nodeType="withEffect">
                                  <p:stCondLst>
                                    <p:cond delay="0"/>
                                  </p:stCondLst>
                                  <p:childTnLst>
                                    <p:set>
                                      <p:cBhvr>
                                        <p:cTn id="274" dur="indefinite"/>
                                        <p:tgtEl>
                                          <p:spTgt spid="173"/>
                                        </p:tgtEl>
                                        <p:attrNameLst>
                                          <p:attrName>style.opacity</p:attrName>
                                        </p:attrNameLst>
                                      </p:cBhvr>
                                      <p:to>
                                        <p:strVal val="1"/>
                                      </p:to>
                                    </p:set>
                                    <p:animEffect filter="image" prLst="opacity: 1">
                                      <p:cBhvr rctx="IE">
                                        <p:cTn id="275" dur="indefinite"/>
                                        <p:tgtEl>
                                          <p:spTgt spid="173"/>
                                        </p:tgtEl>
                                      </p:cBhvr>
                                    </p:animEffect>
                                  </p:childTnLst>
                                </p:cTn>
                              </p:par>
                              <p:par>
                                <p:cTn id="276" presetID="9" presetClass="emph" presetSubtype="0" nodeType="withEffect">
                                  <p:stCondLst>
                                    <p:cond delay="0"/>
                                  </p:stCondLst>
                                  <p:childTnLst>
                                    <p:set>
                                      <p:cBhvr>
                                        <p:cTn id="277" dur="indefinite"/>
                                        <p:tgtEl>
                                          <p:spTgt spid="174"/>
                                        </p:tgtEl>
                                        <p:attrNameLst>
                                          <p:attrName>style.opacity</p:attrName>
                                        </p:attrNameLst>
                                      </p:cBhvr>
                                      <p:to>
                                        <p:strVal val="1"/>
                                      </p:to>
                                    </p:set>
                                    <p:animEffect filter="image" prLst="opacity: 1">
                                      <p:cBhvr rctx="IE">
                                        <p:cTn id="278" dur="indefinite"/>
                                        <p:tgtEl>
                                          <p:spTgt spid="174"/>
                                        </p:tgtEl>
                                      </p:cBhvr>
                                    </p:animEffect>
                                  </p:childTnLst>
                                </p:cTn>
                              </p:par>
                              <p:par>
                                <p:cTn id="279" presetID="9" presetClass="emph" presetSubtype="0" nodeType="withEffect">
                                  <p:stCondLst>
                                    <p:cond delay="0"/>
                                  </p:stCondLst>
                                  <p:childTnLst>
                                    <p:set>
                                      <p:cBhvr>
                                        <p:cTn id="280" dur="indefinite"/>
                                        <p:tgtEl>
                                          <p:spTgt spid="175"/>
                                        </p:tgtEl>
                                        <p:attrNameLst>
                                          <p:attrName>style.opacity</p:attrName>
                                        </p:attrNameLst>
                                      </p:cBhvr>
                                      <p:to>
                                        <p:strVal val="1"/>
                                      </p:to>
                                    </p:set>
                                    <p:animEffect filter="image" prLst="opacity: 1">
                                      <p:cBhvr rctx="IE">
                                        <p:cTn id="281" dur="indefinite"/>
                                        <p:tgtEl>
                                          <p:spTgt spid="175"/>
                                        </p:tgtEl>
                                      </p:cBhvr>
                                    </p:animEffect>
                                  </p:childTnLst>
                                </p:cTn>
                              </p:par>
                              <p:par>
                                <p:cTn id="282" presetID="9" presetClass="emph" presetSubtype="0" grpId="2" nodeType="withEffect">
                                  <p:stCondLst>
                                    <p:cond delay="0"/>
                                  </p:stCondLst>
                                  <p:childTnLst>
                                    <p:set>
                                      <p:cBhvr>
                                        <p:cTn id="283" dur="indefinite"/>
                                        <p:tgtEl>
                                          <p:spTgt spid="182"/>
                                        </p:tgtEl>
                                        <p:attrNameLst>
                                          <p:attrName>style.opacity</p:attrName>
                                        </p:attrNameLst>
                                      </p:cBhvr>
                                      <p:to>
                                        <p:strVal val="1"/>
                                      </p:to>
                                    </p:set>
                                    <p:animEffect filter="image" prLst="opacity: 1">
                                      <p:cBhvr rctx="IE">
                                        <p:cTn id="284" dur="indefinite"/>
                                        <p:tgtEl>
                                          <p:spTgt spid="182"/>
                                        </p:tgtEl>
                                      </p:cBhvr>
                                    </p:animEffect>
                                  </p:childTnLst>
                                </p:cTn>
                              </p:par>
                              <p:par>
                                <p:cTn id="285" presetID="9" presetClass="emph" presetSubtype="0" grpId="2" nodeType="withEffect">
                                  <p:stCondLst>
                                    <p:cond delay="0"/>
                                  </p:stCondLst>
                                  <p:childTnLst>
                                    <p:set>
                                      <p:cBhvr>
                                        <p:cTn id="286" dur="indefinite"/>
                                        <p:tgtEl>
                                          <p:spTgt spid="183"/>
                                        </p:tgtEl>
                                        <p:attrNameLst>
                                          <p:attrName>style.opacity</p:attrName>
                                        </p:attrNameLst>
                                      </p:cBhvr>
                                      <p:to>
                                        <p:strVal val="1"/>
                                      </p:to>
                                    </p:set>
                                    <p:animEffect filter="image" prLst="opacity: 1">
                                      <p:cBhvr rctx="IE">
                                        <p:cTn id="287" dur="indefinite"/>
                                        <p:tgtEl>
                                          <p:spTgt spid="183"/>
                                        </p:tgtEl>
                                      </p:cBhvr>
                                    </p:animEffect>
                                  </p:childTnLst>
                                </p:cTn>
                              </p:par>
                              <p:par>
                                <p:cTn id="288" presetID="9" presetClass="emph" presetSubtype="0" grpId="2" nodeType="withEffect">
                                  <p:stCondLst>
                                    <p:cond delay="0"/>
                                  </p:stCondLst>
                                  <p:childTnLst>
                                    <p:set>
                                      <p:cBhvr>
                                        <p:cTn id="289" dur="indefinite"/>
                                        <p:tgtEl>
                                          <p:spTgt spid="184"/>
                                        </p:tgtEl>
                                        <p:attrNameLst>
                                          <p:attrName>style.opacity</p:attrName>
                                        </p:attrNameLst>
                                      </p:cBhvr>
                                      <p:to>
                                        <p:strVal val="1"/>
                                      </p:to>
                                    </p:set>
                                    <p:animEffect filter="image" prLst="opacity: 1">
                                      <p:cBhvr rctx="IE">
                                        <p:cTn id="290" dur="indefinite"/>
                                        <p:tgtEl>
                                          <p:spTgt spid="184"/>
                                        </p:tgtEl>
                                      </p:cBhvr>
                                    </p:animEffect>
                                  </p:childTnLst>
                                </p:cTn>
                              </p:par>
                              <p:par>
                                <p:cTn id="291" presetID="9" presetClass="emph" presetSubtype="0" grpId="2" nodeType="withEffect">
                                  <p:stCondLst>
                                    <p:cond delay="0"/>
                                  </p:stCondLst>
                                  <p:childTnLst>
                                    <p:set>
                                      <p:cBhvr>
                                        <p:cTn id="292" dur="indefinite"/>
                                        <p:tgtEl>
                                          <p:spTgt spid="185"/>
                                        </p:tgtEl>
                                        <p:attrNameLst>
                                          <p:attrName>style.opacity</p:attrName>
                                        </p:attrNameLst>
                                      </p:cBhvr>
                                      <p:to>
                                        <p:strVal val="1"/>
                                      </p:to>
                                    </p:set>
                                    <p:animEffect filter="image" prLst="opacity: 1">
                                      <p:cBhvr rctx="IE">
                                        <p:cTn id="293" dur="indefinite"/>
                                        <p:tgtEl>
                                          <p:spTgt spid="185"/>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8">
                                            <p:txEl>
                                              <p:pRg st="0" end="0"/>
                                            </p:txEl>
                                          </p:spTgt>
                                        </p:tgtEl>
                                        <p:attrNameLst>
                                          <p:attrName>style.opacity</p:attrName>
                                        </p:attrNameLst>
                                      </p:cBhvr>
                                      <p:to>
                                        <p:strVal val="1"/>
                                      </p:to>
                                    </p:set>
                                    <p:animEffect filter="image" prLst="opacity: 1">
                                      <p:cBhvr rctx="IE">
                                        <p:cTn id="299" dur="indefinite"/>
                                        <p:tgtEl>
                                          <p:spTgt spid="8">
                                            <p:txEl>
                                              <p:pRg st="0" end="0"/>
                                            </p:txEl>
                                          </p:spTgt>
                                        </p:tgtEl>
                                      </p:cBhvr>
                                    </p:animEffect>
                                  </p:childTnLst>
                                </p:cTn>
                              </p:par>
                              <p:par>
                                <p:cTn id="300" presetID="9" presetClass="emph" presetSubtype="0" grpId="2" nodeType="withEffect">
                                  <p:stCondLst>
                                    <p:cond delay="0"/>
                                  </p:stCondLst>
                                  <p:childTnLst>
                                    <p:set>
                                      <p:cBhvr>
                                        <p:cTn id="301" dur="indefinite"/>
                                        <p:tgtEl>
                                          <p:spTgt spid="9">
                                            <p:txEl>
                                              <p:pRg st="0" end="0"/>
                                            </p:txEl>
                                          </p:spTgt>
                                        </p:tgtEl>
                                        <p:attrNameLst>
                                          <p:attrName>style.opacity</p:attrName>
                                        </p:attrNameLst>
                                      </p:cBhvr>
                                      <p:to>
                                        <p:strVal val="1"/>
                                      </p:to>
                                    </p:set>
                                    <p:animEffect filter="image" prLst="opacity: 1">
                                      <p:cBhvr rctx="IE">
                                        <p:cTn id="302" dur="indefinite"/>
                                        <p:tgtEl>
                                          <p:spTgt spid="9">
                                            <p:txEl>
                                              <p:pRg st="0" end="0"/>
                                            </p:txEl>
                                          </p:spTgt>
                                        </p:tgtEl>
                                      </p:cBhvr>
                                    </p:animEffect>
                                  </p:childTnLst>
                                </p:cTn>
                              </p:par>
                              <p:par>
                                <p:cTn id="303" presetID="9" presetClass="emph" presetSubtype="0" grpId="2" nodeType="withEffect">
                                  <p:stCondLst>
                                    <p:cond delay="0"/>
                                  </p:stCondLst>
                                  <p:childTnLst>
                                    <p:set>
                                      <p:cBhvr>
                                        <p:cTn id="304" dur="indefinite"/>
                                        <p:tgtEl>
                                          <p:spTgt spid="10">
                                            <p:txEl>
                                              <p:pRg st="0" end="0"/>
                                            </p:txEl>
                                          </p:spTgt>
                                        </p:tgtEl>
                                        <p:attrNameLst>
                                          <p:attrName>style.opacity</p:attrName>
                                        </p:attrNameLst>
                                      </p:cBhvr>
                                      <p:to>
                                        <p:strVal val="1"/>
                                      </p:to>
                                    </p:set>
                                    <p:animEffect filter="image" prLst="opacity: 1">
                                      <p:cBhvr rctx="IE">
                                        <p:cTn id="305" dur="indefinite"/>
                                        <p:tgtEl>
                                          <p:spTgt spid="10">
                                            <p:txEl>
                                              <p:pRg st="0" end="0"/>
                                            </p:txEl>
                                          </p:spTgt>
                                        </p:tgtEl>
                                      </p:cBhvr>
                                    </p:animEffect>
                                  </p:childTnLst>
                                </p:cTn>
                              </p:par>
                              <p:par>
                                <p:cTn id="306" presetID="9" presetClass="emph" presetSubtype="0" grpId="2" nodeType="withEffect">
                                  <p:stCondLst>
                                    <p:cond delay="0"/>
                                  </p:stCondLst>
                                  <p:childTnLst>
                                    <p:set>
                                      <p:cBhvr>
                                        <p:cTn id="307" dur="indefinite"/>
                                        <p:tgtEl>
                                          <p:spTgt spid="777">
                                            <p:txEl>
                                              <p:pRg st="0" end="0"/>
                                            </p:txEl>
                                          </p:spTgt>
                                        </p:tgtEl>
                                        <p:attrNameLst>
                                          <p:attrName>style.opacity</p:attrName>
                                        </p:attrNameLst>
                                      </p:cBhvr>
                                      <p:to>
                                        <p:strVal val="1"/>
                                      </p:to>
                                    </p:set>
                                    <p:animEffect filter="image" prLst="opacity: 1">
                                      <p:cBhvr rctx="IE">
                                        <p:cTn id="308" dur="indefinite"/>
                                        <p:tgtEl>
                                          <p:spTgt spid="777">
                                            <p:txEl>
                                              <p:pRg st="0" end="0"/>
                                            </p:txEl>
                                          </p:spTgt>
                                        </p:tgtEl>
                                      </p:cBhvr>
                                    </p:animEffect>
                                  </p:childTnLst>
                                </p:cTn>
                              </p:par>
                              <p:par>
                                <p:cTn id="309" presetID="9" presetClass="emph" presetSubtype="0" grpId="2" nodeType="withEffect">
                                  <p:stCondLst>
                                    <p:cond delay="0"/>
                                  </p:stCondLst>
                                  <p:childTnLst>
                                    <p:set>
                                      <p:cBhvr>
                                        <p:cTn id="310" dur="indefinite"/>
                                        <p:tgtEl>
                                          <p:spTgt spid="778">
                                            <p:txEl>
                                              <p:pRg st="0" end="0"/>
                                            </p:txEl>
                                          </p:spTgt>
                                        </p:tgtEl>
                                        <p:attrNameLst>
                                          <p:attrName>style.opacity</p:attrName>
                                        </p:attrNameLst>
                                      </p:cBhvr>
                                      <p:to>
                                        <p:strVal val="1"/>
                                      </p:to>
                                    </p:set>
                                    <p:animEffect filter="image" prLst="opacity: 1">
                                      <p:cBhvr rctx="IE">
                                        <p:cTn id="311" dur="indefinite"/>
                                        <p:tgtEl>
                                          <p:spTgt spid="778">
                                            <p:txEl>
                                              <p:pRg st="0" end="0"/>
                                            </p:txEl>
                                          </p:spTgt>
                                        </p:tgtEl>
                                      </p:cBhvr>
                                    </p:animEffect>
                                  </p:childTnLst>
                                </p:cTn>
                              </p:par>
                              <p:par>
                                <p:cTn id="312" presetID="9" presetClass="emph" presetSubtype="0" grpId="2" nodeType="withEffect">
                                  <p:stCondLst>
                                    <p:cond delay="0"/>
                                  </p:stCondLst>
                                  <p:childTnLst>
                                    <p:set>
                                      <p:cBhvr>
                                        <p:cTn id="313" dur="indefinite"/>
                                        <p:tgtEl>
                                          <p:spTgt spid="779">
                                            <p:txEl>
                                              <p:pRg st="0" end="0"/>
                                            </p:txEl>
                                          </p:spTgt>
                                        </p:tgtEl>
                                        <p:attrNameLst>
                                          <p:attrName>style.opacity</p:attrName>
                                        </p:attrNameLst>
                                      </p:cBhvr>
                                      <p:to>
                                        <p:strVal val="1"/>
                                      </p:to>
                                    </p:set>
                                    <p:animEffect filter="image" prLst="opacity: 1">
                                      <p:cBhvr rctx="IE">
                                        <p:cTn id="314" dur="indefinite"/>
                                        <p:tgtEl>
                                          <p:spTgt spid="779">
                                            <p:txEl>
                                              <p:pRg st="0" end="0"/>
                                            </p:txEl>
                                          </p:spTgt>
                                        </p:tgtEl>
                                      </p:cBhvr>
                                    </p:animEffect>
                                  </p:childTnLst>
                                </p:cTn>
                              </p:par>
                              <p:par>
                                <p:cTn id="315" presetID="9" presetClass="emph" presetSubtype="0" grpId="2" nodeType="withEffect">
                                  <p:stCondLst>
                                    <p:cond delay="0"/>
                                  </p:stCondLst>
                                  <p:childTnLst>
                                    <p:set>
                                      <p:cBhvr>
                                        <p:cTn id="316" dur="indefinite"/>
                                        <p:tgtEl>
                                          <p:spTgt spid="780">
                                            <p:txEl>
                                              <p:pRg st="0" end="0"/>
                                            </p:txEl>
                                          </p:spTgt>
                                        </p:tgtEl>
                                        <p:attrNameLst>
                                          <p:attrName>style.opacity</p:attrName>
                                        </p:attrNameLst>
                                      </p:cBhvr>
                                      <p:to>
                                        <p:strVal val="1"/>
                                      </p:to>
                                    </p:set>
                                    <p:animEffect filter="image" prLst="opacity: 1">
                                      <p:cBhvr rctx="IE">
                                        <p:cTn id="317" dur="indefinite"/>
                                        <p:tgtEl>
                                          <p:spTgt spid="780">
                                            <p:txEl>
                                              <p:pRg st="0" end="0"/>
                                            </p:txEl>
                                          </p:spTgt>
                                        </p:tgtEl>
                                      </p:cBhvr>
                                    </p:animEffect>
                                  </p:childTnLst>
                                </p:cTn>
                              </p:par>
                              <p:par>
                                <p:cTn id="318" presetID="9" presetClass="emph" presetSubtype="0" grpId="2" nodeType="withEffect">
                                  <p:stCondLst>
                                    <p:cond delay="0"/>
                                  </p:stCondLst>
                                  <p:childTnLst>
                                    <p:set>
                                      <p:cBhvr>
                                        <p:cTn id="319" dur="indefinite"/>
                                        <p:tgtEl>
                                          <p:spTgt spid="708"/>
                                        </p:tgtEl>
                                        <p:attrNameLst>
                                          <p:attrName>style.opacity</p:attrName>
                                        </p:attrNameLst>
                                      </p:cBhvr>
                                      <p:to>
                                        <p:strVal val="1"/>
                                      </p:to>
                                    </p:set>
                                    <p:animEffect filter="image" prLst="opacity: 1">
                                      <p:cBhvr rctx="IE">
                                        <p:cTn id="320" dur="indefinite"/>
                                        <p:tgtEl>
                                          <p:spTgt spid="708"/>
                                        </p:tgtEl>
                                      </p:cBhvr>
                                    </p:animEffect>
                                  </p:childTnLst>
                                </p:cTn>
                              </p:par>
                              <p:par>
                                <p:cTn id="321" presetID="9" presetClass="emph" presetSubtype="0" grpId="2" nodeType="withEffect">
                                  <p:stCondLst>
                                    <p:cond delay="0"/>
                                  </p:stCondLst>
                                  <p:childTnLst>
                                    <p:set>
                                      <p:cBhvr>
                                        <p:cTn id="322" dur="indefinite"/>
                                        <p:tgtEl>
                                          <p:spTgt spid="709"/>
                                        </p:tgtEl>
                                        <p:attrNameLst>
                                          <p:attrName>style.opacity</p:attrName>
                                        </p:attrNameLst>
                                      </p:cBhvr>
                                      <p:to>
                                        <p:strVal val="1"/>
                                      </p:to>
                                    </p:set>
                                    <p:animEffect filter="image" prLst="opacity: 1">
                                      <p:cBhvr rctx="IE">
                                        <p:cTn id="323" dur="indefinite"/>
                                        <p:tgtEl>
                                          <p:spTgt spid="709"/>
                                        </p:tgtEl>
                                      </p:cBhvr>
                                    </p:animEffect>
                                  </p:childTnLst>
                                </p:cTn>
                              </p:par>
                              <p:par>
                                <p:cTn id="324" presetID="9" presetClass="emph" presetSubtype="0" grpId="2" nodeType="withEffect">
                                  <p:stCondLst>
                                    <p:cond delay="0"/>
                                  </p:stCondLst>
                                  <p:childTnLst>
                                    <p:set>
                                      <p:cBhvr>
                                        <p:cTn id="325" dur="indefinite"/>
                                        <p:tgtEl>
                                          <p:spTgt spid="710"/>
                                        </p:tgtEl>
                                        <p:attrNameLst>
                                          <p:attrName>style.opacity</p:attrName>
                                        </p:attrNameLst>
                                      </p:cBhvr>
                                      <p:to>
                                        <p:strVal val="1"/>
                                      </p:to>
                                    </p:set>
                                    <p:animEffect filter="image" prLst="opacity: 1">
                                      <p:cBhvr rctx="IE">
                                        <p:cTn id="326" dur="indefinite"/>
                                        <p:tgtEl>
                                          <p:spTgt spid="710"/>
                                        </p:tgtEl>
                                      </p:cBhvr>
                                    </p:animEffect>
                                  </p:childTnLst>
                                </p:cTn>
                              </p:par>
                              <p:par>
                                <p:cTn id="327" presetID="9" presetClass="emph" presetSubtype="0" grpId="2" nodeType="withEffect">
                                  <p:stCondLst>
                                    <p:cond delay="0"/>
                                  </p:stCondLst>
                                  <p:childTnLst>
                                    <p:set>
                                      <p:cBhvr>
                                        <p:cTn id="328" dur="indefinite"/>
                                        <p:tgtEl>
                                          <p:spTgt spid="712"/>
                                        </p:tgtEl>
                                        <p:attrNameLst>
                                          <p:attrName>style.opacity</p:attrName>
                                        </p:attrNameLst>
                                      </p:cBhvr>
                                      <p:to>
                                        <p:strVal val="1"/>
                                      </p:to>
                                    </p:set>
                                    <p:animEffect filter="image" prLst="opacity: 1">
                                      <p:cBhvr rctx="IE">
                                        <p:cTn id="329" dur="indefinite"/>
                                        <p:tgtEl>
                                          <p:spTgt spid="712"/>
                                        </p:tgtEl>
                                      </p:cBhvr>
                                    </p:animEffect>
                                  </p:childTnLst>
                                </p:cTn>
                              </p:par>
                              <p:par>
                                <p:cTn id="330" presetID="9" presetClass="emph" presetSubtype="0" grpId="2" nodeType="withEffect">
                                  <p:stCondLst>
                                    <p:cond delay="0"/>
                                  </p:stCondLst>
                                  <p:childTnLst>
                                    <p:set>
                                      <p:cBhvr>
                                        <p:cTn id="331" dur="indefinite"/>
                                        <p:tgtEl>
                                          <p:spTgt spid="713"/>
                                        </p:tgtEl>
                                        <p:attrNameLst>
                                          <p:attrName>style.opacity</p:attrName>
                                        </p:attrNameLst>
                                      </p:cBhvr>
                                      <p:to>
                                        <p:strVal val="1"/>
                                      </p:to>
                                    </p:set>
                                    <p:animEffect filter="image" prLst="opacity: 1">
                                      <p:cBhvr rctx="IE">
                                        <p:cTn id="332" dur="indefinite"/>
                                        <p:tgtEl>
                                          <p:spTgt spid="713"/>
                                        </p:tgtEl>
                                      </p:cBhvr>
                                    </p:animEffect>
                                  </p:childTnLst>
                                </p:cTn>
                              </p:par>
                              <p:par>
                                <p:cTn id="333" presetID="9" presetClass="emph" presetSubtype="0" grpId="2" nodeType="withEffect">
                                  <p:stCondLst>
                                    <p:cond delay="0"/>
                                  </p:stCondLst>
                                  <p:childTnLst>
                                    <p:set>
                                      <p:cBhvr>
                                        <p:cTn id="334" dur="indefinite"/>
                                        <p:tgtEl>
                                          <p:spTgt spid="714"/>
                                        </p:tgtEl>
                                        <p:attrNameLst>
                                          <p:attrName>style.opacity</p:attrName>
                                        </p:attrNameLst>
                                      </p:cBhvr>
                                      <p:to>
                                        <p:strVal val="1"/>
                                      </p:to>
                                    </p:set>
                                    <p:animEffect filter="image" prLst="opacity: 1">
                                      <p:cBhvr rctx="IE">
                                        <p:cTn id="335" dur="indefinite"/>
                                        <p:tgtEl>
                                          <p:spTgt spid="714"/>
                                        </p:tgtEl>
                                      </p:cBhvr>
                                    </p:animEffect>
                                  </p:childTnLst>
                                </p:cTn>
                              </p:par>
                              <p:par>
                                <p:cTn id="336" presetID="9" presetClass="emph" presetSubtype="0" grpId="2" nodeType="withEffect">
                                  <p:stCondLst>
                                    <p:cond delay="0"/>
                                  </p:stCondLst>
                                  <p:childTnLst>
                                    <p:set>
                                      <p:cBhvr>
                                        <p:cTn id="337" dur="indefinite"/>
                                        <p:tgtEl>
                                          <p:spTgt spid="715"/>
                                        </p:tgtEl>
                                        <p:attrNameLst>
                                          <p:attrName>style.opacity</p:attrName>
                                        </p:attrNameLst>
                                      </p:cBhvr>
                                      <p:to>
                                        <p:strVal val="1"/>
                                      </p:to>
                                    </p:set>
                                    <p:animEffect filter="image" prLst="opacity: 1">
                                      <p:cBhvr rctx="IE">
                                        <p:cTn id="338" dur="indefinite"/>
                                        <p:tgtEl>
                                          <p:spTgt spid="715"/>
                                        </p:tgtEl>
                                      </p:cBhvr>
                                    </p:animEffect>
                                  </p:childTnLst>
                                </p:cTn>
                              </p:par>
                              <p:par>
                                <p:cTn id="339" presetID="9" presetClass="emph" presetSubtype="0" grpId="2" nodeType="withEffect">
                                  <p:stCondLst>
                                    <p:cond delay="0"/>
                                  </p:stCondLst>
                                  <p:childTnLst>
                                    <p:set>
                                      <p:cBhvr>
                                        <p:cTn id="340" dur="indefinite"/>
                                        <p:tgtEl>
                                          <p:spTgt spid="717"/>
                                        </p:tgtEl>
                                        <p:attrNameLst>
                                          <p:attrName>style.opacity</p:attrName>
                                        </p:attrNameLst>
                                      </p:cBhvr>
                                      <p:to>
                                        <p:strVal val="1"/>
                                      </p:to>
                                    </p:set>
                                    <p:animEffect filter="image" prLst="opacity: 1">
                                      <p:cBhvr rctx="IE">
                                        <p:cTn id="341" dur="indefinite"/>
                                        <p:tgtEl>
                                          <p:spTgt spid="717"/>
                                        </p:tgtEl>
                                      </p:cBhvr>
                                    </p:animEffect>
                                  </p:childTnLst>
                                </p:cTn>
                              </p:par>
                              <p:par>
                                <p:cTn id="342" presetID="9" presetClass="emph" presetSubtype="0" grpId="2" nodeType="withEffect">
                                  <p:stCondLst>
                                    <p:cond delay="0"/>
                                  </p:stCondLst>
                                  <p:childTnLst>
                                    <p:set>
                                      <p:cBhvr>
                                        <p:cTn id="343" dur="indefinite"/>
                                        <p:tgtEl>
                                          <p:spTgt spid="27">
                                            <p:txEl>
                                              <p:pRg st="0" end="0"/>
                                            </p:txEl>
                                          </p:spTgt>
                                        </p:tgtEl>
                                        <p:attrNameLst>
                                          <p:attrName>style.opacity</p:attrName>
                                        </p:attrNameLst>
                                      </p:cBhvr>
                                      <p:to>
                                        <p:strVal val="1"/>
                                      </p:to>
                                    </p:set>
                                    <p:animEffect filter="image" prLst="opacity: 1">
                                      <p:cBhvr rctx="IE">
                                        <p:cTn id="344" dur="indefinite"/>
                                        <p:tgtEl>
                                          <p:spTgt spid="27">
                                            <p:txEl>
                                              <p:pRg st="0" end="0"/>
                                            </p:txEl>
                                          </p:spTgt>
                                        </p:tgtEl>
                                      </p:cBhvr>
                                    </p:animEffect>
                                  </p:childTnLst>
                                </p:cTn>
                              </p:par>
                              <p:par>
                                <p:cTn id="345" presetID="9" presetClass="emph" presetSubtype="0" grpId="2" nodeType="withEffect">
                                  <p:stCondLst>
                                    <p:cond delay="0"/>
                                  </p:stCondLst>
                                  <p:childTnLst>
                                    <p:set>
                                      <p:cBhvr>
                                        <p:cTn id="346" dur="indefinite"/>
                                        <p:tgtEl>
                                          <p:spTgt spid="28">
                                            <p:txEl>
                                              <p:pRg st="0" end="0"/>
                                            </p:txEl>
                                          </p:spTgt>
                                        </p:tgtEl>
                                        <p:attrNameLst>
                                          <p:attrName>style.opacity</p:attrName>
                                        </p:attrNameLst>
                                      </p:cBhvr>
                                      <p:to>
                                        <p:strVal val="1"/>
                                      </p:to>
                                    </p:set>
                                    <p:animEffect filter="image" prLst="opacity: 1">
                                      <p:cBhvr rctx="IE">
                                        <p:cTn id="347" dur="indefinite"/>
                                        <p:tgtEl>
                                          <p:spTgt spid="28">
                                            <p:txEl>
                                              <p:pRg st="0" end="0"/>
                                            </p:txEl>
                                          </p:spTgt>
                                        </p:tgtEl>
                                      </p:cBhvr>
                                    </p:animEffect>
                                  </p:childTnLst>
                                </p:cTn>
                              </p:par>
                              <p:par>
                                <p:cTn id="348" presetID="9" presetClass="emph" presetSubtype="0" grpId="2" nodeType="withEffect">
                                  <p:stCondLst>
                                    <p:cond delay="0"/>
                                  </p:stCondLst>
                                  <p:childTnLst>
                                    <p:set>
                                      <p:cBhvr>
                                        <p:cTn id="349" dur="indefinite"/>
                                        <p:tgtEl>
                                          <p:spTgt spid="718">
                                            <p:txEl>
                                              <p:pRg st="0" end="0"/>
                                            </p:txEl>
                                          </p:spTgt>
                                        </p:tgtEl>
                                        <p:attrNameLst>
                                          <p:attrName>style.opacity</p:attrName>
                                        </p:attrNameLst>
                                      </p:cBhvr>
                                      <p:to>
                                        <p:strVal val="1"/>
                                      </p:to>
                                    </p:set>
                                    <p:animEffect filter="image" prLst="opacity: 1">
                                      <p:cBhvr rctx="IE">
                                        <p:cTn id="350" dur="indefinite"/>
                                        <p:tgtEl>
                                          <p:spTgt spid="718">
                                            <p:txEl>
                                              <p:pRg st="0" end="0"/>
                                            </p:txEl>
                                          </p:spTgt>
                                        </p:tgtEl>
                                      </p:cBhvr>
                                    </p:animEffect>
                                  </p:childTnLst>
                                </p:cTn>
                              </p:par>
                              <p:par>
                                <p:cTn id="351" presetID="9" presetClass="emph" presetSubtype="0" grpId="2" nodeType="withEffect">
                                  <p:stCondLst>
                                    <p:cond delay="0"/>
                                  </p:stCondLst>
                                  <p:childTnLst>
                                    <p:set>
                                      <p:cBhvr>
                                        <p:cTn id="352" dur="indefinite"/>
                                        <p:tgtEl>
                                          <p:spTgt spid="30">
                                            <p:txEl>
                                              <p:pRg st="0" end="0"/>
                                            </p:txEl>
                                          </p:spTgt>
                                        </p:tgtEl>
                                        <p:attrNameLst>
                                          <p:attrName>style.opacity</p:attrName>
                                        </p:attrNameLst>
                                      </p:cBhvr>
                                      <p:to>
                                        <p:strVal val="1"/>
                                      </p:to>
                                    </p:set>
                                    <p:animEffect filter="image" prLst="opacity: 1">
                                      <p:cBhvr rctx="IE">
                                        <p:cTn id="353" dur="indefinite"/>
                                        <p:tgtEl>
                                          <p:spTgt spid="30">
                                            <p:txEl>
                                              <p:pRg st="0" end="0"/>
                                            </p:txEl>
                                          </p:spTgt>
                                        </p:tgtEl>
                                      </p:cBhvr>
                                    </p:animEffect>
                                  </p:childTnLst>
                                </p:cTn>
                              </p:par>
                              <p:par>
                                <p:cTn id="354" presetID="9" presetClass="emph" presetSubtype="0" nodeType="withEffect">
                                  <p:stCondLst>
                                    <p:cond delay="0"/>
                                  </p:stCondLst>
                                  <p:childTnLst>
                                    <p:set>
                                      <p:cBhvr>
                                        <p:cTn id="355" dur="indefinite"/>
                                        <p:tgtEl>
                                          <p:spTgt spid="97"/>
                                        </p:tgtEl>
                                        <p:attrNameLst>
                                          <p:attrName>style.opacity</p:attrName>
                                        </p:attrNameLst>
                                      </p:cBhvr>
                                      <p:to>
                                        <p:strVal val="1"/>
                                      </p:to>
                                    </p:set>
                                    <p:animEffect filter="image" prLst="opacity: 1">
                                      <p:cBhvr rctx="IE">
                                        <p:cTn id="356" dur="indefinite"/>
                                        <p:tgtEl>
                                          <p:spTgt spid="97"/>
                                        </p:tgtEl>
                                      </p:cBhvr>
                                    </p:animEffect>
                                  </p:childTnLst>
                                </p:cTn>
                              </p:par>
                              <p:par>
                                <p:cTn id="357" presetID="9" presetClass="emph" presetSubtype="0" nodeType="withEffect">
                                  <p:stCondLst>
                                    <p:cond delay="0"/>
                                  </p:stCondLst>
                                  <p:childTnLst>
                                    <p:set>
                                      <p:cBhvr>
                                        <p:cTn id="358" dur="indefinite"/>
                                        <p:tgtEl>
                                          <p:spTgt spid="114"/>
                                        </p:tgtEl>
                                        <p:attrNameLst>
                                          <p:attrName>style.opacity</p:attrName>
                                        </p:attrNameLst>
                                      </p:cBhvr>
                                      <p:to>
                                        <p:strVal val="1"/>
                                      </p:to>
                                    </p:set>
                                    <p:animEffect filter="image" prLst="opacity: 1">
                                      <p:cBhvr rctx="IE">
                                        <p:cTn id="359" dur="indefinite"/>
                                        <p:tgtEl>
                                          <p:spTgt spid="114"/>
                                        </p:tgtEl>
                                      </p:cBhvr>
                                    </p:animEffect>
                                  </p:childTnLst>
                                </p:cTn>
                              </p:par>
                              <p:par>
                                <p:cTn id="360" presetID="9" presetClass="emph" presetSubtype="0" nodeType="withEffect">
                                  <p:stCondLst>
                                    <p:cond delay="0"/>
                                  </p:stCondLst>
                                  <p:childTnLst>
                                    <p:set>
                                      <p:cBhvr>
                                        <p:cTn id="361" dur="indefinite"/>
                                        <p:tgtEl>
                                          <p:spTgt spid="117"/>
                                        </p:tgtEl>
                                        <p:attrNameLst>
                                          <p:attrName>style.opacity</p:attrName>
                                        </p:attrNameLst>
                                      </p:cBhvr>
                                      <p:to>
                                        <p:strVal val="1"/>
                                      </p:to>
                                    </p:set>
                                    <p:animEffect filter="image" prLst="opacity: 1">
                                      <p:cBhvr rctx="IE">
                                        <p:cTn id="362" dur="indefinite"/>
                                        <p:tgtEl>
                                          <p:spTgt spid="117"/>
                                        </p:tgtEl>
                                      </p:cBhvr>
                                    </p:animEffect>
                                  </p:childTnLst>
                                </p:cTn>
                              </p:par>
                              <p:par>
                                <p:cTn id="363" presetID="9" presetClass="emph" presetSubtype="0" nodeType="withEffect">
                                  <p:stCondLst>
                                    <p:cond delay="0"/>
                                  </p:stCondLst>
                                  <p:childTnLst>
                                    <p:set>
                                      <p:cBhvr>
                                        <p:cTn id="364" dur="indefinite"/>
                                        <p:tgtEl>
                                          <p:spTgt spid="162"/>
                                        </p:tgtEl>
                                        <p:attrNameLst>
                                          <p:attrName>style.opacity</p:attrName>
                                        </p:attrNameLst>
                                      </p:cBhvr>
                                      <p:to>
                                        <p:strVal val="1"/>
                                      </p:to>
                                    </p:set>
                                    <p:animEffect filter="image" prLst="opacity: 1">
                                      <p:cBhvr rctx="IE">
                                        <p:cTn id="365" dur="indefinite"/>
                                        <p:tgtEl>
                                          <p:spTgt spid="162"/>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87"/>
                                        </p:tgtEl>
                                        <p:attrNameLst>
                                          <p:attrName>style.visibility</p:attrName>
                                        </p:attrNameLst>
                                      </p:cBhvr>
                                      <p:to>
                                        <p:strVal val="visible"/>
                                      </p:to>
                                    </p:set>
                                    <p:animEffect transition="in" filter="fade">
                                      <p:cBhvr>
                                        <p:cTn id="368" dur="500"/>
                                        <p:tgtEl>
                                          <p:spTgt spid="187"/>
                                        </p:tgtEl>
                                      </p:cBhvr>
                                    </p:animEffect>
                                  </p:childTnLst>
                                </p:cTn>
                              </p:par>
                              <p:par>
                                <p:cTn id="369" presetID="9" presetClass="emph" presetSubtype="0" grpId="1" nodeType="withEffect">
                                  <p:stCondLst>
                                    <p:cond delay="0"/>
                                  </p:stCondLst>
                                  <p:childTnLst>
                                    <p:set>
                                      <p:cBhvr>
                                        <p:cTn id="370" dur="indefinite"/>
                                        <p:tgtEl>
                                          <p:spTgt spid="187"/>
                                        </p:tgtEl>
                                        <p:attrNameLst>
                                          <p:attrName>style.opacity</p:attrName>
                                        </p:attrNameLst>
                                      </p:cBhvr>
                                      <p:to>
                                        <p:strVal val="0.1"/>
                                      </p:to>
                                    </p:set>
                                    <p:animEffect filter="image" prLst="opacity: 0.1">
                                      <p:cBhvr rctx="IE">
                                        <p:cTn id="371" dur="indefinite"/>
                                        <p:tgtEl>
                                          <p:spTgt spid="187"/>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88"/>
                                        </p:tgtEl>
                                        <p:attrNameLst>
                                          <p:attrName>style.visibility</p:attrName>
                                        </p:attrNameLst>
                                      </p:cBhvr>
                                      <p:to>
                                        <p:strVal val="visible"/>
                                      </p:to>
                                    </p:set>
                                    <p:animEffect transition="in" filter="fade">
                                      <p:cBhvr>
                                        <p:cTn id="374" dur="500"/>
                                        <p:tgtEl>
                                          <p:spTgt spid="188"/>
                                        </p:tgtEl>
                                      </p:cBhvr>
                                    </p:animEffect>
                                  </p:childTnLst>
                                </p:cTn>
                              </p:par>
                              <p:par>
                                <p:cTn id="375" presetID="9" presetClass="emph" presetSubtype="0" grpId="1" nodeType="withEffect">
                                  <p:stCondLst>
                                    <p:cond delay="0"/>
                                  </p:stCondLst>
                                  <p:childTnLst>
                                    <p:set>
                                      <p:cBhvr>
                                        <p:cTn id="376" dur="indefinite"/>
                                        <p:tgtEl>
                                          <p:spTgt spid="188"/>
                                        </p:tgtEl>
                                        <p:attrNameLst>
                                          <p:attrName>style.opacity</p:attrName>
                                        </p:attrNameLst>
                                      </p:cBhvr>
                                      <p:to>
                                        <p:strVal val="0.1"/>
                                      </p:to>
                                    </p:set>
                                    <p:animEffect filter="image" prLst="opacity: 0.1">
                                      <p:cBhvr rctx="IE">
                                        <p:cTn id="377" dur="indefinite"/>
                                        <p:tgtEl>
                                          <p:spTgt spid="188"/>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9"/>
                                        </p:tgtEl>
                                        <p:attrNameLst>
                                          <p:attrName>style.visibility</p:attrName>
                                        </p:attrNameLst>
                                      </p:cBhvr>
                                      <p:to>
                                        <p:strVal val="visible"/>
                                      </p:to>
                                    </p:set>
                                    <p:animEffect transition="in" filter="fade">
                                      <p:cBhvr>
                                        <p:cTn id="380" dur="500"/>
                                        <p:tgtEl>
                                          <p:spTgt spid="189"/>
                                        </p:tgtEl>
                                      </p:cBhvr>
                                    </p:animEffect>
                                  </p:childTnLst>
                                </p:cTn>
                              </p:par>
                              <p:par>
                                <p:cTn id="381" presetID="9" presetClass="emph" presetSubtype="0" grpId="1" nodeType="withEffect">
                                  <p:stCondLst>
                                    <p:cond delay="0"/>
                                  </p:stCondLst>
                                  <p:childTnLst>
                                    <p:set>
                                      <p:cBhvr>
                                        <p:cTn id="382" dur="indefinite"/>
                                        <p:tgtEl>
                                          <p:spTgt spid="189"/>
                                        </p:tgtEl>
                                        <p:attrNameLst>
                                          <p:attrName>style.opacity</p:attrName>
                                        </p:attrNameLst>
                                      </p:cBhvr>
                                      <p:to>
                                        <p:strVal val="0.1"/>
                                      </p:to>
                                    </p:set>
                                    <p:animEffect filter="image" prLst="opacity: 0.1">
                                      <p:cBhvr rctx="IE">
                                        <p:cTn id="383" dur="indefinite"/>
                                        <p:tgtEl>
                                          <p:spTgt spid="189"/>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90"/>
                                        </p:tgtEl>
                                        <p:attrNameLst>
                                          <p:attrName>style.visibility</p:attrName>
                                        </p:attrNameLst>
                                      </p:cBhvr>
                                      <p:to>
                                        <p:strVal val="visible"/>
                                      </p:to>
                                    </p:set>
                                    <p:animEffect transition="in" filter="fade">
                                      <p:cBhvr>
                                        <p:cTn id="386" dur="500"/>
                                        <p:tgtEl>
                                          <p:spTgt spid="190"/>
                                        </p:tgtEl>
                                      </p:cBhvr>
                                    </p:animEffect>
                                  </p:childTnLst>
                                </p:cTn>
                              </p:par>
                              <p:par>
                                <p:cTn id="387" presetID="9" presetClass="emph" presetSubtype="0" grpId="1" nodeType="withEffect">
                                  <p:stCondLst>
                                    <p:cond delay="0"/>
                                  </p:stCondLst>
                                  <p:childTnLst>
                                    <p:set>
                                      <p:cBhvr>
                                        <p:cTn id="388" dur="indefinite"/>
                                        <p:tgtEl>
                                          <p:spTgt spid="190"/>
                                        </p:tgtEl>
                                        <p:attrNameLst>
                                          <p:attrName>style.opacity</p:attrName>
                                        </p:attrNameLst>
                                      </p:cBhvr>
                                      <p:to>
                                        <p:strVal val="0.1"/>
                                      </p:to>
                                    </p:set>
                                    <p:animEffect filter="image" prLst="opacity: 0.1">
                                      <p:cBhvr rctx="IE">
                                        <p:cTn id="389" dur="indefinite"/>
                                        <p:tgtEl>
                                          <p:spTgt spid="190"/>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91"/>
                                        </p:tgtEl>
                                        <p:attrNameLst>
                                          <p:attrName>style.visibility</p:attrName>
                                        </p:attrNameLst>
                                      </p:cBhvr>
                                      <p:to>
                                        <p:strVal val="visible"/>
                                      </p:to>
                                    </p:set>
                                    <p:animEffect transition="in" filter="fade">
                                      <p:cBhvr>
                                        <p:cTn id="392" dur="500"/>
                                        <p:tgtEl>
                                          <p:spTgt spid="191"/>
                                        </p:tgtEl>
                                      </p:cBhvr>
                                    </p:animEffect>
                                  </p:childTnLst>
                                </p:cTn>
                              </p:par>
                              <p:par>
                                <p:cTn id="393" presetID="9" presetClass="emph" presetSubtype="0" grpId="2" nodeType="withEffect">
                                  <p:stCondLst>
                                    <p:cond delay="0"/>
                                  </p:stCondLst>
                                  <p:childTnLst>
                                    <p:set>
                                      <p:cBhvr>
                                        <p:cTn id="394" dur="indefinite"/>
                                        <p:tgtEl>
                                          <p:spTgt spid="187"/>
                                        </p:tgtEl>
                                        <p:attrNameLst>
                                          <p:attrName>style.opacity</p:attrName>
                                        </p:attrNameLst>
                                      </p:cBhvr>
                                      <p:to>
                                        <p:strVal val="1"/>
                                      </p:to>
                                    </p:set>
                                    <p:animEffect filter="image" prLst="opacity: 1">
                                      <p:cBhvr rctx="IE">
                                        <p:cTn id="395" dur="indefinite"/>
                                        <p:tgtEl>
                                          <p:spTgt spid="187"/>
                                        </p:tgtEl>
                                      </p:cBhvr>
                                    </p:animEffect>
                                  </p:childTnLst>
                                </p:cTn>
                              </p:par>
                              <p:par>
                                <p:cTn id="396" presetID="9" presetClass="emph" presetSubtype="0" grpId="2" nodeType="withEffect">
                                  <p:stCondLst>
                                    <p:cond delay="0"/>
                                  </p:stCondLst>
                                  <p:childTnLst>
                                    <p:set>
                                      <p:cBhvr>
                                        <p:cTn id="397" dur="indefinite"/>
                                        <p:tgtEl>
                                          <p:spTgt spid="188"/>
                                        </p:tgtEl>
                                        <p:attrNameLst>
                                          <p:attrName>style.opacity</p:attrName>
                                        </p:attrNameLst>
                                      </p:cBhvr>
                                      <p:to>
                                        <p:strVal val="1"/>
                                      </p:to>
                                    </p:set>
                                    <p:animEffect filter="image" prLst="opacity: 1">
                                      <p:cBhvr rctx="IE">
                                        <p:cTn id="398" dur="indefinite"/>
                                        <p:tgtEl>
                                          <p:spTgt spid="188"/>
                                        </p:tgtEl>
                                      </p:cBhvr>
                                    </p:animEffect>
                                  </p:childTnLst>
                                </p:cTn>
                              </p:par>
                              <p:par>
                                <p:cTn id="399" presetID="9" presetClass="emph" presetSubtype="0" grpId="2" nodeType="withEffect">
                                  <p:stCondLst>
                                    <p:cond delay="0"/>
                                  </p:stCondLst>
                                  <p:childTnLst>
                                    <p:set>
                                      <p:cBhvr>
                                        <p:cTn id="400" dur="indefinite"/>
                                        <p:tgtEl>
                                          <p:spTgt spid="189"/>
                                        </p:tgtEl>
                                        <p:attrNameLst>
                                          <p:attrName>style.opacity</p:attrName>
                                        </p:attrNameLst>
                                      </p:cBhvr>
                                      <p:to>
                                        <p:strVal val="1"/>
                                      </p:to>
                                    </p:set>
                                    <p:animEffect filter="image" prLst="opacity: 1">
                                      <p:cBhvr rctx="IE">
                                        <p:cTn id="401" dur="indefinite"/>
                                        <p:tgtEl>
                                          <p:spTgt spid="189"/>
                                        </p:tgtEl>
                                      </p:cBhvr>
                                    </p:animEffect>
                                  </p:childTnLst>
                                </p:cTn>
                              </p:par>
                              <p:par>
                                <p:cTn id="402" presetID="9" presetClass="emph" presetSubtype="0" grpId="2" nodeType="withEffect">
                                  <p:stCondLst>
                                    <p:cond delay="0"/>
                                  </p:stCondLst>
                                  <p:childTnLst>
                                    <p:set>
                                      <p:cBhvr>
                                        <p:cTn id="403" dur="indefinite"/>
                                        <p:tgtEl>
                                          <p:spTgt spid="190"/>
                                        </p:tgtEl>
                                        <p:attrNameLst>
                                          <p:attrName>style.opacity</p:attrName>
                                        </p:attrNameLst>
                                      </p:cBhvr>
                                      <p:to>
                                        <p:strVal val="1"/>
                                      </p:to>
                                    </p:set>
                                    <p:animEffect filter="image" prLst="opacity: 1">
                                      <p:cBhvr rctx="IE">
                                        <p:cTn id="404" dur="indefinite"/>
                                        <p:tgtEl>
                                          <p:spTgt spid="1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7" grpId="1" animBg="1"/>
      <p:bldP spid="107" grpId="2" animBg="1"/>
      <p:bldP spid="168" grpId="0" animBg="1"/>
      <p:bldP spid="168" grpId="1" animBg="1"/>
      <p:bldP spid="168" grpId="2" animBg="1"/>
      <p:bldP spid="169" grpId="0" animBg="1"/>
      <p:bldP spid="169" grpId="1" animBg="1"/>
      <p:bldP spid="169" grpId="2" animBg="1"/>
      <p:bldP spid="170" grpId="0" animBg="1"/>
      <p:bldP spid="170" grpId="1" animBg="1"/>
      <p:bldP spid="170" grpId="2" animBg="1"/>
      <p:bldP spid="171" grpId="0" animBg="1"/>
      <p:bldP spid="182" grpId="0" animBg="1"/>
      <p:bldP spid="182" grpId="1" animBg="1"/>
      <p:bldP spid="182" grpId="2" animBg="1"/>
      <p:bldP spid="183" grpId="0" animBg="1"/>
      <p:bldP spid="183" grpId="1" animBg="1"/>
      <p:bldP spid="183" grpId="2" animBg="1"/>
      <p:bldP spid="184" grpId="0" animBg="1"/>
      <p:bldP spid="184" grpId="1" animBg="1"/>
      <p:bldP spid="184" grpId="2" animBg="1"/>
      <p:bldP spid="185" grpId="0" animBg="1"/>
      <p:bldP spid="185" grpId="1" animBg="1"/>
      <p:bldP spid="185" grpId="2" animBg="1"/>
      <p:bldP spid="186" grpId="0" animBg="1"/>
      <p:bldP spid="7" grpId="0" build="p"/>
      <p:bldP spid="7" grpId="1" build="p"/>
      <p:bldP spid="7" grpId="2" build="p"/>
      <p:bldP spid="8" grpId="0" build="p"/>
      <p:bldP spid="8" grpId="1" build="p"/>
      <p:bldP spid="8" grpId="2" build="p"/>
      <p:bldP spid="9" grpId="0" build="p"/>
      <p:bldP spid="9" grpId="1" build="p"/>
      <p:bldP spid="9" grpId="2" build="p"/>
      <p:bldP spid="10" grpId="0" build="p"/>
      <p:bldP spid="10" grpId="1" build="p"/>
      <p:bldP spid="10" grpId="2" build="p"/>
      <p:bldP spid="11" grpId="0" build="p"/>
      <p:bldP spid="777" grpId="0" build="p"/>
      <p:bldP spid="777" grpId="1" build="p"/>
      <p:bldP spid="777" grpId="2" build="p"/>
      <p:bldP spid="778" grpId="0" build="p"/>
      <p:bldP spid="778" grpId="1" build="p"/>
      <p:bldP spid="778" grpId="2" build="p"/>
      <p:bldP spid="779" grpId="0" build="p"/>
      <p:bldP spid="779" grpId="1" build="p"/>
      <p:bldP spid="779" grpId="2" build="p"/>
      <p:bldP spid="780" grpId="0" build="p"/>
      <p:bldP spid="780" grpId="1" build="p"/>
      <p:bldP spid="780" grpId="2" build="p"/>
      <p:bldP spid="781" grpId="0" build="p"/>
      <p:bldP spid="708" grpId="0"/>
      <p:bldP spid="708" grpId="1"/>
      <p:bldP spid="708" grpId="2"/>
      <p:bldP spid="709" grpId="0"/>
      <p:bldP spid="709" grpId="1"/>
      <p:bldP spid="709" grpId="2"/>
      <p:bldP spid="710" grpId="0"/>
      <p:bldP spid="710" grpId="1"/>
      <p:bldP spid="710" grpId="2"/>
      <p:bldP spid="711" grpId="0"/>
      <p:bldP spid="712" grpId="0"/>
      <p:bldP spid="712" grpId="1"/>
      <p:bldP spid="712" grpId="2"/>
      <p:bldP spid="713" grpId="0"/>
      <p:bldP spid="713" grpId="1"/>
      <p:bldP spid="713" grpId="2"/>
      <p:bldP spid="714" grpId="0"/>
      <p:bldP spid="714" grpId="1"/>
      <p:bldP spid="714" grpId="2"/>
      <p:bldP spid="715" grpId="0"/>
      <p:bldP spid="715" grpId="1"/>
      <p:bldP spid="715" grpId="2"/>
      <p:bldP spid="716" grpId="0"/>
      <p:bldP spid="717" grpId="0"/>
      <p:bldP spid="717" grpId="1"/>
      <p:bldP spid="717" grpId="2"/>
      <p:bldP spid="27" grpId="0" build="p"/>
      <p:bldP spid="27" grpId="1" build="p"/>
      <p:bldP spid="27" grpId="2" build="p"/>
      <p:bldP spid="28" grpId="0" build="p"/>
      <p:bldP spid="28" grpId="1" build="p"/>
      <p:bldP spid="28" grpId="2" build="p"/>
      <p:bldP spid="718" grpId="0" build="p"/>
      <p:bldP spid="718" grpId="1" build="p"/>
      <p:bldP spid="718" grpId="2" build="p"/>
      <p:bldP spid="30" grpId="0" build="p"/>
      <p:bldP spid="30" grpId="1" build="p"/>
      <p:bldP spid="30" grpId="2" build="p"/>
      <p:bldP spid="31" grpId="0" build="p"/>
      <p:bldP spid="187" grpId="0" animBg="1"/>
      <p:bldP spid="187" grpId="1" animBg="1"/>
      <p:bldP spid="187" grpId="2" animBg="1"/>
      <p:bldP spid="188" grpId="0" animBg="1"/>
      <p:bldP spid="188" grpId="1" animBg="1"/>
      <p:bldP spid="188" grpId="2" animBg="1"/>
      <p:bldP spid="189" grpId="0" animBg="1"/>
      <p:bldP spid="189" grpId="1" animBg="1"/>
      <p:bldP spid="189" grpId="2" animBg="1"/>
      <p:bldP spid="190" grpId="0" animBg="1"/>
      <p:bldP spid="190" grpId="1" animBg="1"/>
      <p:bldP spid="190" grpId="2" animBg="1"/>
      <p:bldP spid="19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79" name="Rectangle 78">
            <a:extLst>
              <a:ext uri="{FF2B5EF4-FFF2-40B4-BE49-F238E27FC236}">
                <a16:creationId xmlns:a16="http://schemas.microsoft.com/office/drawing/2014/main" id="{2A52BD39-665C-A744-9009-0E0337D753D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0" name="Rectangle 79">
            <a:extLst>
              <a:ext uri="{FF2B5EF4-FFF2-40B4-BE49-F238E27FC236}">
                <a16:creationId xmlns:a16="http://schemas.microsoft.com/office/drawing/2014/main" id="{EAB0ABCE-4902-924E-82A3-44AB413C7A7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1" name="Rectangle 80">
            <a:extLst>
              <a:ext uri="{FF2B5EF4-FFF2-40B4-BE49-F238E27FC236}">
                <a16:creationId xmlns:a16="http://schemas.microsoft.com/office/drawing/2014/main" id="{4C0DABF2-4B9E-1245-9BF9-5E33E9419A2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2" name="Rectangle 81">
            <a:extLst>
              <a:ext uri="{FF2B5EF4-FFF2-40B4-BE49-F238E27FC236}">
                <a16:creationId xmlns:a16="http://schemas.microsoft.com/office/drawing/2014/main" id="{1C2CA6AE-E62A-1F41-B495-7A99D3A4CE31}"/>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3" name="Rectangle 82">
            <a:extLst>
              <a:ext uri="{FF2B5EF4-FFF2-40B4-BE49-F238E27FC236}">
                <a16:creationId xmlns:a16="http://schemas.microsoft.com/office/drawing/2014/main" id="{37A8CA58-C8AE-B940-AF3C-D110322C85F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84" name="Shape 770">
            <a:extLst>
              <a:ext uri="{FF2B5EF4-FFF2-40B4-BE49-F238E27FC236}">
                <a16:creationId xmlns:a16="http://schemas.microsoft.com/office/drawing/2014/main" id="{B0860E74-1339-854C-8B40-416747E6880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5" name="Shape 770">
            <a:extLst>
              <a:ext uri="{FF2B5EF4-FFF2-40B4-BE49-F238E27FC236}">
                <a16:creationId xmlns:a16="http://schemas.microsoft.com/office/drawing/2014/main" id="{F1DE2F4A-8A5D-D54B-B542-73ECDB70E920}"/>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6" name="Shape 770">
            <a:extLst>
              <a:ext uri="{FF2B5EF4-FFF2-40B4-BE49-F238E27FC236}">
                <a16:creationId xmlns:a16="http://schemas.microsoft.com/office/drawing/2014/main" id="{EE6FEE9B-6CBD-2948-B3C6-23F43BE47985}"/>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7" name="Shape 770">
            <a:extLst>
              <a:ext uri="{FF2B5EF4-FFF2-40B4-BE49-F238E27FC236}">
                <a16:creationId xmlns:a16="http://schemas.microsoft.com/office/drawing/2014/main" id="{F51CC611-1F45-CE43-9506-63A8B7A7A51D}"/>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04" name="Shape 770">
            <a:extLst>
              <a:ext uri="{FF2B5EF4-FFF2-40B4-BE49-F238E27FC236}">
                <a16:creationId xmlns:a16="http://schemas.microsoft.com/office/drawing/2014/main" id="{ABF3938A-7E3B-3D4A-96FF-78DD4389EEB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11" name="Freeform: Shape 57">
            <a:extLst>
              <a:ext uri="{FF2B5EF4-FFF2-40B4-BE49-F238E27FC236}">
                <a16:creationId xmlns:a16="http://schemas.microsoft.com/office/drawing/2014/main" id="{2D366C86-54A0-DB48-863A-286487B9906C}"/>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Freeform: Shape 56">
            <a:extLst>
              <a:ext uri="{FF2B5EF4-FFF2-40B4-BE49-F238E27FC236}">
                <a16:creationId xmlns:a16="http://schemas.microsoft.com/office/drawing/2014/main" id="{03FD486C-C836-AA43-9028-E2BB18B84316}"/>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3" name="Freeform: Shape 55">
            <a:extLst>
              <a:ext uri="{FF2B5EF4-FFF2-40B4-BE49-F238E27FC236}">
                <a16:creationId xmlns:a16="http://schemas.microsoft.com/office/drawing/2014/main" id="{375CED6A-3AF9-B243-9834-927A6F4A854A}"/>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4" name="Freeform: Shape 54">
            <a:extLst>
              <a:ext uri="{FF2B5EF4-FFF2-40B4-BE49-F238E27FC236}">
                <a16:creationId xmlns:a16="http://schemas.microsoft.com/office/drawing/2014/main" id="{9DEA033C-BF87-0541-A84A-2C6C4E87B84F}"/>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6" name="Freeform: Shape 53">
            <a:extLst>
              <a:ext uri="{FF2B5EF4-FFF2-40B4-BE49-F238E27FC236}">
                <a16:creationId xmlns:a16="http://schemas.microsoft.com/office/drawing/2014/main" id="{7D91D30A-47E0-4A44-8F82-0DF41D60916A}"/>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 name="Text Placeholder 17">
            <a:extLst>
              <a:ext uri="{FF2B5EF4-FFF2-40B4-BE49-F238E27FC236}">
                <a16:creationId xmlns:a16="http://schemas.microsoft.com/office/drawing/2014/main" id="{AABF3801-3E34-4A3B-8099-852EEA20645F}"/>
              </a:ext>
            </a:extLst>
          </p:cNvPr>
          <p:cNvSpPr>
            <a:spLocks noGrp="1"/>
          </p:cNvSpPr>
          <p:nvPr>
            <p:ph type="body" sz="quarter" idx="12"/>
          </p:nvPr>
        </p:nvSpPr>
        <p:spPr/>
        <p:txBody>
          <a:bodyPr/>
          <a:lstStyle/>
          <a:p>
            <a:r>
              <a:rPr lang="en-US" dirty="0">
                <a:sym typeface="Source Sans Pro"/>
              </a:rPr>
              <a:t>Next best and personalized offers</a:t>
            </a:r>
          </a:p>
        </p:txBody>
      </p:sp>
      <p:sp>
        <p:nvSpPr>
          <p:cNvPr id="19" name="Text Placeholder 18">
            <a:extLst>
              <a:ext uri="{FF2B5EF4-FFF2-40B4-BE49-F238E27FC236}">
                <a16:creationId xmlns:a16="http://schemas.microsoft.com/office/drawing/2014/main" id="{4463F5FE-DD48-4822-AB51-D4C67BAC6593}"/>
              </a:ext>
            </a:extLst>
          </p:cNvPr>
          <p:cNvSpPr>
            <a:spLocks noGrp="1"/>
          </p:cNvSpPr>
          <p:nvPr>
            <p:ph type="body" sz="quarter" idx="13"/>
          </p:nvPr>
        </p:nvSpPr>
        <p:spPr/>
        <p:txBody>
          <a:bodyPr/>
          <a:lstStyle/>
          <a:p>
            <a:r>
              <a:rPr lang="en-US" dirty="0">
                <a:sym typeface="Source Sans Pro"/>
              </a:rPr>
              <a:t>Store design and ergonomics</a:t>
            </a:r>
          </a:p>
        </p:txBody>
      </p:sp>
      <p:sp>
        <p:nvSpPr>
          <p:cNvPr id="20" name="Text Placeholder 19">
            <a:extLst>
              <a:ext uri="{FF2B5EF4-FFF2-40B4-BE49-F238E27FC236}">
                <a16:creationId xmlns:a16="http://schemas.microsoft.com/office/drawing/2014/main" id="{E6FD0ADA-8BF7-43AC-8A51-CAC9A2428609}"/>
              </a:ext>
            </a:extLst>
          </p:cNvPr>
          <p:cNvSpPr>
            <a:spLocks noGrp="1"/>
          </p:cNvSpPr>
          <p:nvPr>
            <p:ph type="body" sz="quarter" idx="14"/>
          </p:nvPr>
        </p:nvSpPr>
        <p:spPr/>
        <p:txBody>
          <a:bodyPr/>
          <a:lstStyle/>
          <a:p>
            <a:r>
              <a:rPr lang="en-US" dirty="0">
                <a:sym typeface="Source Sans Pro"/>
              </a:rPr>
              <a:t>Data-driven stock, </a:t>
            </a:r>
            <a:br>
              <a:rPr lang="en-US" dirty="0">
                <a:sym typeface="Source Sans Pro"/>
              </a:rPr>
            </a:br>
            <a:r>
              <a:rPr lang="en-US" dirty="0">
                <a:sym typeface="Source Sans Pro"/>
              </a:rPr>
              <a:t>inventory, ordering</a:t>
            </a:r>
          </a:p>
        </p:txBody>
      </p:sp>
      <p:sp>
        <p:nvSpPr>
          <p:cNvPr id="21" name="Text Placeholder 20">
            <a:extLst>
              <a:ext uri="{FF2B5EF4-FFF2-40B4-BE49-F238E27FC236}">
                <a16:creationId xmlns:a16="http://schemas.microsoft.com/office/drawing/2014/main" id="{74F56FF7-51F4-4573-8667-FD03CBEEB5B4}"/>
              </a:ext>
            </a:extLst>
          </p:cNvPr>
          <p:cNvSpPr>
            <a:spLocks noGrp="1"/>
          </p:cNvSpPr>
          <p:nvPr>
            <p:ph type="body" sz="quarter" idx="15"/>
          </p:nvPr>
        </p:nvSpPr>
        <p:spPr/>
        <p:txBody>
          <a:bodyPr/>
          <a:lstStyle/>
          <a:p>
            <a:r>
              <a:rPr lang="en-US" dirty="0">
                <a:sym typeface="Source Sans Pro"/>
              </a:rPr>
              <a:t>Assortment optimization</a:t>
            </a:r>
          </a:p>
        </p:txBody>
      </p:sp>
      <p:sp>
        <p:nvSpPr>
          <p:cNvPr id="22" name="Text Placeholder 21">
            <a:extLst>
              <a:ext uri="{FF2B5EF4-FFF2-40B4-BE49-F238E27FC236}">
                <a16:creationId xmlns:a16="http://schemas.microsoft.com/office/drawing/2014/main" id="{F02BDAEB-1FC3-4C1F-AC80-697B9CBCE4D4}"/>
              </a:ext>
            </a:extLst>
          </p:cNvPr>
          <p:cNvSpPr>
            <a:spLocks noGrp="1"/>
          </p:cNvSpPr>
          <p:nvPr>
            <p:ph type="body" sz="quarter" idx="16"/>
          </p:nvPr>
        </p:nvSpPr>
        <p:spPr/>
        <p:txBody>
          <a:bodyPr/>
          <a:lstStyle/>
          <a:p>
            <a:r>
              <a:rPr lang="en-US" dirty="0">
                <a:sym typeface="Source Sans Pro"/>
              </a:rPr>
              <a:t>Real-time pricing optimization</a:t>
            </a:r>
          </a:p>
        </p:txBody>
      </p:sp>
      <p:sp>
        <p:nvSpPr>
          <p:cNvPr id="52" name="Text Placeholder 51">
            <a:extLst>
              <a:ext uri="{FF2B5EF4-FFF2-40B4-BE49-F238E27FC236}">
                <a16:creationId xmlns:a16="http://schemas.microsoft.com/office/drawing/2014/main" id="{2E387BA0-76E2-4B90-8654-28424F28B76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customer experience</a:t>
            </a:r>
            <a:endParaRPr lang="en-US" b="0" dirty="0">
              <a:latin typeface="+mj-lt"/>
              <a:sym typeface="Source Sans Pro"/>
            </a:endParaRPr>
          </a:p>
        </p:txBody>
      </p:sp>
      <p:sp>
        <p:nvSpPr>
          <p:cNvPr id="53" name="Text Placeholder 52">
            <a:extLst>
              <a:ext uri="{FF2B5EF4-FFF2-40B4-BE49-F238E27FC236}">
                <a16:creationId xmlns:a16="http://schemas.microsoft.com/office/drawing/2014/main" id="{74A7C9DC-CE62-4957-A9EA-A3FFA8D362B1}"/>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outcomes and increased revenue</a:t>
            </a:r>
            <a:endParaRPr lang="en-US" b="0" dirty="0">
              <a:latin typeface="+mj-lt"/>
              <a:sym typeface="Source Sans Pro"/>
            </a:endParaRPr>
          </a:p>
        </p:txBody>
      </p:sp>
      <p:sp>
        <p:nvSpPr>
          <p:cNvPr id="54" name="Text Placeholder 53">
            <a:extLst>
              <a:ext uri="{FF2B5EF4-FFF2-40B4-BE49-F238E27FC236}">
                <a16:creationId xmlns:a16="http://schemas.microsoft.com/office/drawing/2014/main" id="{54246E45-77FA-4322-8553-3D3863A3888D}"/>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Omni-channel shopping experience with machine learning</a:t>
            </a:r>
            <a:endParaRPr lang="en-US" b="0" dirty="0">
              <a:latin typeface="+mj-lt"/>
              <a:sym typeface="Source Sans Pro"/>
            </a:endParaRPr>
          </a:p>
        </p:txBody>
      </p:sp>
      <p:sp>
        <p:nvSpPr>
          <p:cNvPr id="55" name="Text Placeholder 54">
            <a:extLst>
              <a:ext uri="{FF2B5EF4-FFF2-40B4-BE49-F238E27FC236}">
                <a16:creationId xmlns:a16="http://schemas.microsoft.com/office/drawing/2014/main" id="{F849FDEF-FC4C-4C5D-B488-5EAA008B202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a:t>
            </a:r>
            <a:br>
              <a:rPr lang="en-US" b="0">
                <a:latin typeface="+mj-lt"/>
                <a:sym typeface="Source Sans Pro"/>
              </a:rPr>
            </a:br>
            <a:r>
              <a:rPr lang="en-US" b="0">
                <a:latin typeface="+mj-lt"/>
                <a:sym typeface="Source Sans Pro"/>
              </a:rPr>
              <a:t>analytics</a:t>
            </a:r>
            <a:br>
              <a:rPr lang="en-US" b="0">
                <a:latin typeface="+mj-lt"/>
                <a:sym typeface="Source Sans Pro"/>
              </a:rPr>
            </a:br>
            <a:r>
              <a:rPr lang="en-US" b="0">
                <a:latin typeface="+mj-lt"/>
                <a:sym typeface="Source Sans Pro"/>
              </a:rPr>
              <a:t>transforms growth</a:t>
            </a:r>
            <a:endParaRPr lang="en-US" b="0" dirty="0">
              <a:latin typeface="+mj-lt"/>
              <a:sym typeface="Source Sans Pro"/>
            </a:endParaRPr>
          </a:p>
        </p:txBody>
      </p:sp>
      <p:sp>
        <p:nvSpPr>
          <p:cNvPr id="56" name="Text Placeholder 55">
            <a:extLst>
              <a:ext uri="{FF2B5EF4-FFF2-40B4-BE49-F238E27FC236}">
                <a16:creationId xmlns:a16="http://schemas.microsoft.com/office/drawing/2014/main" id="{C46ED123-4F73-479C-834A-5025F45E096D}"/>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engagement with machine learning</a:t>
            </a:r>
            <a:endParaRPr lang="en-US" b="0" dirty="0">
              <a:latin typeface="+mj-lt"/>
              <a:sym typeface="Source Sans Pro"/>
            </a:endParaRPr>
          </a:p>
        </p:txBody>
      </p:sp>
      <p:sp>
        <p:nvSpPr>
          <p:cNvPr id="10" name="Text Placeholder 9">
            <a:extLst>
              <a:ext uri="{FF2B5EF4-FFF2-40B4-BE49-F238E27FC236}">
                <a16:creationId xmlns:a16="http://schemas.microsoft.com/office/drawing/2014/main" id="{29B9DC51-5109-408A-976D-7BE5DB799C9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network analysis </a:t>
            </a:r>
          </a:p>
        </p:txBody>
      </p:sp>
      <p:sp>
        <p:nvSpPr>
          <p:cNvPr id="12" name="Text Placeholder 11">
            <a:extLst>
              <a:ext uri="{FF2B5EF4-FFF2-40B4-BE49-F238E27FC236}">
                <a16:creationId xmlns:a16="http://schemas.microsoft.com/office/drawing/2014/main" id="{5EC73785-0836-4E55-8F56-32B0E7B5EC06}"/>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loor pla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 data</a:t>
            </a:r>
          </a:p>
        </p:txBody>
      </p:sp>
      <p:sp>
        <p:nvSpPr>
          <p:cNvPr id="13" name="Text Placeholder 12">
            <a:extLst>
              <a:ext uri="{FF2B5EF4-FFF2-40B4-BE49-F238E27FC236}">
                <a16:creationId xmlns:a16="http://schemas.microsoft.com/office/drawing/2014/main" id="{22D3CDEA-46D7-4FFF-985C-90A4477E9350}"/>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Buyer percep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sumer research</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competitive analysis</a:t>
            </a:r>
          </a:p>
        </p:txBody>
      </p:sp>
      <p:sp>
        <p:nvSpPr>
          <p:cNvPr id="14" name="Text Placeholder 13">
            <a:extLst>
              <a:ext uri="{FF2B5EF4-FFF2-40B4-BE49-F238E27FC236}">
                <a16:creationId xmlns:a16="http://schemas.microsoft.com/office/drawing/2014/main" id="{344AAE3E-7478-48F3-86DB-84F78D36E595}"/>
              </a:ext>
            </a:extLst>
          </p:cNvPr>
          <p:cNvSpPr>
            <a:spLocks noGrp="1"/>
          </p:cNvSpPr>
          <p:nvPr>
            <p:ph type="body" sz="quarter" idx="31"/>
          </p:nvPr>
        </p:nvSpPr>
        <p:spPr/>
        <p:txBody>
          <a:bodyPr/>
          <a:lstStyle/>
          <a:p>
            <a:r>
              <a:rPr lang="en-US" dirty="0">
                <a:sym typeface="Source Sans Pro"/>
              </a:rPr>
              <a:t>Historical sales data</a:t>
            </a:r>
          </a:p>
          <a:p>
            <a:r>
              <a:rPr lang="en-US" dirty="0">
                <a:sym typeface="Source Sans Pro"/>
              </a:rPr>
              <a:t>Price scheduling</a:t>
            </a:r>
          </a:p>
          <a:p>
            <a:r>
              <a:rPr lang="en-US" dirty="0">
                <a:sym typeface="Source Sans Pro"/>
              </a:rPr>
              <a:t>Segment level price changes </a:t>
            </a:r>
          </a:p>
        </p:txBody>
      </p:sp>
      <p:sp>
        <p:nvSpPr>
          <p:cNvPr id="15" name="Text Placeholder 14">
            <a:extLst>
              <a:ext uri="{FF2B5EF4-FFF2-40B4-BE49-F238E27FC236}">
                <a16:creationId xmlns:a16="http://schemas.microsoft.com/office/drawing/2014/main" id="{A4B38820-B6A3-4824-9228-2A76A761F441}"/>
              </a:ext>
            </a:extLst>
          </p:cNvPr>
          <p:cNvSpPr>
            <a:spLocks noGrp="1"/>
          </p:cNvSpPr>
          <p:nvPr>
            <p:ph type="body" sz="quarter" idx="36"/>
          </p:nvPr>
        </p:nvSpPr>
        <p:spPr>
          <a:xfrm>
            <a:off x="460375" y="4076371"/>
            <a:ext cx="1852613" cy="938719"/>
          </a:xfrm>
        </p:spPr>
        <p:txBody>
          <a:bodyPr vert="horz" wrap="square" lIns="91440" tIns="45720" rIns="91440" bIns="45720" rtlCol="0">
            <a:spAutoFit/>
          </a:bodyPr>
          <a:lstStyle/>
          <a:p>
            <a:pPr>
              <a:lnSpc>
                <a:spcPct val="90000"/>
              </a:lnSpc>
              <a:spcAft>
                <a:spcPts val="0"/>
              </a:spcAft>
            </a:pPr>
            <a:r>
              <a:rPr lang="en-US" dirty="0">
                <a:sym typeface="Source Sans Pro Light"/>
              </a:rPr>
              <a:t>Customer 360/consumer personalization</a:t>
            </a:r>
          </a:p>
          <a:p>
            <a:pPr>
              <a:lnSpc>
                <a:spcPct val="90000"/>
              </a:lnSpc>
              <a:spcAft>
                <a:spcPts val="0"/>
              </a:spcAft>
            </a:pPr>
            <a:r>
              <a:rPr lang="en-US" dirty="0">
                <a:sym typeface="Source Sans Pro Light"/>
              </a:rPr>
              <a:t>Right product, promotion,</a:t>
            </a:r>
            <a:br>
              <a:rPr lang="en-US" dirty="0">
                <a:sym typeface="Source Sans Pro Light"/>
              </a:rPr>
            </a:br>
            <a:r>
              <a:rPr lang="en-US" dirty="0">
                <a:sym typeface="Source Sans Pro Light"/>
              </a:rPr>
              <a:t>at right time</a:t>
            </a:r>
          </a:p>
          <a:p>
            <a:pPr>
              <a:lnSpc>
                <a:spcPct val="90000"/>
              </a:lnSpc>
              <a:spcAft>
                <a:spcPts val="0"/>
              </a:spcAft>
            </a:pPr>
            <a:r>
              <a:rPr lang="en-US" dirty="0">
                <a:sym typeface="Source Sans Pro Light"/>
              </a:rPr>
              <a:t>Multi-channel promotion</a:t>
            </a:r>
          </a:p>
        </p:txBody>
      </p:sp>
      <p:sp>
        <p:nvSpPr>
          <p:cNvPr id="16" name="Text Placeholder 15">
            <a:extLst>
              <a:ext uri="{FF2B5EF4-FFF2-40B4-BE49-F238E27FC236}">
                <a16:creationId xmlns:a16="http://schemas.microsoft.com/office/drawing/2014/main" id="{97B5097E-3A72-44DE-A573-0C5DF3281FBA}"/>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Light"/>
              </a:rPr>
              <a:t>Path to purchase</a:t>
            </a:r>
          </a:p>
          <a:p>
            <a:pPr>
              <a:lnSpc>
                <a:spcPct val="90000"/>
              </a:lnSpc>
              <a:spcAft>
                <a:spcPts val="0"/>
              </a:spcAft>
            </a:pPr>
            <a:r>
              <a:rPr lang="en-US" dirty="0">
                <a:sym typeface="Source Sans Pro Light"/>
              </a:rPr>
              <a:t>In-store experience</a:t>
            </a:r>
          </a:p>
          <a:p>
            <a:pPr>
              <a:lnSpc>
                <a:spcPct val="90000"/>
              </a:lnSpc>
              <a:spcAft>
                <a:spcPts val="0"/>
              </a:spcAft>
            </a:pPr>
            <a:r>
              <a:rPr lang="en-US" dirty="0">
                <a:sym typeface="Source Sans Pro Light"/>
              </a:rPr>
              <a:t>Workforce and </a:t>
            </a:r>
            <a:r>
              <a:rPr lang="en-US">
                <a:sym typeface="Source Sans Pro Light"/>
              </a:rPr>
              <a:t>manpower optimization</a:t>
            </a:r>
            <a:endParaRPr lang="en-US" dirty="0">
              <a:sym typeface="Source Sans Pro Light"/>
            </a:endParaRPr>
          </a:p>
        </p:txBody>
      </p:sp>
      <p:sp>
        <p:nvSpPr>
          <p:cNvPr id="17" name="Text Placeholder 16">
            <a:extLst>
              <a:ext uri="{FF2B5EF4-FFF2-40B4-BE49-F238E27FC236}">
                <a16:creationId xmlns:a16="http://schemas.microsoft.com/office/drawing/2014/main" id="{8A0254BC-C95C-4517-91F4-1C48E714B6BA}"/>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Predict inventory positions and distribution</a:t>
            </a:r>
          </a:p>
          <a:p>
            <a:pPr>
              <a:lnSpc>
                <a:spcPct val="90000"/>
              </a:lnSpc>
              <a:spcAft>
                <a:spcPts val="0"/>
              </a:spcAft>
            </a:pPr>
            <a:r>
              <a:rPr lang="en-US" dirty="0">
                <a:sym typeface="Source Sans Pro Light"/>
              </a:rPr>
              <a:t>Fraud detection </a:t>
            </a:r>
          </a:p>
          <a:p>
            <a:pPr>
              <a:lnSpc>
                <a:spcPct val="90000"/>
              </a:lnSpc>
              <a:spcAft>
                <a:spcPts val="0"/>
              </a:spcAft>
            </a:pPr>
            <a:r>
              <a:rPr lang="en-US" dirty="0">
                <a:sym typeface="Source Sans Pro Light"/>
              </a:rPr>
              <a:t>Market </a:t>
            </a:r>
            <a:r>
              <a:rPr lang="en-US">
                <a:sym typeface="Source Sans Pro Light"/>
              </a:rPr>
              <a:t>basket analysis</a:t>
            </a:r>
            <a:endParaRPr lang="en-US" dirty="0">
              <a:sym typeface="Source Sans Pro Light"/>
            </a:endParaRPr>
          </a:p>
        </p:txBody>
      </p:sp>
      <p:sp>
        <p:nvSpPr>
          <p:cNvPr id="23" name="Text Placeholder 22">
            <a:extLst>
              <a:ext uri="{FF2B5EF4-FFF2-40B4-BE49-F238E27FC236}">
                <a16:creationId xmlns:a16="http://schemas.microsoft.com/office/drawing/2014/main" id="{6A2610C8-684B-4BCD-B0C7-1530D02AFC58}"/>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dirty="0">
                <a:sym typeface="Source Sans Pro Light"/>
              </a:rPr>
              <a:t>Economic modelling</a:t>
            </a:r>
          </a:p>
          <a:p>
            <a:pPr>
              <a:lnSpc>
                <a:spcPct val="90000"/>
              </a:lnSpc>
              <a:spcAft>
                <a:spcPts val="0"/>
              </a:spcAft>
            </a:pPr>
            <a:r>
              <a:rPr lang="en-US" dirty="0">
                <a:sym typeface="Source Sans Pro Light"/>
              </a:rPr>
              <a:t>Optimization for foot traffic, Online interactions</a:t>
            </a:r>
          </a:p>
          <a:p>
            <a:pPr>
              <a:lnSpc>
                <a:spcPct val="90000"/>
              </a:lnSpc>
              <a:spcAft>
                <a:spcPts val="0"/>
              </a:spcAft>
            </a:pPr>
            <a:r>
              <a:rPr lang="en-US" dirty="0">
                <a:sym typeface="Source Sans Pro Light"/>
              </a:rPr>
              <a:t>Flat and </a:t>
            </a:r>
            <a:r>
              <a:rPr lang="en-US">
                <a:sym typeface="Source Sans Pro Light"/>
              </a:rPr>
              <a:t>declining categories</a:t>
            </a:r>
            <a:endParaRPr lang="en-US" dirty="0">
              <a:sym typeface="Source Sans Pro Light"/>
            </a:endParaRPr>
          </a:p>
        </p:txBody>
      </p:sp>
      <p:sp>
        <p:nvSpPr>
          <p:cNvPr id="24" name="Text Placeholder 23">
            <a:extLst>
              <a:ext uri="{FF2B5EF4-FFF2-40B4-BE49-F238E27FC236}">
                <a16:creationId xmlns:a16="http://schemas.microsoft.com/office/drawing/2014/main" id="{A8E57B91-405F-4EFB-9B6B-7BD7BB26345F}"/>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dirty="0">
                <a:sym typeface="Source Sans Pro Light"/>
              </a:rPr>
              <a:t>Demand-elasticity</a:t>
            </a:r>
          </a:p>
          <a:p>
            <a:pPr>
              <a:lnSpc>
                <a:spcPct val="90000"/>
              </a:lnSpc>
              <a:spcAft>
                <a:spcPts val="0"/>
              </a:spcAft>
            </a:pPr>
            <a:r>
              <a:rPr lang="en-US" dirty="0">
                <a:sym typeface="Source Sans Pro Light"/>
              </a:rPr>
              <a:t>Personal pricing schemes</a:t>
            </a:r>
          </a:p>
          <a:p>
            <a:pPr>
              <a:lnSpc>
                <a:spcPct val="90000"/>
              </a:lnSpc>
              <a:spcAft>
                <a:spcPts val="0"/>
              </a:spcAft>
            </a:pPr>
            <a:r>
              <a:rPr lang="en-US" dirty="0">
                <a:sym typeface="Source Sans Pro Light"/>
              </a:rPr>
              <a:t>Promotion events</a:t>
            </a:r>
          </a:p>
          <a:p>
            <a:pPr>
              <a:lnSpc>
                <a:spcPct val="90000"/>
              </a:lnSpc>
              <a:spcAft>
                <a:spcPts val="0"/>
              </a:spcAft>
            </a:pPr>
            <a:r>
              <a:rPr lang="en-US">
                <a:sym typeface="Source Sans Pro Light"/>
              </a:rPr>
              <a:t>Multi-channel engagement</a:t>
            </a:r>
            <a:endParaRPr lang="en-US" dirty="0">
              <a:sym typeface="Source Sans Pro Light"/>
            </a:endParaRPr>
          </a:p>
        </p:txBody>
      </p:sp>
      <p:sp>
        <p:nvSpPr>
          <p:cNvPr id="25" name="Text Placeholder 24">
            <a:extLst>
              <a:ext uri="{FF2B5EF4-FFF2-40B4-BE49-F238E27FC236}">
                <a16:creationId xmlns:a16="http://schemas.microsoft.com/office/drawing/2014/main" id="{9EDAEC18-93D0-4A9F-98A9-186257F59A47}"/>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and pla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orecas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ales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cal events/weather patterns</a:t>
            </a:r>
          </a:p>
        </p:txBody>
      </p:sp>
      <p:sp>
        <p:nvSpPr>
          <p:cNvPr id="26" name="Text Placeholder 25">
            <a:extLst>
              <a:ext uri="{FF2B5EF4-FFF2-40B4-BE49-F238E27FC236}">
                <a16:creationId xmlns:a16="http://schemas.microsoft.com/office/drawing/2014/main" id="{F82D8561-719A-4C78-A703-B2CBA83B0CEA}"/>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Recommendation</a:t>
            </a:r>
            <a:br>
              <a:rPr lang="en-US" dirty="0">
                <a:latin typeface="+mj-lt"/>
                <a:sym typeface="Source Sans Pro"/>
              </a:rPr>
            </a:br>
            <a:r>
              <a:rPr lang="en-US" dirty="0">
                <a:latin typeface="+mj-lt"/>
                <a:sym typeface="Source Sans Pro"/>
              </a:rPr>
              <a:t>engine</a:t>
            </a:r>
          </a:p>
        </p:txBody>
      </p:sp>
      <p:sp>
        <p:nvSpPr>
          <p:cNvPr id="27" name="Text Placeholder 26">
            <a:extLst>
              <a:ext uri="{FF2B5EF4-FFF2-40B4-BE49-F238E27FC236}">
                <a16:creationId xmlns:a16="http://schemas.microsoft.com/office/drawing/2014/main" id="{079849FD-DD3A-4A2B-A90F-2A3BDEB6BFEC}"/>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Effective customer engagement</a:t>
            </a:r>
          </a:p>
        </p:txBody>
      </p:sp>
      <p:sp>
        <p:nvSpPr>
          <p:cNvPr id="28" name="Text Placeholder 27">
            <a:extLst>
              <a:ext uri="{FF2B5EF4-FFF2-40B4-BE49-F238E27FC236}">
                <a16:creationId xmlns:a16="http://schemas.microsoft.com/office/drawing/2014/main" id="{23B11030-641D-4EE4-A3A5-4B1B811B633F}"/>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Inventory</a:t>
            </a:r>
            <a:br>
              <a:rPr lang="en-US" dirty="0">
                <a:latin typeface="+mj-lt"/>
                <a:sym typeface="Source Sans Pro"/>
              </a:rPr>
            </a:br>
            <a:r>
              <a:rPr lang="en-US" dirty="0">
                <a:latin typeface="+mj-lt"/>
                <a:sym typeface="Source Sans Pro"/>
              </a:rPr>
              <a:t>optimization</a:t>
            </a:r>
          </a:p>
        </p:txBody>
      </p:sp>
      <p:sp>
        <p:nvSpPr>
          <p:cNvPr id="29" name="Text Placeholder 28">
            <a:extLst>
              <a:ext uri="{FF2B5EF4-FFF2-40B4-BE49-F238E27FC236}">
                <a16:creationId xmlns:a16="http://schemas.microsoft.com/office/drawing/2014/main" id="{F10D46F9-C268-4562-BCC9-0E3A1F6A8C78}"/>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Inventory</a:t>
            </a:r>
            <a:br>
              <a:rPr lang="en-US" dirty="0">
                <a:latin typeface="+mj-lt"/>
                <a:sym typeface="Source Sans Pro"/>
              </a:rPr>
            </a:br>
            <a:r>
              <a:rPr lang="en-US" dirty="0">
                <a:latin typeface="+mj-lt"/>
                <a:sym typeface="Source Sans Pro"/>
              </a:rPr>
              <a:t>allocation</a:t>
            </a:r>
          </a:p>
        </p:txBody>
      </p:sp>
      <p:sp>
        <p:nvSpPr>
          <p:cNvPr id="30" name="Text Placeholder 29">
            <a:extLst>
              <a:ext uri="{FF2B5EF4-FFF2-40B4-BE49-F238E27FC236}">
                <a16:creationId xmlns:a16="http://schemas.microsoft.com/office/drawing/2014/main" id="{872AE9D4-539C-4317-8423-69A65993887E}"/>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Consumer</a:t>
            </a:r>
            <a:br>
              <a:rPr lang="en-US" dirty="0">
                <a:latin typeface="+mj-lt"/>
                <a:sym typeface="Source Sans Pro"/>
              </a:rPr>
            </a:br>
            <a:r>
              <a:rPr lang="en-US" dirty="0">
                <a:latin typeface="+mj-lt"/>
                <a:sym typeface="Source Sans Pro"/>
              </a:rPr>
              <a:t>engagement</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Retail use cases</a:t>
            </a:r>
          </a:p>
        </p:txBody>
      </p:sp>
      <p:sp>
        <p:nvSpPr>
          <p:cNvPr id="741" name="Shape 741"/>
          <p:cNvSpPr/>
          <p:nvPr/>
        </p:nvSpPr>
        <p:spPr>
          <a:xfrm>
            <a:off x="31496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46" name="Shape 746"/>
          <p:cNvSpPr/>
          <p:nvPr/>
        </p:nvSpPr>
        <p:spPr>
          <a:xfrm>
            <a:off x="266885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0" name="Shape 750"/>
          <p:cNvSpPr/>
          <p:nvPr/>
        </p:nvSpPr>
        <p:spPr>
          <a:xfrm>
            <a:off x="737663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6" name="Shape 756"/>
          <p:cNvSpPr/>
          <p:nvPr/>
        </p:nvSpPr>
        <p:spPr>
          <a:xfrm>
            <a:off x="9730521" y="4736292"/>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60" name="Shape 760"/>
          <p:cNvSpPr/>
          <p:nvPr/>
        </p:nvSpPr>
        <p:spPr>
          <a:xfrm>
            <a:off x="502274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grpSp>
        <p:nvGrpSpPr>
          <p:cNvPr id="88" name="Group 87">
            <a:extLst>
              <a:ext uri="{FF2B5EF4-FFF2-40B4-BE49-F238E27FC236}">
                <a16:creationId xmlns:a16="http://schemas.microsoft.com/office/drawing/2014/main" id="{DDEB747E-B700-4F85-AB51-C491181F9E89}"/>
              </a:ext>
            </a:extLst>
          </p:cNvPr>
          <p:cNvGrpSpPr/>
          <p:nvPr/>
        </p:nvGrpSpPr>
        <p:grpSpPr>
          <a:xfrm>
            <a:off x="5926400" y="3078425"/>
            <a:ext cx="338979" cy="314766"/>
            <a:chOff x="4292428" y="1117548"/>
            <a:chExt cx="732328" cy="680018"/>
          </a:xfrm>
        </p:grpSpPr>
        <p:sp>
          <p:nvSpPr>
            <p:cNvPr id="89" name="Freeform 13">
              <a:extLst>
                <a:ext uri="{FF2B5EF4-FFF2-40B4-BE49-F238E27FC236}">
                  <a16:creationId xmlns:a16="http://schemas.microsoft.com/office/drawing/2014/main" id="{1823EE74-A71A-4F48-87BE-4FC2985A3214}"/>
                </a:ext>
              </a:extLst>
            </p:cNvPr>
            <p:cNvSpPr>
              <a:spLocks noEditPoints="1"/>
            </p:cNvSpPr>
            <p:nvPr/>
          </p:nvSpPr>
          <p:spPr bwMode="auto">
            <a:xfrm>
              <a:off x="4292428" y="1117548"/>
              <a:ext cx="732328" cy="68001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B2A0C7CC-8828-4621-ACAD-1C4202753DD9}"/>
                </a:ext>
              </a:extLst>
            </p:cNvPr>
            <p:cNvGrpSpPr/>
            <p:nvPr/>
          </p:nvGrpSpPr>
          <p:grpSpPr>
            <a:xfrm>
              <a:off x="4841421" y="1135797"/>
              <a:ext cx="130135" cy="499780"/>
              <a:chOff x="4841421" y="1135797"/>
              <a:chExt cx="130135" cy="499780"/>
            </a:xfrm>
          </p:grpSpPr>
          <p:sp>
            <p:nvSpPr>
              <p:cNvPr id="91" name="Rectangle 90">
                <a:extLst>
                  <a:ext uri="{FF2B5EF4-FFF2-40B4-BE49-F238E27FC236}">
                    <a16:creationId xmlns:a16="http://schemas.microsoft.com/office/drawing/2014/main" id="{C8A83751-E1CE-4D76-828F-188C24DDD8AB}"/>
                  </a:ext>
                </a:extLst>
              </p:cNvPr>
              <p:cNvSpPr/>
              <p:nvPr/>
            </p:nvSpPr>
            <p:spPr bwMode="auto">
              <a:xfrm>
                <a:off x="4841421" y="1505442"/>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2" name="Rectangle 91">
                <a:extLst>
                  <a:ext uri="{FF2B5EF4-FFF2-40B4-BE49-F238E27FC236}">
                    <a16:creationId xmlns:a16="http://schemas.microsoft.com/office/drawing/2014/main" id="{93DC11B2-41DE-41E8-85E0-52C2A7153181}"/>
                  </a:ext>
                </a:extLst>
              </p:cNvPr>
              <p:cNvSpPr/>
              <p:nvPr/>
            </p:nvSpPr>
            <p:spPr bwMode="auto">
              <a:xfrm>
                <a:off x="4841421" y="1320620"/>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3" name="Rectangle 92">
                <a:extLst>
                  <a:ext uri="{FF2B5EF4-FFF2-40B4-BE49-F238E27FC236}">
                    <a16:creationId xmlns:a16="http://schemas.microsoft.com/office/drawing/2014/main" id="{CB377372-7478-4C62-91F2-B88552589B99}"/>
                  </a:ext>
                </a:extLst>
              </p:cNvPr>
              <p:cNvSpPr/>
              <p:nvPr/>
            </p:nvSpPr>
            <p:spPr bwMode="auto">
              <a:xfrm>
                <a:off x="4841421" y="1135797"/>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94" name="Group 93">
            <a:extLst>
              <a:ext uri="{FF2B5EF4-FFF2-40B4-BE49-F238E27FC236}">
                <a16:creationId xmlns:a16="http://schemas.microsoft.com/office/drawing/2014/main" id="{C4D376C8-7C02-4184-94D0-D4FC440456CE}"/>
              </a:ext>
            </a:extLst>
          </p:cNvPr>
          <p:cNvGrpSpPr/>
          <p:nvPr/>
        </p:nvGrpSpPr>
        <p:grpSpPr>
          <a:xfrm>
            <a:off x="1242136" y="3076459"/>
            <a:ext cx="330764" cy="318698"/>
            <a:chOff x="1980747" y="1770226"/>
            <a:chExt cx="494994" cy="476937"/>
          </a:xfrm>
        </p:grpSpPr>
        <p:sp>
          <p:nvSpPr>
            <p:cNvPr id="95" name="mail">
              <a:extLst>
                <a:ext uri="{FF2B5EF4-FFF2-40B4-BE49-F238E27FC236}">
                  <a16:creationId xmlns:a16="http://schemas.microsoft.com/office/drawing/2014/main" id="{8DAE1E4A-9E10-4AC7-A5F9-A11028928817}"/>
                </a:ext>
              </a:extLst>
            </p:cNvPr>
            <p:cNvSpPr>
              <a:spLocks noChangeAspect="1" noEditPoints="1"/>
            </p:cNvSpPr>
            <p:nvPr/>
          </p:nvSpPr>
          <p:spPr bwMode="auto">
            <a:xfrm>
              <a:off x="1980747" y="1770226"/>
              <a:ext cx="430080" cy="258047"/>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A7BB9ADB-5693-4A9E-801B-A8E12D5160AF}"/>
                </a:ext>
              </a:extLst>
            </p:cNvPr>
            <p:cNvGrpSpPr/>
            <p:nvPr/>
          </p:nvGrpSpPr>
          <p:grpSpPr>
            <a:xfrm>
              <a:off x="2254051" y="1888779"/>
              <a:ext cx="221690" cy="358384"/>
              <a:chOff x="4265858" y="1346201"/>
              <a:chExt cx="3174092" cy="5131228"/>
            </a:xfrm>
            <a:solidFill>
              <a:schemeClr val="bg1"/>
            </a:solidFill>
          </p:grpSpPr>
          <p:sp>
            <p:nvSpPr>
              <p:cNvPr id="97" name="Freeform 5">
                <a:extLst>
                  <a:ext uri="{FF2B5EF4-FFF2-40B4-BE49-F238E27FC236}">
                    <a16:creationId xmlns:a16="http://schemas.microsoft.com/office/drawing/2014/main" id="{DE8E8B1C-4CA1-42B8-8E85-105125CE7BCB}"/>
                  </a:ext>
                </a:extLst>
              </p:cNvPr>
              <p:cNvSpPr>
                <a:spLocks noEditPoints="1"/>
              </p:cNvSpPr>
              <p:nvPr/>
            </p:nvSpPr>
            <p:spPr bwMode="auto">
              <a:xfrm>
                <a:off x="4265858" y="1346201"/>
                <a:ext cx="3174092" cy="5131228"/>
              </a:xfrm>
              <a:custGeom>
                <a:avLst/>
                <a:gdLst>
                  <a:gd name="T0" fmla="*/ 2260 w 2260"/>
                  <a:gd name="T1" fmla="*/ 1130 h 3656"/>
                  <a:gd name="T2" fmla="*/ 1130 w 2260"/>
                  <a:gd name="T3" fmla="*/ 0 h 3656"/>
                  <a:gd name="T4" fmla="*/ 0 w 2260"/>
                  <a:gd name="T5" fmla="*/ 1130 h 3656"/>
                  <a:gd name="T6" fmla="*/ 1130 w 2260"/>
                  <a:gd name="T7" fmla="*/ 2260 h 3656"/>
                  <a:gd name="T8" fmla="*/ 2260 w 2260"/>
                  <a:gd name="T9" fmla="*/ 1130 h 3656"/>
                  <a:gd name="T10" fmla="*/ 254 w 2260"/>
                  <a:gd name="T11" fmla="*/ 1856 h 3656"/>
                  <a:gd name="T12" fmla="*/ 254 w 2260"/>
                  <a:gd name="T13" fmla="*/ 3656 h 3656"/>
                  <a:gd name="T14" fmla="*/ 1126 w 2260"/>
                  <a:gd name="T15" fmla="*/ 3252 h 3656"/>
                  <a:gd name="T16" fmla="*/ 2006 w 2260"/>
                  <a:gd name="T17" fmla="*/ 3656 h 3656"/>
                  <a:gd name="T18" fmla="*/ 2006 w 2260"/>
                  <a:gd name="T1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0" h="3656">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grpFill/>
              <a:ln w="15875"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C46266D2-F4FA-4F66-A936-776E3078BA3F}"/>
                  </a:ext>
                </a:extLst>
              </p:cNvPr>
              <p:cNvSpPr/>
              <p:nvPr/>
            </p:nvSpPr>
            <p:spPr bwMode="auto">
              <a:xfrm>
                <a:off x="5174363" y="2278445"/>
                <a:ext cx="1410992" cy="1126498"/>
              </a:xfrm>
              <a:custGeom>
                <a:avLst/>
                <a:gdLst>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943408 w 1410992"/>
                  <a:gd name="connsiteY4" fmla="*/ 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1034848 w 1410992"/>
                  <a:gd name="connsiteY4" fmla="*/ 9144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0" fmla="*/ 1410992 w 1410992"/>
                  <a:gd name="connsiteY0" fmla="*/ 0 h 1126498"/>
                  <a:gd name="connsiteX1" fmla="*/ 467585 w 1410992"/>
                  <a:gd name="connsiteY1" fmla="*/ 1126498 h 1126498"/>
                  <a:gd name="connsiteX2" fmla="*/ 0 w 1410992"/>
                  <a:gd name="connsiteY2" fmla="*/ 734911 h 1126498"/>
                </a:gdLst>
                <a:ahLst/>
                <a:cxnLst>
                  <a:cxn ang="0">
                    <a:pos x="connsiteX0" y="connsiteY0"/>
                  </a:cxn>
                  <a:cxn ang="0">
                    <a:pos x="connsiteX1" y="connsiteY1"/>
                  </a:cxn>
                  <a:cxn ang="0">
                    <a:pos x="connsiteX2" y="connsiteY2"/>
                  </a:cxn>
                </a:cxnLst>
                <a:rect l="l" t="t" r="r" b="b"/>
                <a:pathLst>
                  <a:path w="1410992" h="1126498">
                    <a:moveTo>
                      <a:pt x="1410992" y="0"/>
                    </a:moveTo>
                    <a:lnTo>
                      <a:pt x="467585" y="1126498"/>
                    </a:lnTo>
                    <a:lnTo>
                      <a:pt x="0" y="734911"/>
                    </a:lnTo>
                  </a:path>
                </a:pathLst>
              </a:custGeom>
              <a:grp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9" name="Group 98">
            <a:extLst>
              <a:ext uri="{FF2B5EF4-FFF2-40B4-BE49-F238E27FC236}">
                <a16:creationId xmlns:a16="http://schemas.microsoft.com/office/drawing/2014/main" id="{2826BA72-A287-471A-98E9-4021084BED1C}"/>
              </a:ext>
            </a:extLst>
          </p:cNvPr>
          <p:cNvGrpSpPr/>
          <p:nvPr/>
        </p:nvGrpSpPr>
        <p:grpSpPr>
          <a:xfrm>
            <a:off x="8278186" y="3072195"/>
            <a:ext cx="325670" cy="327227"/>
            <a:chOff x="10996134" y="3858497"/>
            <a:chExt cx="603504" cy="606390"/>
          </a:xfrm>
        </p:grpSpPr>
        <p:grpSp>
          <p:nvGrpSpPr>
            <p:cNvPr id="100" name="Group 99">
              <a:extLst>
                <a:ext uri="{FF2B5EF4-FFF2-40B4-BE49-F238E27FC236}">
                  <a16:creationId xmlns:a16="http://schemas.microsoft.com/office/drawing/2014/main" id="{F86C23F9-5BAF-4FE3-A11A-6894087D74B0}"/>
                </a:ext>
              </a:extLst>
            </p:cNvPr>
            <p:cNvGrpSpPr/>
            <p:nvPr/>
          </p:nvGrpSpPr>
          <p:grpSpPr>
            <a:xfrm>
              <a:off x="11079638" y="4178188"/>
              <a:ext cx="214291" cy="213984"/>
              <a:chOff x="-2627313" y="-174625"/>
              <a:chExt cx="2216150" cy="2212975"/>
            </a:xfrm>
          </p:grpSpPr>
          <p:sp>
            <p:nvSpPr>
              <p:cNvPr id="123" name="Freeform 5">
                <a:extLst>
                  <a:ext uri="{FF2B5EF4-FFF2-40B4-BE49-F238E27FC236}">
                    <a16:creationId xmlns:a16="http://schemas.microsoft.com/office/drawing/2014/main" id="{A498D7DD-F0E9-4A02-BC1B-D8A7FB95E208}"/>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4" name="Freeform 6">
                <a:extLst>
                  <a:ext uri="{FF2B5EF4-FFF2-40B4-BE49-F238E27FC236}">
                    <a16:creationId xmlns:a16="http://schemas.microsoft.com/office/drawing/2014/main" id="{4031D2E8-7276-40BA-94BF-99491005FEAA}"/>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5" name="Line 7">
                <a:extLst>
                  <a:ext uri="{FF2B5EF4-FFF2-40B4-BE49-F238E27FC236}">
                    <a16:creationId xmlns:a16="http://schemas.microsoft.com/office/drawing/2014/main" id="{398213A6-9ADC-4E2D-A809-B34CD2E0D2B4}"/>
                  </a:ext>
                </a:extLst>
              </p:cNvPr>
              <p:cNvSpPr>
                <a:spLocks noChangeShapeType="1"/>
              </p:cNvSpPr>
              <p:nvPr/>
            </p:nvSpPr>
            <p:spPr bwMode="auto">
              <a:xfrm>
                <a:off x="-1882775" y="568325"/>
                <a:ext cx="0" cy="14700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6" name="Line 8">
                <a:extLst>
                  <a:ext uri="{FF2B5EF4-FFF2-40B4-BE49-F238E27FC236}">
                    <a16:creationId xmlns:a16="http://schemas.microsoft.com/office/drawing/2014/main" id="{BC390771-130F-4ED2-9F1D-6F974D67157A}"/>
                  </a:ext>
                </a:extLst>
              </p:cNvPr>
              <p:cNvSpPr>
                <a:spLocks noChangeShapeType="1"/>
              </p:cNvSpPr>
              <p:nvPr/>
            </p:nvSpPr>
            <p:spPr bwMode="auto">
              <a:xfrm>
                <a:off x="-1900238" y="-174625"/>
                <a:ext cx="762000" cy="74295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7" name="Line 9">
                <a:extLst>
                  <a:ext uri="{FF2B5EF4-FFF2-40B4-BE49-F238E27FC236}">
                    <a16:creationId xmlns:a16="http://schemas.microsoft.com/office/drawing/2014/main" id="{94168174-A7CE-42AF-8471-76CFB21856FD}"/>
                  </a:ext>
                </a:extLst>
              </p:cNvPr>
              <p:cNvSpPr>
                <a:spLocks noChangeShapeType="1"/>
              </p:cNvSpPr>
              <p:nvPr/>
            </p:nvSpPr>
            <p:spPr bwMode="auto">
              <a:xfrm>
                <a:off x="-1536700" y="188912"/>
                <a:ext cx="74453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01" name="Rectangle 100">
              <a:extLst>
                <a:ext uri="{FF2B5EF4-FFF2-40B4-BE49-F238E27FC236}">
                  <a16:creationId xmlns:a16="http://schemas.microsoft.com/office/drawing/2014/main" id="{6299A4BC-658A-4597-BDAC-A52C63BAB0CC}"/>
                </a:ext>
              </a:extLst>
            </p:cNvPr>
            <p:cNvSpPr/>
            <p:nvPr/>
          </p:nvSpPr>
          <p:spPr bwMode="auto">
            <a:xfrm>
              <a:off x="10996134" y="3858497"/>
              <a:ext cx="603504" cy="606390"/>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02" name="Group 101">
              <a:extLst>
                <a:ext uri="{FF2B5EF4-FFF2-40B4-BE49-F238E27FC236}">
                  <a16:creationId xmlns:a16="http://schemas.microsoft.com/office/drawing/2014/main" id="{2ED44969-D34A-4190-B73C-C3A5E7B26959}"/>
                </a:ext>
              </a:extLst>
            </p:cNvPr>
            <p:cNvGrpSpPr/>
            <p:nvPr/>
          </p:nvGrpSpPr>
          <p:grpSpPr>
            <a:xfrm>
              <a:off x="11082823" y="3940554"/>
              <a:ext cx="123204" cy="123204"/>
              <a:chOff x="3825993" y="1850227"/>
              <a:chExt cx="396312" cy="396312"/>
            </a:xfrm>
          </p:grpSpPr>
          <p:cxnSp>
            <p:nvCxnSpPr>
              <p:cNvPr id="121" name="Straight Connector 120">
                <a:extLst>
                  <a:ext uri="{FF2B5EF4-FFF2-40B4-BE49-F238E27FC236}">
                    <a16:creationId xmlns:a16="http://schemas.microsoft.com/office/drawing/2014/main" id="{32697B77-E038-492B-BF62-5F82CDDE69FF}"/>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0CC0788-0CB8-45C8-8595-EA93464AAB7F}"/>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3" name="Diamond 12">
              <a:extLst>
                <a:ext uri="{FF2B5EF4-FFF2-40B4-BE49-F238E27FC236}">
                  <a16:creationId xmlns:a16="http://schemas.microsoft.com/office/drawing/2014/main" id="{EE3085E7-5ABB-4C5D-A841-7F482F7E1E57}"/>
                </a:ext>
              </a:extLst>
            </p:cNvPr>
            <p:cNvSpPr/>
            <p:nvPr/>
          </p:nvSpPr>
          <p:spPr bwMode="auto">
            <a:xfrm>
              <a:off x="11375569" y="3932727"/>
              <a:ext cx="162740" cy="81370"/>
            </a:xfrm>
            <a:custGeom>
              <a:avLst/>
              <a:gdLst>
                <a:gd name="connsiteX0" fmla="*/ 0 w 432637"/>
                <a:gd name="connsiteY0" fmla="*/ 216319 h 432637"/>
                <a:gd name="connsiteX1" fmla="*/ 216319 w 432637"/>
                <a:gd name="connsiteY1" fmla="*/ 0 h 432637"/>
                <a:gd name="connsiteX2" fmla="*/ 432637 w 432637"/>
                <a:gd name="connsiteY2" fmla="*/ 216319 h 432637"/>
                <a:gd name="connsiteX3" fmla="*/ 216319 w 432637"/>
                <a:gd name="connsiteY3" fmla="*/ 432637 h 432637"/>
                <a:gd name="connsiteX4" fmla="*/ 0 w 432637"/>
                <a:gd name="connsiteY4" fmla="*/ 216319 h 432637"/>
                <a:gd name="connsiteX0" fmla="*/ 216319 w 432637"/>
                <a:gd name="connsiteY0" fmla="*/ 432637 h 524077"/>
                <a:gd name="connsiteX1" fmla="*/ 0 w 432637"/>
                <a:gd name="connsiteY1" fmla="*/ 216319 h 524077"/>
                <a:gd name="connsiteX2" fmla="*/ 216319 w 432637"/>
                <a:gd name="connsiteY2" fmla="*/ 0 h 524077"/>
                <a:gd name="connsiteX3" fmla="*/ 432637 w 432637"/>
                <a:gd name="connsiteY3" fmla="*/ 216319 h 524077"/>
                <a:gd name="connsiteX4" fmla="*/ 307759 w 432637"/>
                <a:gd name="connsiteY4" fmla="*/ 524077 h 524077"/>
                <a:gd name="connsiteX0" fmla="*/ 0 w 432637"/>
                <a:gd name="connsiteY0" fmla="*/ 216319 h 524077"/>
                <a:gd name="connsiteX1" fmla="*/ 216319 w 432637"/>
                <a:gd name="connsiteY1" fmla="*/ 0 h 524077"/>
                <a:gd name="connsiteX2" fmla="*/ 432637 w 432637"/>
                <a:gd name="connsiteY2" fmla="*/ 216319 h 524077"/>
                <a:gd name="connsiteX3" fmla="*/ 307759 w 432637"/>
                <a:gd name="connsiteY3" fmla="*/ 524077 h 524077"/>
                <a:gd name="connsiteX0" fmla="*/ 0 w 432637"/>
                <a:gd name="connsiteY0" fmla="*/ 216319 h 216319"/>
                <a:gd name="connsiteX1" fmla="*/ 216319 w 432637"/>
                <a:gd name="connsiteY1" fmla="*/ 0 h 216319"/>
                <a:gd name="connsiteX2" fmla="*/ 432637 w 432637"/>
                <a:gd name="connsiteY2" fmla="*/ 216319 h 216319"/>
              </a:gdLst>
              <a:ahLst/>
              <a:cxnLst>
                <a:cxn ang="0">
                  <a:pos x="connsiteX0" y="connsiteY0"/>
                </a:cxn>
                <a:cxn ang="0">
                  <a:pos x="connsiteX1" y="connsiteY1"/>
                </a:cxn>
                <a:cxn ang="0">
                  <a:pos x="connsiteX2" y="connsiteY2"/>
                </a:cxn>
              </a:cxnLst>
              <a:rect l="l" t="t" r="r" b="b"/>
              <a:pathLst>
                <a:path w="432637" h="216319">
                  <a:moveTo>
                    <a:pt x="0" y="216319"/>
                  </a:moveTo>
                  <a:lnTo>
                    <a:pt x="216319" y="0"/>
                  </a:lnTo>
                  <a:lnTo>
                    <a:pt x="432637" y="216319"/>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08" name="Connector: Elbow 14">
              <a:extLst>
                <a:ext uri="{FF2B5EF4-FFF2-40B4-BE49-F238E27FC236}">
                  <a16:creationId xmlns:a16="http://schemas.microsoft.com/office/drawing/2014/main" id="{E1F3CEC4-C18D-47C2-B4E3-5BE21689FEC3}"/>
                </a:ext>
              </a:extLst>
            </p:cNvPr>
            <p:cNvCxnSpPr>
              <a:cxnSpLocks/>
              <a:stCxn id="126" idx="0"/>
              <a:endCxn id="103" idx="1"/>
            </p:cNvCxnSpPr>
            <p:nvPr/>
          </p:nvCxnSpPr>
          <p:spPr>
            <a:xfrm rot="5400000" flipH="1" flipV="1">
              <a:off x="11180710" y="3901960"/>
              <a:ext cx="245461" cy="306996"/>
            </a:xfrm>
            <a:prstGeom prst="bentConnector4">
              <a:avLst>
                <a:gd name="adj1" fmla="val 24505"/>
                <a:gd name="adj2" fmla="val 99911"/>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98D98895-19E0-4A5A-85C2-5A83A0286901}"/>
                </a:ext>
              </a:extLst>
            </p:cNvPr>
            <p:cNvGrpSpPr/>
            <p:nvPr/>
          </p:nvGrpSpPr>
          <p:grpSpPr>
            <a:xfrm>
              <a:off x="11395337" y="4259625"/>
              <a:ext cx="123204" cy="123204"/>
              <a:chOff x="3825993" y="1850227"/>
              <a:chExt cx="396312" cy="396312"/>
            </a:xfrm>
          </p:grpSpPr>
          <p:cxnSp>
            <p:nvCxnSpPr>
              <p:cNvPr id="119" name="Straight Connector 118">
                <a:extLst>
                  <a:ext uri="{FF2B5EF4-FFF2-40B4-BE49-F238E27FC236}">
                    <a16:creationId xmlns:a16="http://schemas.microsoft.com/office/drawing/2014/main" id="{8091978F-A834-4991-AB7A-C7F083B20466}"/>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5025D9-132A-4B6D-94FC-E5BAF4562DA6}"/>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8" name="Group 127">
            <a:extLst>
              <a:ext uri="{FF2B5EF4-FFF2-40B4-BE49-F238E27FC236}">
                <a16:creationId xmlns:a16="http://schemas.microsoft.com/office/drawing/2014/main" id="{BF681B2C-A94D-481A-8621-6D293E898C86}"/>
              </a:ext>
            </a:extLst>
          </p:cNvPr>
          <p:cNvGrpSpPr/>
          <p:nvPr/>
        </p:nvGrpSpPr>
        <p:grpSpPr>
          <a:xfrm>
            <a:off x="10580448" y="3070638"/>
            <a:ext cx="453396" cy="330340"/>
            <a:chOff x="10186058" y="1735899"/>
            <a:chExt cx="618882" cy="450911"/>
          </a:xfrm>
        </p:grpSpPr>
        <p:sp>
          <p:nvSpPr>
            <p:cNvPr id="129" name="Freeform 5">
              <a:extLst>
                <a:ext uri="{FF2B5EF4-FFF2-40B4-BE49-F238E27FC236}">
                  <a16:creationId xmlns:a16="http://schemas.microsoft.com/office/drawing/2014/main" id="{A35B4B72-6081-4983-AB17-E22E71D8A25F}"/>
                </a:ext>
              </a:extLst>
            </p:cNvPr>
            <p:cNvSpPr>
              <a:spLocks noEditPoints="1"/>
            </p:cNvSpPr>
            <p:nvPr/>
          </p:nvSpPr>
          <p:spPr bwMode="auto">
            <a:xfrm>
              <a:off x="10186058" y="1855215"/>
              <a:ext cx="296779" cy="3315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30" name="Group 129">
              <a:extLst>
                <a:ext uri="{FF2B5EF4-FFF2-40B4-BE49-F238E27FC236}">
                  <a16:creationId xmlns:a16="http://schemas.microsoft.com/office/drawing/2014/main" id="{882D135D-18A6-4184-94D7-A88D0153ABDE}"/>
                </a:ext>
              </a:extLst>
            </p:cNvPr>
            <p:cNvGrpSpPr/>
            <p:nvPr/>
          </p:nvGrpSpPr>
          <p:grpSpPr>
            <a:xfrm>
              <a:off x="10504297" y="1735899"/>
              <a:ext cx="300643" cy="371636"/>
              <a:chOff x="10504297" y="1735899"/>
              <a:chExt cx="300643" cy="371636"/>
            </a:xfrm>
          </p:grpSpPr>
          <p:grpSp>
            <p:nvGrpSpPr>
              <p:cNvPr id="131" name="Group 130">
                <a:extLst>
                  <a:ext uri="{FF2B5EF4-FFF2-40B4-BE49-F238E27FC236}">
                    <a16:creationId xmlns:a16="http://schemas.microsoft.com/office/drawing/2014/main" id="{E419D289-70EC-48AA-BDCC-78117AA46BEA}"/>
                  </a:ext>
                </a:extLst>
              </p:cNvPr>
              <p:cNvGrpSpPr/>
              <p:nvPr/>
            </p:nvGrpSpPr>
            <p:grpSpPr>
              <a:xfrm>
                <a:off x="10702627" y="1735899"/>
                <a:ext cx="86593" cy="153702"/>
                <a:chOff x="2296629" y="5773055"/>
                <a:chExt cx="156090" cy="277059"/>
              </a:xfrm>
            </p:grpSpPr>
            <p:sp>
              <p:nvSpPr>
                <p:cNvPr id="136" name="Freeform 7">
                  <a:extLst>
                    <a:ext uri="{FF2B5EF4-FFF2-40B4-BE49-F238E27FC236}">
                      <a16:creationId xmlns:a16="http://schemas.microsoft.com/office/drawing/2014/main" id="{0F3B86AC-6168-421F-84BC-EC6769417C80}"/>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Freeform 8">
                  <a:extLst>
                    <a:ext uri="{FF2B5EF4-FFF2-40B4-BE49-F238E27FC236}">
                      <a16:creationId xmlns:a16="http://schemas.microsoft.com/office/drawing/2014/main" id="{35447655-FC0E-416B-8832-CE1238ED88D0}"/>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32" name="Rectangle 6">
                <a:extLst>
                  <a:ext uri="{FF2B5EF4-FFF2-40B4-BE49-F238E27FC236}">
                    <a16:creationId xmlns:a16="http://schemas.microsoft.com/office/drawing/2014/main" id="{4C291B90-F607-4228-A99C-84533F3B94D6}"/>
                  </a:ext>
                </a:extLst>
              </p:cNvPr>
              <p:cNvSpPr>
                <a:spLocks noChangeArrowheads="1"/>
              </p:cNvSpPr>
              <p:nvPr/>
            </p:nvSpPr>
            <p:spPr bwMode="auto">
              <a:xfrm>
                <a:off x="10542670" y="1989683"/>
                <a:ext cx="50814" cy="58779"/>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3" name="Freeform 5">
                <a:extLst>
                  <a:ext uri="{FF2B5EF4-FFF2-40B4-BE49-F238E27FC236}">
                    <a16:creationId xmlns:a16="http://schemas.microsoft.com/office/drawing/2014/main" id="{5065CC02-2ADD-46C7-98BA-F7D4465771EE}"/>
                  </a:ext>
                </a:extLst>
              </p:cNvPr>
              <p:cNvSpPr>
                <a:spLocks/>
              </p:cNvSpPr>
              <p:nvPr/>
            </p:nvSpPr>
            <p:spPr bwMode="auto">
              <a:xfrm>
                <a:off x="10504297" y="2048462"/>
                <a:ext cx="300643" cy="0"/>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4" name="Rectangle 7">
                <a:extLst>
                  <a:ext uri="{FF2B5EF4-FFF2-40B4-BE49-F238E27FC236}">
                    <a16:creationId xmlns:a16="http://schemas.microsoft.com/office/drawing/2014/main" id="{9C8FBCBB-E8A5-4B48-A73D-FD92660201F0}"/>
                  </a:ext>
                </a:extLst>
              </p:cNvPr>
              <p:cNvSpPr>
                <a:spLocks noChangeArrowheads="1"/>
              </p:cNvSpPr>
              <p:nvPr/>
            </p:nvSpPr>
            <p:spPr bwMode="auto">
              <a:xfrm>
                <a:off x="10630403" y="2048462"/>
                <a:ext cx="52402" cy="59073"/>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5" name="Rectangle 8">
                <a:extLst>
                  <a:ext uri="{FF2B5EF4-FFF2-40B4-BE49-F238E27FC236}">
                    <a16:creationId xmlns:a16="http://schemas.microsoft.com/office/drawing/2014/main" id="{53B5A0C1-BC0C-4932-8F1C-952B0373F2A7}"/>
                  </a:ext>
                </a:extLst>
              </p:cNvPr>
              <p:cNvSpPr>
                <a:spLocks noChangeArrowheads="1"/>
              </p:cNvSpPr>
              <p:nvPr/>
            </p:nvSpPr>
            <p:spPr bwMode="auto">
              <a:xfrm>
                <a:off x="10719723" y="1938251"/>
                <a:ext cx="52402" cy="110211"/>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138" name="Group 137">
            <a:extLst>
              <a:ext uri="{FF2B5EF4-FFF2-40B4-BE49-F238E27FC236}">
                <a16:creationId xmlns:a16="http://schemas.microsoft.com/office/drawing/2014/main" id="{28A8FB22-120F-4AC0-8B4E-BD62CDE45D8E}"/>
              </a:ext>
            </a:extLst>
          </p:cNvPr>
          <p:cNvGrpSpPr/>
          <p:nvPr/>
        </p:nvGrpSpPr>
        <p:grpSpPr>
          <a:xfrm>
            <a:off x="3454885" y="3078328"/>
            <a:ext cx="580539" cy="314960"/>
            <a:chOff x="2710946" y="1677222"/>
            <a:chExt cx="1109240" cy="601796"/>
          </a:xfrm>
        </p:grpSpPr>
        <p:grpSp>
          <p:nvGrpSpPr>
            <p:cNvPr id="139" name="Group 138">
              <a:extLst>
                <a:ext uri="{FF2B5EF4-FFF2-40B4-BE49-F238E27FC236}">
                  <a16:creationId xmlns:a16="http://schemas.microsoft.com/office/drawing/2014/main" id="{25007891-AD73-4EE1-B2C9-85AAA7C49680}"/>
                </a:ext>
              </a:extLst>
            </p:cNvPr>
            <p:cNvGrpSpPr/>
            <p:nvPr/>
          </p:nvGrpSpPr>
          <p:grpSpPr>
            <a:xfrm>
              <a:off x="3179748" y="1872818"/>
              <a:ext cx="334225" cy="406200"/>
              <a:chOff x="5863771" y="4270829"/>
              <a:chExt cx="1334406" cy="1621771"/>
            </a:xfrm>
          </p:grpSpPr>
          <p:sp>
            <p:nvSpPr>
              <p:cNvPr id="146" name="Freeform: Shape 145">
                <a:extLst>
                  <a:ext uri="{FF2B5EF4-FFF2-40B4-BE49-F238E27FC236}">
                    <a16:creationId xmlns:a16="http://schemas.microsoft.com/office/drawing/2014/main" id="{D37F883D-7E6C-46B4-859F-B003C837D6F2}"/>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ED728C7-47BE-4F17-AEF7-62B273457B90}"/>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1" name="Freeform 5">
              <a:extLst>
                <a:ext uri="{FF2B5EF4-FFF2-40B4-BE49-F238E27FC236}">
                  <a16:creationId xmlns:a16="http://schemas.microsoft.com/office/drawing/2014/main" id="{7A17D815-1163-4A5A-AD35-4F34A93CD196}"/>
                </a:ext>
              </a:extLst>
            </p:cNvPr>
            <p:cNvSpPr>
              <a:spLocks noEditPoints="1"/>
            </p:cNvSpPr>
            <p:nvPr/>
          </p:nvSpPr>
          <p:spPr bwMode="auto">
            <a:xfrm>
              <a:off x="3049287"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26B3AD15-B74F-4ABC-881C-57D4F0A501B6}"/>
                </a:ext>
              </a:extLst>
            </p:cNvPr>
            <p:cNvSpPr>
              <a:spLocks noEditPoints="1"/>
            </p:cNvSpPr>
            <p:nvPr/>
          </p:nvSpPr>
          <p:spPr bwMode="auto">
            <a:xfrm>
              <a:off x="2894553"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3" name="Freeform 5">
              <a:extLst>
                <a:ext uri="{FF2B5EF4-FFF2-40B4-BE49-F238E27FC236}">
                  <a16:creationId xmlns:a16="http://schemas.microsoft.com/office/drawing/2014/main" id="{E12F3AED-FD5A-4DA5-B42F-08A840B9BBBD}"/>
                </a:ext>
              </a:extLst>
            </p:cNvPr>
            <p:cNvSpPr>
              <a:spLocks noEditPoints="1"/>
            </p:cNvSpPr>
            <p:nvPr/>
          </p:nvSpPr>
          <p:spPr bwMode="auto">
            <a:xfrm>
              <a:off x="3538684" y="196835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4" name="ShoppingCart_E7BF">
              <a:extLst>
                <a:ext uri="{FF2B5EF4-FFF2-40B4-BE49-F238E27FC236}">
                  <a16:creationId xmlns:a16="http://schemas.microsoft.com/office/drawing/2014/main" id="{C47EC5A8-379C-4C01-8299-9F887BCBFC83}"/>
                </a:ext>
              </a:extLst>
            </p:cNvPr>
            <p:cNvSpPr>
              <a:spLocks noChangeAspect="1" noEditPoints="1"/>
            </p:cNvSpPr>
            <p:nvPr/>
          </p:nvSpPr>
          <p:spPr bwMode="auto">
            <a:xfrm>
              <a:off x="3666354" y="1963435"/>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5" name="ShoppingCart_E7BF">
              <a:extLst>
                <a:ext uri="{FF2B5EF4-FFF2-40B4-BE49-F238E27FC236}">
                  <a16:creationId xmlns:a16="http://schemas.microsoft.com/office/drawing/2014/main" id="{8570972E-05DE-41F3-AB5A-128C8E155E12}"/>
                </a:ext>
              </a:extLst>
            </p:cNvPr>
            <p:cNvSpPr>
              <a:spLocks noChangeAspect="1" noEditPoints="1"/>
            </p:cNvSpPr>
            <p:nvPr/>
          </p:nvSpPr>
          <p:spPr bwMode="auto">
            <a:xfrm flipH="1">
              <a:off x="2710946" y="1677222"/>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50" name="Freeform 3">
            <a:extLst>
              <a:ext uri="{FF2B5EF4-FFF2-40B4-BE49-F238E27FC236}">
                <a16:creationId xmlns:a16="http://schemas.microsoft.com/office/drawing/2014/main" id="{81795791-AF16-4163-BD4C-86996D117DD3}"/>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Freeform 177">
            <a:extLst>
              <a:ext uri="{FF2B5EF4-FFF2-40B4-BE49-F238E27FC236}">
                <a16:creationId xmlns:a16="http://schemas.microsoft.com/office/drawing/2014/main" id="{3613E32E-D116-445B-AB02-D08A51569C04}"/>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179">
            <a:extLst>
              <a:ext uri="{FF2B5EF4-FFF2-40B4-BE49-F238E27FC236}">
                <a16:creationId xmlns:a16="http://schemas.microsoft.com/office/drawing/2014/main" id="{45239116-B291-4C8E-86EF-7CE834C4EDF0}"/>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181">
            <a:extLst>
              <a:ext uri="{FF2B5EF4-FFF2-40B4-BE49-F238E27FC236}">
                <a16:creationId xmlns:a16="http://schemas.microsoft.com/office/drawing/2014/main" id="{539680D6-3A8C-4E76-AC4D-F282BFB3C06C}"/>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183">
            <a:extLst>
              <a:ext uri="{FF2B5EF4-FFF2-40B4-BE49-F238E27FC236}">
                <a16:creationId xmlns:a16="http://schemas.microsoft.com/office/drawing/2014/main" id="{AF0F32F0-20A5-4B4B-95FE-C2C4BA7B042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67872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500"/>
                                        <p:tgtEl>
                                          <p:spTgt spid="1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xEl>
                                              <p:pRg st="0" end="0"/>
                                            </p:txEl>
                                          </p:spTgt>
                                        </p:tgtEl>
                                        <p:attrNameLst>
                                          <p:attrName>style.visibility</p:attrName>
                                        </p:attrNameLst>
                                      </p:cBhvr>
                                      <p:to>
                                        <p:strVal val="visible"/>
                                      </p:to>
                                    </p:set>
                                    <p:animEffect transition="in" filter="fade">
                                      <p:cBhvr>
                                        <p:cTn id="16" dur="500"/>
                                        <p:tgtEl>
                                          <p:spTgt spid="18">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
                                            <p:txEl>
                                              <p:pRg st="0" end="0"/>
                                            </p:txEl>
                                          </p:spTgt>
                                        </p:tgtEl>
                                        <p:attrNameLst>
                                          <p:attrName>style.visibility</p:attrName>
                                        </p:attrNameLst>
                                      </p:cBhvr>
                                      <p:to>
                                        <p:strVal val="visible"/>
                                      </p:to>
                                    </p:set>
                                    <p:animEffect transition="in" filter="fade">
                                      <p:cBhvr>
                                        <p:cTn id="19" dur="500"/>
                                        <p:tgtEl>
                                          <p:spTgt spid="52">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0" end="0"/>
                                            </p:txEl>
                                          </p:spTgt>
                                        </p:tgtEl>
                                        <p:attrNameLst>
                                          <p:attrName>style.visibility</p:attrName>
                                        </p:attrNameLst>
                                      </p:cBhvr>
                                      <p:to>
                                        <p:strVal val="visible"/>
                                      </p:to>
                                    </p:set>
                                    <p:animEffect transition="in" filter="fade">
                                      <p:cBhvr>
                                        <p:cTn id="28" dur="500"/>
                                        <p:tgtEl>
                                          <p:spTgt spid="26">
                                            <p:txEl>
                                              <p:pRg st="0" end="0"/>
                                            </p:txEl>
                                          </p:spTgt>
                                        </p:tgtEl>
                                      </p:cBhvr>
                                    </p:animEffect>
                                  </p:childTnLst>
                                </p:cTn>
                              </p:par>
                              <p:par>
                                <p:cTn id="29" presetID="10" presetClass="entr" presetSubtype="0" fill="hold" grpId="0" nodeType="withEffect" nodePh="1">
                                  <p:stCondLst>
                                    <p:cond delay="0"/>
                                  </p:stCondLst>
                                  <p:endCondLst>
                                    <p:cond evt="begin" delay="0">
                                      <p:tn val="29"/>
                                    </p:cond>
                                  </p:endCondLst>
                                  <p:childTnLst>
                                    <p:set>
                                      <p:cBhvr>
                                        <p:cTn id="30" dur="1" fill="hold">
                                          <p:stCondLst>
                                            <p:cond delay="0"/>
                                          </p:stCondLst>
                                        </p:cTn>
                                        <p:tgtEl>
                                          <p:spTgt spid="741"/>
                                        </p:tgtEl>
                                        <p:attrNameLst>
                                          <p:attrName>style.visibility</p:attrName>
                                        </p:attrNameLst>
                                      </p:cBhvr>
                                      <p:to>
                                        <p:strVal val="visible"/>
                                      </p:to>
                                    </p:set>
                                    <p:animEffect transition="in" filter="fade">
                                      <p:cBhvr>
                                        <p:cTn id="31" dur="500"/>
                                        <p:tgtEl>
                                          <p:spTgt spid="741"/>
                                        </p:tgtEl>
                                      </p:cBhvr>
                                    </p:animEffect>
                                  </p:childTnLst>
                                </p:cTn>
                              </p:par>
                              <p:par>
                                <p:cTn id="32" presetID="10" presetClass="entr" presetSubtype="0" fill="hold" nodeType="with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mph" presetSubtype="0" grpId="1" nodeType="clickEffect">
                                  <p:stCondLst>
                                    <p:cond delay="0"/>
                                  </p:stCondLst>
                                  <p:childTnLst>
                                    <p:set>
                                      <p:cBhvr>
                                        <p:cTn id="38" dur="indefinite"/>
                                        <p:tgtEl>
                                          <p:spTgt spid="79"/>
                                        </p:tgtEl>
                                        <p:attrNameLst>
                                          <p:attrName>style.opacity</p:attrName>
                                        </p:attrNameLst>
                                      </p:cBhvr>
                                      <p:to>
                                        <p:strVal val="0.1"/>
                                      </p:to>
                                    </p:set>
                                    <p:animEffect filter="image" prLst="opacity: 0.1">
                                      <p:cBhvr rctx="IE">
                                        <p:cTn id="39" dur="indefinite"/>
                                        <p:tgtEl>
                                          <p:spTgt spid="79"/>
                                        </p:tgtEl>
                                      </p:cBhvr>
                                    </p:animEffect>
                                  </p:childTnLst>
                                </p:cTn>
                              </p:par>
                              <p:par>
                                <p:cTn id="40" presetID="9" presetClass="emph" presetSubtype="0" nodeType="withEffect">
                                  <p:stCondLst>
                                    <p:cond delay="0"/>
                                  </p:stCondLst>
                                  <p:childTnLst>
                                    <p:set>
                                      <p:cBhvr>
                                        <p:cTn id="41" dur="indefinite"/>
                                        <p:tgtEl>
                                          <p:spTgt spid="84"/>
                                        </p:tgtEl>
                                        <p:attrNameLst>
                                          <p:attrName>style.opacity</p:attrName>
                                        </p:attrNameLst>
                                      </p:cBhvr>
                                      <p:to>
                                        <p:strVal val="0.1"/>
                                      </p:to>
                                    </p:set>
                                    <p:animEffect filter="image" prLst="opacity: 0.1">
                                      <p:cBhvr rctx="IE">
                                        <p:cTn id="42" dur="indefinite"/>
                                        <p:tgtEl>
                                          <p:spTgt spid="84"/>
                                        </p:tgtEl>
                                      </p:cBhvr>
                                    </p:animEffect>
                                  </p:childTnLst>
                                </p:cTn>
                              </p:par>
                              <p:par>
                                <p:cTn id="43" presetID="9" presetClass="emph" presetSubtype="0" grpId="1" nodeType="withEffect">
                                  <p:stCondLst>
                                    <p:cond delay="0"/>
                                  </p:stCondLst>
                                  <p:childTnLst>
                                    <p:set>
                                      <p:cBhvr>
                                        <p:cTn id="44" dur="indefinite"/>
                                        <p:tgtEl>
                                          <p:spTgt spid="111"/>
                                        </p:tgtEl>
                                        <p:attrNameLst>
                                          <p:attrName>style.opacity</p:attrName>
                                        </p:attrNameLst>
                                      </p:cBhvr>
                                      <p:to>
                                        <p:strVal val="0.1"/>
                                      </p:to>
                                    </p:set>
                                    <p:animEffect filter="image" prLst="opacity: 0.1">
                                      <p:cBhvr rctx="IE">
                                        <p:cTn id="45" dur="indefinite"/>
                                        <p:tgtEl>
                                          <p:spTgt spid="111"/>
                                        </p:tgtEl>
                                      </p:cBhvr>
                                    </p:animEffect>
                                  </p:childTnLst>
                                </p:cTn>
                              </p:par>
                              <p:par>
                                <p:cTn id="46" presetID="9" presetClass="emph" presetSubtype="0" grpId="1" nodeType="withEffect">
                                  <p:stCondLst>
                                    <p:cond delay="0"/>
                                  </p:stCondLst>
                                  <p:childTnLst>
                                    <p:set>
                                      <p:cBhvr>
                                        <p:cTn id="47" dur="indefinite"/>
                                        <p:tgtEl>
                                          <p:spTgt spid="18">
                                            <p:txEl>
                                              <p:pRg st="0" end="0"/>
                                            </p:txEl>
                                          </p:spTgt>
                                        </p:tgtEl>
                                        <p:attrNameLst>
                                          <p:attrName>style.opacity</p:attrName>
                                        </p:attrNameLst>
                                      </p:cBhvr>
                                      <p:to>
                                        <p:strVal val="0.1"/>
                                      </p:to>
                                    </p:set>
                                    <p:animEffect filter="image" prLst="opacity: 0.1">
                                      <p:cBhvr rctx="IE">
                                        <p:cTn id="48" dur="indefinite"/>
                                        <p:tgtEl>
                                          <p:spTgt spid="18">
                                            <p:txEl>
                                              <p:pRg st="0" end="0"/>
                                            </p:txEl>
                                          </p:spTgt>
                                        </p:tgtEl>
                                      </p:cBhvr>
                                    </p:animEffect>
                                  </p:childTnLst>
                                </p:cTn>
                              </p:par>
                              <p:par>
                                <p:cTn id="49" presetID="9" presetClass="emph" presetSubtype="0" grpId="1" nodeType="withEffect">
                                  <p:stCondLst>
                                    <p:cond delay="0"/>
                                  </p:stCondLst>
                                  <p:childTnLst>
                                    <p:set>
                                      <p:cBhvr>
                                        <p:cTn id="50" dur="indefinite"/>
                                        <p:tgtEl>
                                          <p:spTgt spid="52">
                                            <p:txEl>
                                              <p:pRg st="0" end="0"/>
                                            </p:txEl>
                                          </p:spTgt>
                                        </p:tgtEl>
                                        <p:attrNameLst>
                                          <p:attrName>style.opacity</p:attrName>
                                        </p:attrNameLst>
                                      </p:cBhvr>
                                      <p:to>
                                        <p:strVal val="0.1"/>
                                      </p:to>
                                    </p:set>
                                    <p:animEffect filter="image" prLst="opacity: 0.1">
                                      <p:cBhvr rctx="IE">
                                        <p:cTn id="51" dur="indefinite"/>
                                        <p:tgtEl>
                                          <p:spTgt spid="52">
                                            <p:txEl>
                                              <p:pRg st="0" end="0"/>
                                            </p:txEl>
                                          </p:spTgt>
                                        </p:tgtEl>
                                      </p:cBhvr>
                                    </p:animEffect>
                                  </p:childTnLst>
                                </p:cTn>
                              </p:par>
                              <p:par>
                                <p:cTn id="52" presetID="9" presetClass="emph" presetSubtype="0" grpId="1" nodeType="withEffect">
                                  <p:stCondLst>
                                    <p:cond delay="0"/>
                                  </p:stCondLst>
                                  <p:childTnLst>
                                    <p:set>
                                      <p:cBhvr>
                                        <p:cTn id="53" dur="indefinite"/>
                                        <p:tgtEl>
                                          <p:spTgt spid="10"/>
                                        </p:tgtEl>
                                        <p:attrNameLst>
                                          <p:attrName>style.opacity</p:attrName>
                                        </p:attrNameLst>
                                      </p:cBhvr>
                                      <p:to>
                                        <p:strVal val="0.1"/>
                                      </p:to>
                                    </p:set>
                                    <p:animEffect filter="image" prLst="opacity: 0.1">
                                      <p:cBhvr rctx="IE">
                                        <p:cTn id="54" dur="indefinite"/>
                                        <p:tgtEl>
                                          <p:spTgt spid="10"/>
                                        </p:tgtEl>
                                      </p:cBhvr>
                                    </p:animEffect>
                                  </p:childTnLst>
                                </p:cTn>
                              </p:par>
                              <p:par>
                                <p:cTn id="55" presetID="9" presetClass="emph" presetSubtype="0" grpId="1" nodeType="withEffect">
                                  <p:stCondLst>
                                    <p:cond delay="0"/>
                                  </p:stCondLst>
                                  <p:childTnLst>
                                    <p:set>
                                      <p:cBhvr>
                                        <p:cTn id="56" dur="indefinite"/>
                                        <p:tgtEl>
                                          <p:spTgt spid="15"/>
                                        </p:tgtEl>
                                        <p:attrNameLst>
                                          <p:attrName>style.opacity</p:attrName>
                                        </p:attrNameLst>
                                      </p:cBhvr>
                                      <p:to>
                                        <p:strVal val="0.1"/>
                                      </p:to>
                                    </p:set>
                                    <p:animEffect filter="image" prLst="opacity: 0.1">
                                      <p:cBhvr rctx="IE">
                                        <p:cTn id="57" dur="indefinite"/>
                                        <p:tgtEl>
                                          <p:spTgt spid="15"/>
                                        </p:tgtEl>
                                      </p:cBhvr>
                                    </p:animEffect>
                                  </p:childTnLst>
                                </p:cTn>
                              </p:par>
                              <p:par>
                                <p:cTn id="58" presetID="9" presetClass="emph" presetSubtype="0" grpId="1" nodeType="withEffect">
                                  <p:stCondLst>
                                    <p:cond delay="0"/>
                                  </p:stCondLst>
                                  <p:childTnLst>
                                    <p:set>
                                      <p:cBhvr>
                                        <p:cTn id="59" dur="indefinite"/>
                                        <p:tgtEl>
                                          <p:spTgt spid="26">
                                            <p:txEl>
                                              <p:pRg st="0" end="0"/>
                                            </p:txEl>
                                          </p:spTgt>
                                        </p:tgtEl>
                                        <p:attrNameLst>
                                          <p:attrName>style.opacity</p:attrName>
                                        </p:attrNameLst>
                                      </p:cBhvr>
                                      <p:to>
                                        <p:strVal val="0.1"/>
                                      </p:to>
                                    </p:set>
                                    <p:animEffect filter="image" prLst="opacity: 0.1">
                                      <p:cBhvr rctx="IE">
                                        <p:cTn id="60" dur="indefinite"/>
                                        <p:tgtEl>
                                          <p:spTgt spid="26">
                                            <p:txEl>
                                              <p:pRg st="0" end="0"/>
                                            </p:txEl>
                                          </p:spTgt>
                                        </p:tgtEl>
                                      </p:cBhvr>
                                    </p:animEffect>
                                  </p:childTnLst>
                                </p:cTn>
                              </p:par>
                              <p:par>
                                <p:cTn id="61" presetID="9" presetClass="emph" presetSubtype="0" grpId="1" nodeType="withEffect" nodePh="1">
                                  <p:stCondLst>
                                    <p:cond delay="0"/>
                                  </p:stCondLst>
                                  <p:endCondLst>
                                    <p:cond evt="begin" delay="0">
                                      <p:tn val="61"/>
                                    </p:cond>
                                  </p:endCondLst>
                                  <p:childTnLst>
                                    <p:set>
                                      <p:cBhvr>
                                        <p:cTn id="62" dur="indefinite"/>
                                        <p:tgtEl>
                                          <p:spTgt spid="741"/>
                                        </p:tgtEl>
                                        <p:attrNameLst>
                                          <p:attrName>style.opacity</p:attrName>
                                        </p:attrNameLst>
                                      </p:cBhvr>
                                      <p:to>
                                        <p:strVal val="0.1"/>
                                      </p:to>
                                    </p:set>
                                    <p:animEffect filter="image" prLst="opacity: 0.1">
                                      <p:cBhvr rctx="IE">
                                        <p:cTn id="63" dur="indefinite"/>
                                        <p:tgtEl>
                                          <p:spTgt spid="741"/>
                                        </p:tgtEl>
                                      </p:cBhvr>
                                    </p:animEffect>
                                  </p:childTnLst>
                                </p:cTn>
                              </p:par>
                              <p:par>
                                <p:cTn id="64" presetID="9" presetClass="emph" presetSubtype="0" nodeType="withEffect">
                                  <p:stCondLst>
                                    <p:cond delay="0"/>
                                  </p:stCondLst>
                                  <p:childTnLst>
                                    <p:set>
                                      <p:cBhvr>
                                        <p:cTn id="65" dur="indefinite"/>
                                        <p:tgtEl>
                                          <p:spTgt spid="94"/>
                                        </p:tgtEl>
                                        <p:attrNameLst>
                                          <p:attrName>style.opacity</p:attrName>
                                        </p:attrNameLst>
                                      </p:cBhvr>
                                      <p:to>
                                        <p:strVal val="0.1"/>
                                      </p:to>
                                    </p:set>
                                    <p:animEffect filter="image" prLst="opacity: 0.1">
                                      <p:cBhvr rctx="IE">
                                        <p:cTn id="66" dur="indefinite"/>
                                        <p:tgtEl>
                                          <p:spTgt spid="9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80"/>
                                        </p:tgtEl>
                                        <p:attrNameLst>
                                          <p:attrName>style.visibility</p:attrName>
                                        </p:attrNameLst>
                                      </p:cBhvr>
                                      <p:to>
                                        <p:strVal val="visible"/>
                                      </p:to>
                                    </p:set>
                                    <p:animEffect transition="in" filter="fade">
                                      <p:cBhvr>
                                        <p:cTn id="69" dur="500"/>
                                        <p:tgtEl>
                                          <p:spTgt spid="80"/>
                                        </p:tgtEl>
                                      </p:cBhvr>
                                    </p:animEffect>
                                  </p:childTnLst>
                                </p:cTn>
                              </p:par>
                              <p:par>
                                <p:cTn id="70" presetID="10" presetClass="entr" presetSubtype="0" fill="hold" nodeType="withEffect">
                                  <p:stCondLst>
                                    <p:cond delay="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500"/>
                                        <p:tgtEl>
                                          <p:spTgt spid="8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12"/>
                                        </p:tgtEl>
                                        <p:attrNameLst>
                                          <p:attrName>style.visibility</p:attrName>
                                        </p:attrNameLst>
                                      </p:cBhvr>
                                      <p:to>
                                        <p:strVal val="visible"/>
                                      </p:to>
                                    </p:set>
                                    <p:animEffect transition="in" filter="fade">
                                      <p:cBhvr>
                                        <p:cTn id="75" dur="500"/>
                                        <p:tgtEl>
                                          <p:spTgt spid="11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9">
                                            <p:txEl>
                                              <p:pRg st="0" end="0"/>
                                            </p:txEl>
                                          </p:spTgt>
                                        </p:tgtEl>
                                        <p:attrNameLst>
                                          <p:attrName>style.visibility</p:attrName>
                                        </p:attrNameLst>
                                      </p:cBhvr>
                                      <p:to>
                                        <p:strVal val="visible"/>
                                      </p:to>
                                    </p:set>
                                    <p:animEffect transition="in" filter="fade">
                                      <p:cBhvr>
                                        <p:cTn id="78" dur="500"/>
                                        <p:tgtEl>
                                          <p:spTgt spid="19">
                                            <p:txEl>
                                              <p:pRg st="0" end="0"/>
                                            </p:txEl>
                                          </p:spTgt>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3">
                                            <p:txEl>
                                              <p:pRg st="0" end="0"/>
                                            </p:txEl>
                                          </p:spTgt>
                                        </p:tgtEl>
                                        <p:attrNameLst>
                                          <p:attrName>style.visibility</p:attrName>
                                        </p:attrNameLst>
                                      </p:cBhvr>
                                      <p:to>
                                        <p:strVal val="visible"/>
                                      </p:to>
                                    </p:set>
                                    <p:animEffect transition="in" filter="fade">
                                      <p:cBhvr>
                                        <p:cTn id="81" dur="500"/>
                                        <p:tgtEl>
                                          <p:spTgt spid="53">
                                            <p:txEl>
                                              <p:pRg st="0" end="0"/>
                                            </p:tx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6"/>
                                        </p:tgtEl>
                                        <p:attrNameLst>
                                          <p:attrName>style.visibility</p:attrName>
                                        </p:attrNameLst>
                                      </p:cBhvr>
                                      <p:to>
                                        <p:strVal val="visible"/>
                                      </p:to>
                                    </p:set>
                                    <p:animEffect transition="in" filter="fade">
                                      <p:cBhvr>
                                        <p:cTn id="87" dur="500"/>
                                        <p:tgtEl>
                                          <p:spTgt spid="1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7">
                                            <p:txEl>
                                              <p:pRg st="0" end="0"/>
                                            </p:txEl>
                                          </p:spTgt>
                                        </p:tgtEl>
                                        <p:attrNameLst>
                                          <p:attrName>style.visibility</p:attrName>
                                        </p:attrNameLst>
                                      </p:cBhvr>
                                      <p:to>
                                        <p:strVal val="visible"/>
                                      </p:to>
                                    </p:set>
                                    <p:animEffect transition="in" filter="fade">
                                      <p:cBhvr>
                                        <p:cTn id="90" dur="500"/>
                                        <p:tgtEl>
                                          <p:spTgt spid="27">
                                            <p:txEl>
                                              <p:pRg st="0" end="0"/>
                                            </p:txEl>
                                          </p:spTgt>
                                        </p:tgtEl>
                                      </p:cBhvr>
                                    </p:animEffect>
                                  </p:childTnLst>
                                </p:cTn>
                              </p:par>
                              <p:par>
                                <p:cTn id="91" presetID="10" presetClass="entr" presetSubtype="0" fill="hold" grpId="0" nodeType="withEffect" nodePh="1">
                                  <p:stCondLst>
                                    <p:cond delay="0"/>
                                  </p:stCondLst>
                                  <p:endCondLst>
                                    <p:cond evt="begin" delay="0">
                                      <p:tn val="91"/>
                                    </p:cond>
                                  </p:endCondLst>
                                  <p:childTnLst>
                                    <p:set>
                                      <p:cBhvr>
                                        <p:cTn id="92" dur="1" fill="hold">
                                          <p:stCondLst>
                                            <p:cond delay="0"/>
                                          </p:stCondLst>
                                        </p:cTn>
                                        <p:tgtEl>
                                          <p:spTgt spid="746"/>
                                        </p:tgtEl>
                                        <p:attrNameLst>
                                          <p:attrName>style.visibility</p:attrName>
                                        </p:attrNameLst>
                                      </p:cBhvr>
                                      <p:to>
                                        <p:strVal val="visible"/>
                                      </p:to>
                                    </p:set>
                                    <p:animEffect transition="in" filter="fade">
                                      <p:cBhvr>
                                        <p:cTn id="93" dur="500"/>
                                        <p:tgtEl>
                                          <p:spTgt spid="746"/>
                                        </p:tgtEl>
                                      </p:cBhvr>
                                    </p:animEffect>
                                  </p:childTnLst>
                                </p:cTn>
                              </p:par>
                              <p:par>
                                <p:cTn id="94" presetID="10" presetClass="entr" presetSubtype="0" fill="hold" nodeType="withEffect">
                                  <p:stCondLst>
                                    <p:cond delay="0"/>
                                  </p:stCondLst>
                                  <p:childTnLst>
                                    <p:set>
                                      <p:cBhvr>
                                        <p:cTn id="95" dur="1" fill="hold">
                                          <p:stCondLst>
                                            <p:cond delay="0"/>
                                          </p:stCondLst>
                                        </p:cTn>
                                        <p:tgtEl>
                                          <p:spTgt spid="138"/>
                                        </p:tgtEl>
                                        <p:attrNameLst>
                                          <p:attrName>style.visibility</p:attrName>
                                        </p:attrNameLst>
                                      </p:cBhvr>
                                      <p:to>
                                        <p:strVal val="visible"/>
                                      </p:to>
                                    </p:set>
                                    <p:animEffect transition="in" filter="fade">
                                      <p:cBhvr>
                                        <p:cTn id="96" dur="500"/>
                                        <p:tgtEl>
                                          <p:spTgt spid="138"/>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mph" presetSubtype="0" grpId="1" nodeType="clickEffect">
                                  <p:stCondLst>
                                    <p:cond delay="0"/>
                                  </p:stCondLst>
                                  <p:childTnLst>
                                    <p:set>
                                      <p:cBhvr>
                                        <p:cTn id="100" dur="indefinite"/>
                                        <p:tgtEl>
                                          <p:spTgt spid="80"/>
                                        </p:tgtEl>
                                        <p:attrNameLst>
                                          <p:attrName>style.opacity</p:attrName>
                                        </p:attrNameLst>
                                      </p:cBhvr>
                                      <p:to>
                                        <p:strVal val="0.1"/>
                                      </p:to>
                                    </p:set>
                                    <p:animEffect filter="image" prLst="opacity: 0.1">
                                      <p:cBhvr rctx="IE">
                                        <p:cTn id="101" dur="indefinite"/>
                                        <p:tgtEl>
                                          <p:spTgt spid="80"/>
                                        </p:tgtEl>
                                      </p:cBhvr>
                                    </p:animEffect>
                                  </p:childTnLst>
                                </p:cTn>
                              </p:par>
                              <p:par>
                                <p:cTn id="102" presetID="9" presetClass="emph" presetSubtype="0" nodeType="withEffect">
                                  <p:stCondLst>
                                    <p:cond delay="0"/>
                                  </p:stCondLst>
                                  <p:childTnLst>
                                    <p:set>
                                      <p:cBhvr>
                                        <p:cTn id="103" dur="indefinite"/>
                                        <p:tgtEl>
                                          <p:spTgt spid="85"/>
                                        </p:tgtEl>
                                        <p:attrNameLst>
                                          <p:attrName>style.opacity</p:attrName>
                                        </p:attrNameLst>
                                      </p:cBhvr>
                                      <p:to>
                                        <p:strVal val="0.1"/>
                                      </p:to>
                                    </p:set>
                                    <p:animEffect filter="image" prLst="opacity: 0.1">
                                      <p:cBhvr rctx="IE">
                                        <p:cTn id="104" dur="indefinite"/>
                                        <p:tgtEl>
                                          <p:spTgt spid="85"/>
                                        </p:tgtEl>
                                      </p:cBhvr>
                                    </p:animEffect>
                                  </p:childTnLst>
                                </p:cTn>
                              </p:par>
                              <p:par>
                                <p:cTn id="105" presetID="9" presetClass="emph" presetSubtype="0" grpId="1" nodeType="withEffect">
                                  <p:stCondLst>
                                    <p:cond delay="0"/>
                                  </p:stCondLst>
                                  <p:childTnLst>
                                    <p:set>
                                      <p:cBhvr>
                                        <p:cTn id="106" dur="indefinite"/>
                                        <p:tgtEl>
                                          <p:spTgt spid="112"/>
                                        </p:tgtEl>
                                        <p:attrNameLst>
                                          <p:attrName>style.opacity</p:attrName>
                                        </p:attrNameLst>
                                      </p:cBhvr>
                                      <p:to>
                                        <p:strVal val="0.1"/>
                                      </p:to>
                                    </p:set>
                                    <p:animEffect filter="image" prLst="opacity: 0.1">
                                      <p:cBhvr rctx="IE">
                                        <p:cTn id="107" dur="indefinite"/>
                                        <p:tgtEl>
                                          <p:spTgt spid="112"/>
                                        </p:tgtEl>
                                      </p:cBhvr>
                                    </p:animEffect>
                                  </p:childTnLst>
                                </p:cTn>
                              </p:par>
                              <p:par>
                                <p:cTn id="108" presetID="9" presetClass="emph" presetSubtype="0" grpId="1" nodeType="withEffect">
                                  <p:stCondLst>
                                    <p:cond delay="0"/>
                                  </p:stCondLst>
                                  <p:childTnLst>
                                    <p:set>
                                      <p:cBhvr>
                                        <p:cTn id="109" dur="indefinite"/>
                                        <p:tgtEl>
                                          <p:spTgt spid="19">
                                            <p:txEl>
                                              <p:pRg st="0" end="0"/>
                                            </p:txEl>
                                          </p:spTgt>
                                        </p:tgtEl>
                                        <p:attrNameLst>
                                          <p:attrName>style.opacity</p:attrName>
                                        </p:attrNameLst>
                                      </p:cBhvr>
                                      <p:to>
                                        <p:strVal val="0.1"/>
                                      </p:to>
                                    </p:set>
                                    <p:animEffect filter="image" prLst="opacity: 0.1">
                                      <p:cBhvr rctx="IE">
                                        <p:cTn id="110" dur="indefinite"/>
                                        <p:tgtEl>
                                          <p:spTgt spid="19">
                                            <p:txEl>
                                              <p:pRg st="0" end="0"/>
                                            </p:txEl>
                                          </p:spTgt>
                                        </p:tgtEl>
                                      </p:cBhvr>
                                    </p:animEffect>
                                  </p:childTnLst>
                                </p:cTn>
                              </p:par>
                              <p:par>
                                <p:cTn id="111" presetID="9" presetClass="emph" presetSubtype="0" grpId="1" nodeType="withEffect">
                                  <p:stCondLst>
                                    <p:cond delay="0"/>
                                  </p:stCondLst>
                                  <p:childTnLst>
                                    <p:set>
                                      <p:cBhvr>
                                        <p:cTn id="112" dur="indefinite"/>
                                        <p:tgtEl>
                                          <p:spTgt spid="53">
                                            <p:txEl>
                                              <p:pRg st="0" end="0"/>
                                            </p:txEl>
                                          </p:spTgt>
                                        </p:tgtEl>
                                        <p:attrNameLst>
                                          <p:attrName>style.opacity</p:attrName>
                                        </p:attrNameLst>
                                      </p:cBhvr>
                                      <p:to>
                                        <p:strVal val="0.1"/>
                                      </p:to>
                                    </p:set>
                                    <p:animEffect filter="image" prLst="opacity: 0.1">
                                      <p:cBhvr rctx="IE">
                                        <p:cTn id="113" dur="indefinite"/>
                                        <p:tgtEl>
                                          <p:spTgt spid="53">
                                            <p:txEl>
                                              <p:pRg st="0" end="0"/>
                                            </p:txEl>
                                          </p:spTgt>
                                        </p:tgtEl>
                                      </p:cBhvr>
                                    </p:animEffect>
                                  </p:childTnLst>
                                </p:cTn>
                              </p:par>
                              <p:par>
                                <p:cTn id="114" presetID="9" presetClass="emph" presetSubtype="0" grpId="1" nodeType="withEffect">
                                  <p:stCondLst>
                                    <p:cond delay="0"/>
                                  </p:stCondLst>
                                  <p:childTnLst>
                                    <p:set>
                                      <p:cBhvr>
                                        <p:cTn id="115" dur="indefinite"/>
                                        <p:tgtEl>
                                          <p:spTgt spid="12"/>
                                        </p:tgtEl>
                                        <p:attrNameLst>
                                          <p:attrName>style.opacity</p:attrName>
                                        </p:attrNameLst>
                                      </p:cBhvr>
                                      <p:to>
                                        <p:strVal val="0.1"/>
                                      </p:to>
                                    </p:set>
                                    <p:animEffect filter="image" prLst="opacity: 0.1">
                                      <p:cBhvr rctx="IE">
                                        <p:cTn id="116" dur="indefinite"/>
                                        <p:tgtEl>
                                          <p:spTgt spid="12"/>
                                        </p:tgtEl>
                                      </p:cBhvr>
                                    </p:animEffect>
                                  </p:childTnLst>
                                </p:cTn>
                              </p:par>
                              <p:par>
                                <p:cTn id="117" presetID="9" presetClass="emph" presetSubtype="0" grpId="1" nodeType="withEffect">
                                  <p:stCondLst>
                                    <p:cond delay="0"/>
                                  </p:stCondLst>
                                  <p:childTnLst>
                                    <p:set>
                                      <p:cBhvr>
                                        <p:cTn id="118" dur="indefinite"/>
                                        <p:tgtEl>
                                          <p:spTgt spid="16"/>
                                        </p:tgtEl>
                                        <p:attrNameLst>
                                          <p:attrName>style.opacity</p:attrName>
                                        </p:attrNameLst>
                                      </p:cBhvr>
                                      <p:to>
                                        <p:strVal val="0.1"/>
                                      </p:to>
                                    </p:set>
                                    <p:animEffect filter="image" prLst="opacity: 0.1">
                                      <p:cBhvr rctx="IE">
                                        <p:cTn id="119" dur="indefinite"/>
                                        <p:tgtEl>
                                          <p:spTgt spid="16"/>
                                        </p:tgtEl>
                                      </p:cBhvr>
                                    </p:animEffect>
                                  </p:childTnLst>
                                </p:cTn>
                              </p:par>
                              <p:par>
                                <p:cTn id="120" presetID="9" presetClass="emph" presetSubtype="0" grpId="1" nodeType="withEffect">
                                  <p:stCondLst>
                                    <p:cond delay="0"/>
                                  </p:stCondLst>
                                  <p:childTnLst>
                                    <p:set>
                                      <p:cBhvr>
                                        <p:cTn id="121" dur="indefinite"/>
                                        <p:tgtEl>
                                          <p:spTgt spid="27">
                                            <p:txEl>
                                              <p:pRg st="0" end="0"/>
                                            </p:txEl>
                                          </p:spTgt>
                                        </p:tgtEl>
                                        <p:attrNameLst>
                                          <p:attrName>style.opacity</p:attrName>
                                        </p:attrNameLst>
                                      </p:cBhvr>
                                      <p:to>
                                        <p:strVal val="0.1"/>
                                      </p:to>
                                    </p:set>
                                    <p:animEffect filter="image" prLst="opacity: 0.1">
                                      <p:cBhvr rctx="IE">
                                        <p:cTn id="122" dur="indefinite"/>
                                        <p:tgtEl>
                                          <p:spTgt spid="27">
                                            <p:txEl>
                                              <p:pRg st="0" end="0"/>
                                            </p:txEl>
                                          </p:spTgt>
                                        </p:tgtEl>
                                      </p:cBhvr>
                                    </p:animEffect>
                                  </p:childTnLst>
                                </p:cTn>
                              </p:par>
                              <p:par>
                                <p:cTn id="123" presetID="9" presetClass="emph" presetSubtype="0" grpId="1" nodeType="withEffect" nodePh="1">
                                  <p:stCondLst>
                                    <p:cond delay="0"/>
                                  </p:stCondLst>
                                  <p:endCondLst>
                                    <p:cond evt="begin" delay="0">
                                      <p:tn val="123"/>
                                    </p:cond>
                                  </p:endCondLst>
                                  <p:childTnLst>
                                    <p:set>
                                      <p:cBhvr>
                                        <p:cTn id="124" dur="indefinite"/>
                                        <p:tgtEl>
                                          <p:spTgt spid="746"/>
                                        </p:tgtEl>
                                        <p:attrNameLst>
                                          <p:attrName>style.opacity</p:attrName>
                                        </p:attrNameLst>
                                      </p:cBhvr>
                                      <p:to>
                                        <p:strVal val="0.1"/>
                                      </p:to>
                                    </p:set>
                                    <p:animEffect filter="image" prLst="opacity: 0.1">
                                      <p:cBhvr rctx="IE">
                                        <p:cTn id="125" dur="indefinite"/>
                                        <p:tgtEl>
                                          <p:spTgt spid="746"/>
                                        </p:tgtEl>
                                      </p:cBhvr>
                                    </p:animEffect>
                                  </p:childTnLst>
                                </p:cTn>
                              </p:par>
                              <p:par>
                                <p:cTn id="126" presetID="9" presetClass="emph" presetSubtype="0" nodeType="withEffect">
                                  <p:stCondLst>
                                    <p:cond delay="0"/>
                                  </p:stCondLst>
                                  <p:childTnLst>
                                    <p:set>
                                      <p:cBhvr>
                                        <p:cTn id="127" dur="indefinite"/>
                                        <p:tgtEl>
                                          <p:spTgt spid="138"/>
                                        </p:tgtEl>
                                        <p:attrNameLst>
                                          <p:attrName>style.opacity</p:attrName>
                                        </p:attrNameLst>
                                      </p:cBhvr>
                                      <p:to>
                                        <p:strVal val="0.1"/>
                                      </p:to>
                                    </p:set>
                                    <p:animEffect filter="image" prLst="opacity: 0.1">
                                      <p:cBhvr rctx="IE">
                                        <p:cTn id="128" dur="indefinite"/>
                                        <p:tgtEl>
                                          <p:spTgt spid="138"/>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81"/>
                                        </p:tgtEl>
                                        <p:attrNameLst>
                                          <p:attrName>style.visibility</p:attrName>
                                        </p:attrNameLst>
                                      </p:cBhvr>
                                      <p:to>
                                        <p:strVal val="visible"/>
                                      </p:to>
                                    </p:set>
                                    <p:animEffect transition="in" filter="fade">
                                      <p:cBhvr>
                                        <p:cTn id="131" dur="500"/>
                                        <p:tgtEl>
                                          <p:spTgt spid="81"/>
                                        </p:tgtEl>
                                      </p:cBhvr>
                                    </p:animEffect>
                                  </p:childTnLst>
                                </p:cTn>
                              </p:par>
                              <p:par>
                                <p:cTn id="132" presetID="10" presetClass="entr" presetSubtype="0" fill="hold" nodeType="withEffect">
                                  <p:stCondLst>
                                    <p:cond delay="0"/>
                                  </p:stCondLst>
                                  <p:childTnLst>
                                    <p:set>
                                      <p:cBhvr>
                                        <p:cTn id="133" dur="1" fill="hold">
                                          <p:stCondLst>
                                            <p:cond delay="0"/>
                                          </p:stCondLst>
                                        </p:cTn>
                                        <p:tgtEl>
                                          <p:spTgt spid="86"/>
                                        </p:tgtEl>
                                        <p:attrNameLst>
                                          <p:attrName>style.visibility</p:attrName>
                                        </p:attrNameLst>
                                      </p:cBhvr>
                                      <p:to>
                                        <p:strVal val="visible"/>
                                      </p:to>
                                    </p:set>
                                    <p:animEffect transition="in" filter="fade">
                                      <p:cBhvr>
                                        <p:cTn id="134" dur="500"/>
                                        <p:tgtEl>
                                          <p:spTgt spid="86"/>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13"/>
                                        </p:tgtEl>
                                        <p:attrNameLst>
                                          <p:attrName>style.visibility</p:attrName>
                                        </p:attrNameLst>
                                      </p:cBhvr>
                                      <p:to>
                                        <p:strVal val="visible"/>
                                      </p:to>
                                    </p:set>
                                    <p:animEffect transition="in" filter="fade">
                                      <p:cBhvr>
                                        <p:cTn id="137" dur="500"/>
                                        <p:tgtEl>
                                          <p:spTgt spid="11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0">
                                            <p:txEl>
                                              <p:pRg st="0" end="0"/>
                                            </p:txEl>
                                          </p:spTgt>
                                        </p:tgtEl>
                                        <p:attrNameLst>
                                          <p:attrName>style.visibility</p:attrName>
                                        </p:attrNameLst>
                                      </p:cBhvr>
                                      <p:to>
                                        <p:strVal val="visible"/>
                                      </p:to>
                                    </p:set>
                                    <p:animEffect transition="in" filter="fade">
                                      <p:cBhvr>
                                        <p:cTn id="140" dur="500"/>
                                        <p:tgtEl>
                                          <p:spTgt spid="20">
                                            <p:txEl>
                                              <p:pRg st="0" end="0"/>
                                            </p:txEl>
                                          </p:spTgt>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54">
                                            <p:txEl>
                                              <p:pRg st="0" end="0"/>
                                            </p:txEl>
                                          </p:spTgt>
                                        </p:tgtEl>
                                        <p:attrNameLst>
                                          <p:attrName>style.visibility</p:attrName>
                                        </p:attrNameLst>
                                      </p:cBhvr>
                                      <p:to>
                                        <p:strVal val="visible"/>
                                      </p:to>
                                    </p:set>
                                    <p:animEffect transition="in" filter="fade">
                                      <p:cBhvr>
                                        <p:cTn id="143" dur="500"/>
                                        <p:tgtEl>
                                          <p:spTgt spid="54">
                                            <p:txEl>
                                              <p:pRg st="0" end="0"/>
                                            </p:txEl>
                                          </p:spTgt>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17"/>
                                        </p:tgtEl>
                                        <p:attrNameLst>
                                          <p:attrName>style.visibility</p:attrName>
                                        </p:attrNameLst>
                                      </p:cBhvr>
                                      <p:to>
                                        <p:strVal val="visible"/>
                                      </p:to>
                                    </p:set>
                                    <p:animEffect transition="in" filter="fade">
                                      <p:cBhvr>
                                        <p:cTn id="146" dur="500"/>
                                        <p:tgtEl>
                                          <p:spTgt spid="17"/>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25"/>
                                        </p:tgtEl>
                                        <p:attrNameLst>
                                          <p:attrName>style.visibility</p:attrName>
                                        </p:attrNameLst>
                                      </p:cBhvr>
                                      <p:to>
                                        <p:strVal val="visible"/>
                                      </p:to>
                                    </p:set>
                                    <p:animEffect transition="in" filter="fade">
                                      <p:cBhvr>
                                        <p:cTn id="149" dur="500"/>
                                        <p:tgtEl>
                                          <p:spTgt spid="25"/>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28">
                                            <p:txEl>
                                              <p:pRg st="0" end="0"/>
                                            </p:txEl>
                                          </p:spTgt>
                                        </p:tgtEl>
                                        <p:attrNameLst>
                                          <p:attrName>style.visibility</p:attrName>
                                        </p:attrNameLst>
                                      </p:cBhvr>
                                      <p:to>
                                        <p:strVal val="visible"/>
                                      </p:to>
                                    </p:set>
                                    <p:animEffect transition="in" filter="fade">
                                      <p:cBhvr>
                                        <p:cTn id="152" dur="500"/>
                                        <p:tgtEl>
                                          <p:spTgt spid="28">
                                            <p:txEl>
                                              <p:pRg st="0" end="0"/>
                                            </p:txEl>
                                          </p:spTgt>
                                        </p:tgtEl>
                                      </p:cBhvr>
                                    </p:animEffect>
                                  </p:childTnLst>
                                </p:cTn>
                              </p:par>
                              <p:par>
                                <p:cTn id="153" presetID="10" presetClass="entr" presetSubtype="0" fill="hold" grpId="0" nodeType="withEffect" nodePh="1">
                                  <p:stCondLst>
                                    <p:cond delay="0"/>
                                  </p:stCondLst>
                                  <p:endCondLst>
                                    <p:cond evt="begin" delay="0">
                                      <p:tn val="153"/>
                                    </p:cond>
                                  </p:endCondLst>
                                  <p:childTnLst>
                                    <p:set>
                                      <p:cBhvr>
                                        <p:cTn id="154" dur="1" fill="hold">
                                          <p:stCondLst>
                                            <p:cond delay="0"/>
                                          </p:stCondLst>
                                        </p:cTn>
                                        <p:tgtEl>
                                          <p:spTgt spid="760"/>
                                        </p:tgtEl>
                                        <p:attrNameLst>
                                          <p:attrName>style.visibility</p:attrName>
                                        </p:attrNameLst>
                                      </p:cBhvr>
                                      <p:to>
                                        <p:strVal val="visible"/>
                                      </p:to>
                                    </p:set>
                                    <p:animEffect transition="in" filter="fade">
                                      <p:cBhvr>
                                        <p:cTn id="155" dur="500"/>
                                        <p:tgtEl>
                                          <p:spTgt spid="760"/>
                                        </p:tgtEl>
                                      </p:cBhvr>
                                    </p:animEffect>
                                  </p:childTnLst>
                                </p:cTn>
                              </p:par>
                              <p:par>
                                <p:cTn id="156" presetID="10" presetClass="entr" presetSubtype="0" fill="hold" nodeType="withEffect">
                                  <p:stCondLst>
                                    <p:cond delay="0"/>
                                  </p:stCondLst>
                                  <p:childTnLst>
                                    <p:set>
                                      <p:cBhvr>
                                        <p:cTn id="157" dur="1" fill="hold">
                                          <p:stCondLst>
                                            <p:cond delay="0"/>
                                          </p:stCondLst>
                                        </p:cTn>
                                        <p:tgtEl>
                                          <p:spTgt spid="88"/>
                                        </p:tgtEl>
                                        <p:attrNameLst>
                                          <p:attrName>style.visibility</p:attrName>
                                        </p:attrNameLst>
                                      </p:cBhvr>
                                      <p:to>
                                        <p:strVal val="visible"/>
                                      </p:to>
                                    </p:set>
                                    <p:animEffect transition="in" filter="fade">
                                      <p:cBhvr>
                                        <p:cTn id="158" dur="500"/>
                                        <p:tgtEl>
                                          <p:spTgt spid="88"/>
                                        </p:tgtEl>
                                      </p:cBhvr>
                                    </p:animEffect>
                                  </p:childTnLst>
                                </p:cTn>
                              </p:par>
                            </p:childTnLst>
                          </p:cTn>
                        </p:par>
                      </p:childTnLst>
                    </p:cTn>
                  </p:par>
                  <p:par>
                    <p:cTn id="159" fill="hold">
                      <p:stCondLst>
                        <p:cond delay="indefinite"/>
                      </p:stCondLst>
                      <p:childTnLst>
                        <p:par>
                          <p:cTn id="160" fill="hold">
                            <p:stCondLst>
                              <p:cond delay="0"/>
                            </p:stCondLst>
                            <p:childTnLst>
                              <p:par>
                                <p:cTn id="161" presetID="9" presetClass="emph" presetSubtype="0" grpId="1" nodeType="clickEffect">
                                  <p:stCondLst>
                                    <p:cond delay="0"/>
                                  </p:stCondLst>
                                  <p:childTnLst>
                                    <p:set>
                                      <p:cBhvr>
                                        <p:cTn id="162" dur="indefinite"/>
                                        <p:tgtEl>
                                          <p:spTgt spid="81"/>
                                        </p:tgtEl>
                                        <p:attrNameLst>
                                          <p:attrName>style.opacity</p:attrName>
                                        </p:attrNameLst>
                                      </p:cBhvr>
                                      <p:to>
                                        <p:strVal val="0.1"/>
                                      </p:to>
                                    </p:set>
                                    <p:animEffect filter="image" prLst="opacity: 0.1">
                                      <p:cBhvr rctx="IE">
                                        <p:cTn id="163" dur="indefinite"/>
                                        <p:tgtEl>
                                          <p:spTgt spid="81"/>
                                        </p:tgtEl>
                                      </p:cBhvr>
                                    </p:animEffect>
                                  </p:childTnLst>
                                </p:cTn>
                              </p:par>
                              <p:par>
                                <p:cTn id="164" presetID="9" presetClass="emph" presetSubtype="0" nodeType="withEffect">
                                  <p:stCondLst>
                                    <p:cond delay="0"/>
                                  </p:stCondLst>
                                  <p:childTnLst>
                                    <p:set>
                                      <p:cBhvr>
                                        <p:cTn id="165" dur="indefinite"/>
                                        <p:tgtEl>
                                          <p:spTgt spid="86"/>
                                        </p:tgtEl>
                                        <p:attrNameLst>
                                          <p:attrName>style.opacity</p:attrName>
                                        </p:attrNameLst>
                                      </p:cBhvr>
                                      <p:to>
                                        <p:strVal val="0.1"/>
                                      </p:to>
                                    </p:set>
                                    <p:animEffect filter="image" prLst="opacity: 0.1">
                                      <p:cBhvr rctx="IE">
                                        <p:cTn id="166" dur="indefinite"/>
                                        <p:tgtEl>
                                          <p:spTgt spid="86"/>
                                        </p:tgtEl>
                                      </p:cBhvr>
                                    </p:animEffect>
                                  </p:childTnLst>
                                </p:cTn>
                              </p:par>
                              <p:par>
                                <p:cTn id="167" presetID="9" presetClass="emph" presetSubtype="0" grpId="1" nodeType="withEffect">
                                  <p:stCondLst>
                                    <p:cond delay="0"/>
                                  </p:stCondLst>
                                  <p:childTnLst>
                                    <p:set>
                                      <p:cBhvr>
                                        <p:cTn id="168" dur="indefinite"/>
                                        <p:tgtEl>
                                          <p:spTgt spid="113"/>
                                        </p:tgtEl>
                                        <p:attrNameLst>
                                          <p:attrName>style.opacity</p:attrName>
                                        </p:attrNameLst>
                                      </p:cBhvr>
                                      <p:to>
                                        <p:strVal val="0.1"/>
                                      </p:to>
                                    </p:set>
                                    <p:animEffect filter="image" prLst="opacity: 0.1">
                                      <p:cBhvr rctx="IE">
                                        <p:cTn id="169" dur="indefinite"/>
                                        <p:tgtEl>
                                          <p:spTgt spid="113"/>
                                        </p:tgtEl>
                                      </p:cBhvr>
                                    </p:animEffect>
                                  </p:childTnLst>
                                </p:cTn>
                              </p:par>
                              <p:par>
                                <p:cTn id="170" presetID="9" presetClass="emph" presetSubtype="0" grpId="1" nodeType="withEffect">
                                  <p:stCondLst>
                                    <p:cond delay="0"/>
                                  </p:stCondLst>
                                  <p:childTnLst>
                                    <p:set>
                                      <p:cBhvr>
                                        <p:cTn id="171" dur="indefinite"/>
                                        <p:tgtEl>
                                          <p:spTgt spid="20">
                                            <p:txEl>
                                              <p:pRg st="0" end="0"/>
                                            </p:txEl>
                                          </p:spTgt>
                                        </p:tgtEl>
                                        <p:attrNameLst>
                                          <p:attrName>style.opacity</p:attrName>
                                        </p:attrNameLst>
                                      </p:cBhvr>
                                      <p:to>
                                        <p:strVal val="0.1"/>
                                      </p:to>
                                    </p:set>
                                    <p:animEffect filter="image" prLst="opacity: 0.1">
                                      <p:cBhvr rctx="IE">
                                        <p:cTn id="172" dur="indefinite"/>
                                        <p:tgtEl>
                                          <p:spTgt spid="20">
                                            <p:txEl>
                                              <p:pRg st="0" end="0"/>
                                            </p:txEl>
                                          </p:spTgt>
                                        </p:tgtEl>
                                      </p:cBhvr>
                                    </p:animEffect>
                                  </p:childTnLst>
                                </p:cTn>
                              </p:par>
                              <p:par>
                                <p:cTn id="173" presetID="9" presetClass="emph" presetSubtype="0" grpId="1" nodeType="withEffect">
                                  <p:stCondLst>
                                    <p:cond delay="0"/>
                                  </p:stCondLst>
                                  <p:childTnLst>
                                    <p:set>
                                      <p:cBhvr>
                                        <p:cTn id="174" dur="indefinite"/>
                                        <p:tgtEl>
                                          <p:spTgt spid="54">
                                            <p:txEl>
                                              <p:pRg st="0" end="0"/>
                                            </p:txEl>
                                          </p:spTgt>
                                        </p:tgtEl>
                                        <p:attrNameLst>
                                          <p:attrName>style.opacity</p:attrName>
                                        </p:attrNameLst>
                                      </p:cBhvr>
                                      <p:to>
                                        <p:strVal val="0.1"/>
                                      </p:to>
                                    </p:set>
                                    <p:animEffect filter="image" prLst="opacity: 0.1">
                                      <p:cBhvr rctx="IE">
                                        <p:cTn id="175" dur="indefinite"/>
                                        <p:tgtEl>
                                          <p:spTgt spid="54">
                                            <p:txEl>
                                              <p:pRg st="0" end="0"/>
                                            </p:txEl>
                                          </p:spTgt>
                                        </p:tgtEl>
                                      </p:cBhvr>
                                    </p:animEffect>
                                  </p:childTnLst>
                                </p:cTn>
                              </p:par>
                              <p:par>
                                <p:cTn id="176" presetID="9" presetClass="emph" presetSubtype="0" grpId="1" nodeType="withEffect">
                                  <p:stCondLst>
                                    <p:cond delay="0"/>
                                  </p:stCondLst>
                                  <p:childTnLst>
                                    <p:set>
                                      <p:cBhvr>
                                        <p:cTn id="177" dur="indefinite"/>
                                        <p:tgtEl>
                                          <p:spTgt spid="17"/>
                                        </p:tgtEl>
                                        <p:attrNameLst>
                                          <p:attrName>style.opacity</p:attrName>
                                        </p:attrNameLst>
                                      </p:cBhvr>
                                      <p:to>
                                        <p:strVal val="0.1"/>
                                      </p:to>
                                    </p:set>
                                    <p:animEffect filter="image" prLst="opacity: 0.1">
                                      <p:cBhvr rctx="IE">
                                        <p:cTn id="178" dur="indefinite"/>
                                        <p:tgtEl>
                                          <p:spTgt spid="17"/>
                                        </p:tgtEl>
                                      </p:cBhvr>
                                    </p:animEffect>
                                  </p:childTnLst>
                                </p:cTn>
                              </p:par>
                              <p:par>
                                <p:cTn id="179" presetID="9" presetClass="emph" presetSubtype="0" grpId="1" nodeType="withEffect">
                                  <p:stCondLst>
                                    <p:cond delay="0"/>
                                  </p:stCondLst>
                                  <p:childTnLst>
                                    <p:set>
                                      <p:cBhvr>
                                        <p:cTn id="180" dur="indefinite"/>
                                        <p:tgtEl>
                                          <p:spTgt spid="25"/>
                                        </p:tgtEl>
                                        <p:attrNameLst>
                                          <p:attrName>style.opacity</p:attrName>
                                        </p:attrNameLst>
                                      </p:cBhvr>
                                      <p:to>
                                        <p:strVal val="0.1"/>
                                      </p:to>
                                    </p:set>
                                    <p:animEffect filter="image" prLst="opacity: 0.1">
                                      <p:cBhvr rctx="IE">
                                        <p:cTn id="181" dur="indefinite"/>
                                        <p:tgtEl>
                                          <p:spTgt spid="25"/>
                                        </p:tgtEl>
                                      </p:cBhvr>
                                    </p:animEffect>
                                  </p:childTnLst>
                                </p:cTn>
                              </p:par>
                              <p:par>
                                <p:cTn id="182" presetID="9" presetClass="emph" presetSubtype="0" grpId="1" nodeType="withEffect">
                                  <p:stCondLst>
                                    <p:cond delay="0"/>
                                  </p:stCondLst>
                                  <p:childTnLst>
                                    <p:set>
                                      <p:cBhvr>
                                        <p:cTn id="183" dur="indefinite"/>
                                        <p:tgtEl>
                                          <p:spTgt spid="28">
                                            <p:txEl>
                                              <p:pRg st="0" end="0"/>
                                            </p:txEl>
                                          </p:spTgt>
                                        </p:tgtEl>
                                        <p:attrNameLst>
                                          <p:attrName>style.opacity</p:attrName>
                                        </p:attrNameLst>
                                      </p:cBhvr>
                                      <p:to>
                                        <p:strVal val="0.1"/>
                                      </p:to>
                                    </p:set>
                                    <p:animEffect filter="image" prLst="opacity: 0.1">
                                      <p:cBhvr rctx="IE">
                                        <p:cTn id="184" dur="indefinite"/>
                                        <p:tgtEl>
                                          <p:spTgt spid="28">
                                            <p:txEl>
                                              <p:pRg st="0" end="0"/>
                                            </p:txEl>
                                          </p:spTgt>
                                        </p:tgtEl>
                                      </p:cBhvr>
                                    </p:animEffect>
                                  </p:childTnLst>
                                </p:cTn>
                              </p:par>
                              <p:par>
                                <p:cTn id="185" presetID="9" presetClass="emph" presetSubtype="0" grpId="1" nodeType="withEffect" nodePh="1">
                                  <p:stCondLst>
                                    <p:cond delay="0"/>
                                  </p:stCondLst>
                                  <p:endCondLst>
                                    <p:cond evt="begin" delay="0">
                                      <p:tn val="185"/>
                                    </p:cond>
                                  </p:endCondLst>
                                  <p:childTnLst>
                                    <p:set>
                                      <p:cBhvr>
                                        <p:cTn id="186" dur="indefinite"/>
                                        <p:tgtEl>
                                          <p:spTgt spid="760"/>
                                        </p:tgtEl>
                                        <p:attrNameLst>
                                          <p:attrName>style.opacity</p:attrName>
                                        </p:attrNameLst>
                                      </p:cBhvr>
                                      <p:to>
                                        <p:strVal val="0.1"/>
                                      </p:to>
                                    </p:set>
                                    <p:animEffect filter="image" prLst="opacity: 0.1">
                                      <p:cBhvr rctx="IE">
                                        <p:cTn id="187" dur="indefinite"/>
                                        <p:tgtEl>
                                          <p:spTgt spid="760"/>
                                        </p:tgtEl>
                                      </p:cBhvr>
                                    </p:animEffect>
                                  </p:childTnLst>
                                </p:cTn>
                              </p:par>
                              <p:par>
                                <p:cTn id="188" presetID="9" presetClass="emph" presetSubtype="0" nodeType="withEffect">
                                  <p:stCondLst>
                                    <p:cond delay="0"/>
                                  </p:stCondLst>
                                  <p:childTnLst>
                                    <p:set>
                                      <p:cBhvr>
                                        <p:cTn id="189" dur="indefinite"/>
                                        <p:tgtEl>
                                          <p:spTgt spid="88"/>
                                        </p:tgtEl>
                                        <p:attrNameLst>
                                          <p:attrName>style.opacity</p:attrName>
                                        </p:attrNameLst>
                                      </p:cBhvr>
                                      <p:to>
                                        <p:strVal val="0.1"/>
                                      </p:to>
                                    </p:set>
                                    <p:animEffect filter="image" prLst="opacity: 0.1">
                                      <p:cBhvr rctx="IE">
                                        <p:cTn id="190" dur="indefinite"/>
                                        <p:tgtEl>
                                          <p:spTgt spid="88"/>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82"/>
                                        </p:tgtEl>
                                        <p:attrNameLst>
                                          <p:attrName>style.visibility</p:attrName>
                                        </p:attrNameLst>
                                      </p:cBhvr>
                                      <p:to>
                                        <p:strVal val="visible"/>
                                      </p:to>
                                    </p:set>
                                    <p:animEffect transition="in" filter="fade">
                                      <p:cBhvr>
                                        <p:cTn id="193" dur="500"/>
                                        <p:tgtEl>
                                          <p:spTgt spid="82"/>
                                        </p:tgtEl>
                                      </p:cBhvr>
                                    </p:animEffect>
                                  </p:childTnLst>
                                </p:cTn>
                              </p:par>
                              <p:par>
                                <p:cTn id="194" presetID="10" presetClass="entr" presetSubtype="0" fill="hold" nodeType="withEffect">
                                  <p:stCondLst>
                                    <p:cond delay="0"/>
                                  </p:stCondLst>
                                  <p:childTnLst>
                                    <p:set>
                                      <p:cBhvr>
                                        <p:cTn id="195" dur="1" fill="hold">
                                          <p:stCondLst>
                                            <p:cond delay="0"/>
                                          </p:stCondLst>
                                        </p:cTn>
                                        <p:tgtEl>
                                          <p:spTgt spid="87"/>
                                        </p:tgtEl>
                                        <p:attrNameLst>
                                          <p:attrName>style.visibility</p:attrName>
                                        </p:attrNameLst>
                                      </p:cBhvr>
                                      <p:to>
                                        <p:strVal val="visible"/>
                                      </p:to>
                                    </p:set>
                                    <p:animEffect transition="in" filter="fade">
                                      <p:cBhvr>
                                        <p:cTn id="196" dur="500"/>
                                        <p:tgtEl>
                                          <p:spTgt spid="87"/>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14"/>
                                        </p:tgtEl>
                                        <p:attrNameLst>
                                          <p:attrName>style.visibility</p:attrName>
                                        </p:attrNameLst>
                                      </p:cBhvr>
                                      <p:to>
                                        <p:strVal val="visible"/>
                                      </p:to>
                                    </p:set>
                                    <p:animEffect transition="in" filter="fade">
                                      <p:cBhvr>
                                        <p:cTn id="199" dur="500"/>
                                        <p:tgtEl>
                                          <p:spTgt spid="114"/>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21">
                                            <p:txEl>
                                              <p:pRg st="0" end="0"/>
                                            </p:txEl>
                                          </p:spTgt>
                                        </p:tgtEl>
                                        <p:attrNameLst>
                                          <p:attrName>style.visibility</p:attrName>
                                        </p:attrNameLst>
                                      </p:cBhvr>
                                      <p:to>
                                        <p:strVal val="visible"/>
                                      </p:to>
                                    </p:set>
                                    <p:animEffect transition="in" filter="fade">
                                      <p:cBhvr>
                                        <p:cTn id="202" dur="500"/>
                                        <p:tgtEl>
                                          <p:spTgt spid="21">
                                            <p:txEl>
                                              <p:pRg st="0" end="0"/>
                                            </p:txEl>
                                          </p:spTgt>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55">
                                            <p:txEl>
                                              <p:pRg st="0" end="0"/>
                                            </p:txEl>
                                          </p:spTgt>
                                        </p:tgtEl>
                                        <p:attrNameLst>
                                          <p:attrName>style.visibility</p:attrName>
                                        </p:attrNameLst>
                                      </p:cBhvr>
                                      <p:to>
                                        <p:strVal val="visible"/>
                                      </p:to>
                                    </p:set>
                                    <p:animEffect transition="in" filter="fade">
                                      <p:cBhvr>
                                        <p:cTn id="205" dur="500"/>
                                        <p:tgtEl>
                                          <p:spTgt spid="55">
                                            <p:txEl>
                                              <p:pRg st="0" end="0"/>
                                            </p:txEl>
                                          </p:spTgt>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13"/>
                                        </p:tgtEl>
                                        <p:attrNameLst>
                                          <p:attrName>style.visibility</p:attrName>
                                        </p:attrNameLst>
                                      </p:cBhvr>
                                      <p:to>
                                        <p:strVal val="visible"/>
                                      </p:to>
                                    </p:set>
                                    <p:animEffect transition="in" filter="fade">
                                      <p:cBhvr>
                                        <p:cTn id="208" dur="500"/>
                                        <p:tgtEl>
                                          <p:spTgt spid="13"/>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23"/>
                                        </p:tgtEl>
                                        <p:attrNameLst>
                                          <p:attrName>style.visibility</p:attrName>
                                        </p:attrNameLst>
                                      </p:cBhvr>
                                      <p:to>
                                        <p:strVal val="visible"/>
                                      </p:to>
                                    </p:set>
                                    <p:animEffect transition="in" filter="fade">
                                      <p:cBhvr>
                                        <p:cTn id="211" dur="500"/>
                                        <p:tgtEl>
                                          <p:spTgt spid="23"/>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29">
                                            <p:txEl>
                                              <p:pRg st="0" end="0"/>
                                            </p:txEl>
                                          </p:spTgt>
                                        </p:tgtEl>
                                        <p:attrNameLst>
                                          <p:attrName>style.visibility</p:attrName>
                                        </p:attrNameLst>
                                      </p:cBhvr>
                                      <p:to>
                                        <p:strVal val="visible"/>
                                      </p:to>
                                    </p:set>
                                    <p:animEffect transition="in" filter="fade">
                                      <p:cBhvr>
                                        <p:cTn id="214" dur="500"/>
                                        <p:tgtEl>
                                          <p:spTgt spid="29">
                                            <p:txEl>
                                              <p:pRg st="0" end="0"/>
                                            </p:txEl>
                                          </p:spTgt>
                                        </p:tgtEl>
                                      </p:cBhvr>
                                    </p:animEffect>
                                  </p:childTnLst>
                                </p:cTn>
                              </p:par>
                              <p:par>
                                <p:cTn id="215" presetID="10" presetClass="entr" presetSubtype="0" fill="hold" nodeType="withEffect">
                                  <p:stCondLst>
                                    <p:cond delay="0"/>
                                  </p:stCondLst>
                                  <p:childTnLst>
                                    <p:set>
                                      <p:cBhvr>
                                        <p:cTn id="216" dur="1" fill="hold">
                                          <p:stCondLst>
                                            <p:cond delay="0"/>
                                          </p:stCondLst>
                                        </p:cTn>
                                        <p:tgtEl>
                                          <p:spTgt spid="99"/>
                                        </p:tgtEl>
                                        <p:attrNameLst>
                                          <p:attrName>style.visibility</p:attrName>
                                        </p:attrNameLst>
                                      </p:cBhvr>
                                      <p:to>
                                        <p:strVal val="visible"/>
                                      </p:to>
                                    </p:set>
                                    <p:animEffect transition="in" filter="fade">
                                      <p:cBhvr>
                                        <p:cTn id="217" dur="500"/>
                                        <p:tgtEl>
                                          <p:spTgt spid="99"/>
                                        </p:tgtEl>
                                      </p:cBhvr>
                                    </p:animEffect>
                                  </p:childTnLst>
                                </p:cTn>
                              </p:par>
                            </p:childTnLst>
                          </p:cTn>
                        </p:par>
                      </p:childTnLst>
                    </p:cTn>
                  </p:par>
                  <p:par>
                    <p:cTn id="218" fill="hold">
                      <p:stCondLst>
                        <p:cond delay="indefinite"/>
                      </p:stCondLst>
                      <p:childTnLst>
                        <p:par>
                          <p:cTn id="219" fill="hold">
                            <p:stCondLst>
                              <p:cond delay="0"/>
                            </p:stCondLst>
                            <p:childTnLst>
                              <p:par>
                                <p:cTn id="220" presetID="9" presetClass="emph" presetSubtype="0" grpId="1" nodeType="clickEffect">
                                  <p:stCondLst>
                                    <p:cond delay="0"/>
                                  </p:stCondLst>
                                  <p:childTnLst>
                                    <p:set>
                                      <p:cBhvr>
                                        <p:cTn id="221" dur="indefinite"/>
                                        <p:tgtEl>
                                          <p:spTgt spid="82"/>
                                        </p:tgtEl>
                                        <p:attrNameLst>
                                          <p:attrName>style.opacity</p:attrName>
                                        </p:attrNameLst>
                                      </p:cBhvr>
                                      <p:to>
                                        <p:strVal val="0.1"/>
                                      </p:to>
                                    </p:set>
                                    <p:animEffect filter="image" prLst="opacity: 0.1">
                                      <p:cBhvr rctx="IE">
                                        <p:cTn id="222" dur="indefinite"/>
                                        <p:tgtEl>
                                          <p:spTgt spid="82"/>
                                        </p:tgtEl>
                                      </p:cBhvr>
                                    </p:animEffect>
                                  </p:childTnLst>
                                </p:cTn>
                              </p:par>
                              <p:par>
                                <p:cTn id="223" presetID="9" presetClass="emph" presetSubtype="0" nodeType="withEffect">
                                  <p:stCondLst>
                                    <p:cond delay="0"/>
                                  </p:stCondLst>
                                  <p:childTnLst>
                                    <p:set>
                                      <p:cBhvr>
                                        <p:cTn id="224" dur="indefinite"/>
                                        <p:tgtEl>
                                          <p:spTgt spid="87"/>
                                        </p:tgtEl>
                                        <p:attrNameLst>
                                          <p:attrName>style.opacity</p:attrName>
                                        </p:attrNameLst>
                                      </p:cBhvr>
                                      <p:to>
                                        <p:strVal val="0.1"/>
                                      </p:to>
                                    </p:set>
                                    <p:animEffect filter="image" prLst="opacity: 0.1">
                                      <p:cBhvr rctx="IE">
                                        <p:cTn id="225" dur="indefinite"/>
                                        <p:tgtEl>
                                          <p:spTgt spid="87"/>
                                        </p:tgtEl>
                                      </p:cBhvr>
                                    </p:animEffect>
                                  </p:childTnLst>
                                </p:cTn>
                              </p:par>
                              <p:par>
                                <p:cTn id="226" presetID="9" presetClass="emph" presetSubtype="0" grpId="1" nodeType="withEffect">
                                  <p:stCondLst>
                                    <p:cond delay="0"/>
                                  </p:stCondLst>
                                  <p:childTnLst>
                                    <p:set>
                                      <p:cBhvr>
                                        <p:cTn id="227" dur="indefinite"/>
                                        <p:tgtEl>
                                          <p:spTgt spid="114"/>
                                        </p:tgtEl>
                                        <p:attrNameLst>
                                          <p:attrName>style.opacity</p:attrName>
                                        </p:attrNameLst>
                                      </p:cBhvr>
                                      <p:to>
                                        <p:strVal val="0.1"/>
                                      </p:to>
                                    </p:set>
                                    <p:animEffect filter="image" prLst="opacity: 0.1">
                                      <p:cBhvr rctx="IE">
                                        <p:cTn id="228" dur="indefinite"/>
                                        <p:tgtEl>
                                          <p:spTgt spid="114"/>
                                        </p:tgtEl>
                                      </p:cBhvr>
                                    </p:animEffect>
                                  </p:childTnLst>
                                </p:cTn>
                              </p:par>
                              <p:par>
                                <p:cTn id="229" presetID="9" presetClass="emph" presetSubtype="0" grpId="1" nodeType="withEffect">
                                  <p:stCondLst>
                                    <p:cond delay="0"/>
                                  </p:stCondLst>
                                  <p:childTnLst>
                                    <p:set>
                                      <p:cBhvr>
                                        <p:cTn id="230" dur="indefinite"/>
                                        <p:tgtEl>
                                          <p:spTgt spid="21">
                                            <p:txEl>
                                              <p:pRg st="0" end="0"/>
                                            </p:txEl>
                                          </p:spTgt>
                                        </p:tgtEl>
                                        <p:attrNameLst>
                                          <p:attrName>style.opacity</p:attrName>
                                        </p:attrNameLst>
                                      </p:cBhvr>
                                      <p:to>
                                        <p:strVal val="0.1"/>
                                      </p:to>
                                    </p:set>
                                    <p:animEffect filter="image" prLst="opacity: 0.1">
                                      <p:cBhvr rctx="IE">
                                        <p:cTn id="231" dur="indefinite"/>
                                        <p:tgtEl>
                                          <p:spTgt spid="21">
                                            <p:txEl>
                                              <p:pRg st="0" end="0"/>
                                            </p:txEl>
                                          </p:spTgt>
                                        </p:tgtEl>
                                      </p:cBhvr>
                                    </p:animEffect>
                                  </p:childTnLst>
                                </p:cTn>
                              </p:par>
                              <p:par>
                                <p:cTn id="232" presetID="9" presetClass="emph" presetSubtype="0" grpId="1" nodeType="withEffect">
                                  <p:stCondLst>
                                    <p:cond delay="0"/>
                                  </p:stCondLst>
                                  <p:childTnLst>
                                    <p:set>
                                      <p:cBhvr>
                                        <p:cTn id="233" dur="indefinite"/>
                                        <p:tgtEl>
                                          <p:spTgt spid="55">
                                            <p:txEl>
                                              <p:pRg st="0" end="0"/>
                                            </p:txEl>
                                          </p:spTgt>
                                        </p:tgtEl>
                                        <p:attrNameLst>
                                          <p:attrName>style.opacity</p:attrName>
                                        </p:attrNameLst>
                                      </p:cBhvr>
                                      <p:to>
                                        <p:strVal val="0.1"/>
                                      </p:to>
                                    </p:set>
                                    <p:animEffect filter="image" prLst="opacity: 0.1">
                                      <p:cBhvr rctx="IE">
                                        <p:cTn id="234" dur="indefinite"/>
                                        <p:tgtEl>
                                          <p:spTgt spid="55">
                                            <p:txEl>
                                              <p:pRg st="0" end="0"/>
                                            </p:txEl>
                                          </p:spTgt>
                                        </p:tgtEl>
                                      </p:cBhvr>
                                    </p:animEffect>
                                  </p:childTnLst>
                                </p:cTn>
                              </p:par>
                              <p:par>
                                <p:cTn id="235" presetID="9" presetClass="emph" presetSubtype="0" grpId="1" nodeType="withEffect">
                                  <p:stCondLst>
                                    <p:cond delay="0"/>
                                  </p:stCondLst>
                                  <p:childTnLst>
                                    <p:set>
                                      <p:cBhvr>
                                        <p:cTn id="236" dur="indefinite"/>
                                        <p:tgtEl>
                                          <p:spTgt spid="13"/>
                                        </p:tgtEl>
                                        <p:attrNameLst>
                                          <p:attrName>style.opacity</p:attrName>
                                        </p:attrNameLst>
                                      </p:cBhvr>
                                      <p:to>
                                        <p:strVal val="0.1"/>
                                      </p:to>
                                    </p:set>
                                    <p:animEffect filter="image" prLst="opacity: 0.1">
                                      <p:cBhvr rctx="IE">
                                        <p:cTn id="237" dur="indefinite"/>
                                        <p:tgtEl>
                                          <p:spTgt spid="13"/>
                                        </p:tgtEl>
                                      </p:cBhvr>
                                    </p:animEffect>
                                  </p:childTnLst>
                                </p:cTn>
                              </p:par>
                              <p:par>
                                <p:cTn id="238" presetID="9" presetClass="emph" presetSubtype="0" grpId="1" nodeType="withEffect">
                                  <p:stCondLst>
                                    <p:cond delay="0"/>
                                  </p:stCondLst>
                                  <p:childTnLst>
                                    <p:set>
                                      <p:cBhvr>
                                        <p:cTn id="239" dur="indefinite"/>
                                        <p:tgtEl>
                                          <p:spTgt spid="23"/>
                                        </p:tgtEl>
                                        <p:attrNameLst>
                                          <p:attrName>style.opacity</p:attrName>
                                        </p:attrNameLst>
                                      </p:cBhvr>
                                      <p:to>
                                        <p:strVal val="0.1"/>
                                      </p:to>
                                    </p:set>
                                    <p:animEffect filter="image" prLst="opacity: 0.1">
                                      <p:cBhvr rctx="IE">
                                        <p:cTn id="240" dur="indefinite"/>
                                        <p:tgtEl>
                                          <p:spTgt spid="23"/>
                                        </p:tgtEl>
                                      </p:cBhvr>
                                    </p:animEffect>
                                  </p:childTnLst>
                                </p:cTn>
                              </p:par>
                              <p:par>
                                <p:cTn id="241" presetID="9" presetClass="emph" presetSubtype="0" grpId="1" nodeType="withEffect">
                                  <p:stCondLst>
                                    <p:cond delay="0"/>
                                  </p:stCondLst>
                                  <p:childTnLst>
                                    <p:set>
                                      <p:cBhvr>
                                        <p:cTn id="242" dur="indefinite"/>
                                        <p:tgtEl>
                                          <p:spTgt spid="29">
                                            <p:txEl>
                                              <p:pRg st="0" end="0"/>
                                            </p:txEl>
                                          </p:spTgt>
                                        </p:tgtEl>
                                        <p:attrNameLst>
                                          <p:attrName>style.opacity</p:attrName>
                                        </p:attrNameLst>
                                      </p:cBhvr>
                                      <p:to>
                                        <p:strVal val="0.1"/>
                                      </p:to>
                                    </p:set>
                                    <p:animEffect filter="image" prLst="opacity: 0.1">
                                      <p:cBhvr rctx="IE">
                                        <p:cTn id="243" dur="indefinite"/>
                                        <p:tgtEl>
                                          <p:spTgt spid="29">
                                            <p:txEl>
                                              <p:pRg st="0" end="0"/>
                                            </p:txEl>
                                          </p:spTgt>
                                        </p:tgtEl>
                                      </p:cBhvr>
                                    </p:animEffect>
                                  </p:childTnLst>
                                </p:cTn>
                              </p:par>
                              <p:par>
                                <p:cTn id="244" presetID="9" presetClass="emph" presetSubtype="0" grpId="0" nodeType="withEffect" nodePh="1">
                                  <p:stCondLst>
                                    <p:cond delay="0"/>
                                  </p:stCondLst>
                                  <p:endCondLst>
                                    <p:cond evt="begin" delay="0">
                                      <p:tn val="244"/>
                                    </p:cond>
                                  </p:endCondLst>
                                  <p:childTnLst>
                                    <p:set>
                                      <p:cBhvr>
                                        <p:cTn id="245" dur="indefinite"/>
                                        <p:tgtEl>
                                          <p:spTgt spid="750"/>
                                        </p:tgtEl>
                                        <p:attrNameLst>
                                          <p:attrName>style.opacity</p:attrName>
                                        </p:attrNameLst>
                                      </p:cBhvr>
                                      <p:to>
                                        <p:strVal val="0.1"/>
                                      </p:to>
                                    </p:set>
                                    <p:animEffect filter="image" prLst="opacity: 0.1">
                                      <p:cBhvr rctx="IE">
                                        <p:cTn id="246" dur="indefinite"/>
                                        <p:tgtEl>
                                          <p:spTgt spid="750"/>
                                        </p:tgtEl>
                                      </p:cBhvr>
                                    </p:animEffect>
                                  </p:childTnLst>
                                </p:cTn>
                              </p:par>
                              <p:par>
                                <p:cTn id="247" presetID="9" presetClass="emph" presetSubtype="0" nodeType="withEffect">
                                  <p:stCondLst>
                                    <p:cond delay="0"/>
                                  </p:stCondLst>
                                  <p:childTnLst>
                                    <p:set>
                                      <p:cBhvr>
                                        <p:cTn id="248" dur="indefinite"/>
                                        <p:tgtEl>
                                          <p:spTgt spid="99"/>
                                        </p:tgtEl>
                                        <p:attrNameLst>
                                          <p:attrName>style.opacity</p:attrName>
                                        </p:attrNameLst>
                                      </p:cBhvr>
                                      <p:to>
                                        <p:strVal val="0.1"/>
                                      </p:to>
                                    </p:set>
                                    <p:animEffect filter="image" prLst="opacity: 0.1">
                                      <p:cBhvr rctx="IE">
                                        <p:cTn id="249" dur="indefinite"/>
                                        <p:tgtEl>
                                          <p:spTgt spid="99"/>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83"/>
                                        </p:tgtEl>
                                        <p:attrNameLst>
                                          <p:attrName>style.visibility</p:attrName>
                                        </p:attrNameLst>
                                      </p:cBhvr>
                                      <p:to>
                                        <p:strVal val="visible"/>
                                      </p:to>
                                    </p:set>
                                    <p:animEffect transition="in" filter="fade">
                                      <p:cBhvr>
                                        <p:cTn id="252" dur="500"/>
                                        <p:tgtEl>
                                          <p:spTgt spid="83"/>
                                        </p:tgtEl>
                                      </p:cBhvr>
                                    </p:animEffect>
                                  </p:childTnLst>
                                </p:cTn>
                              </p:par>
                              <p:par>
                                <p:cTn id="253" presetID="10" presetClass="entr" presetSubtype="0" fill="hold" nodeType="withEffect">
                                  <p:stCondLst>
                                    <p:cond delay="0"/>
                                  </p:stCondLst>
                                  <p:childTnLst>
                                    <p:set>
                                      <p:cBhvr>
                                        <p:cTn id="254" dur="1" fill="hold">
                                          <p:stCondLst>
                                            <p:cond delay="0"/>
                                          </p:stCondLst>
                                        </p:cTn>
                                        <p:tgtEl>
                                          <p:spTgt spid="104"/>
                                        </p:tgtEl>
                                        <p:attrNameLst>
                                          <p:attrName>style.visibility</p:attrName>
                                        </p:attrNameLst>
                                      </p:cBhvr>
                                      <p:to>
                                        <p:strVal val="visible"/>
                                      </p:to>
                                    </p:set>
                                    <p:animEffect transition="in" filter="fade">
                                      <p:cBhvr>
                                        <p:cTn id="255" dur="500"/>
                                        <p:tgtEl>
                                          <p:spTgt spid="104"/>
                                        </p:tgtEl>
                                      </p:cBhvr>
                                    </p:animEffect>
                                  </p:childTnLst>
                                </p:cTn>
                              </p:par>
                              <p:par>
                                <p:cTn id="256" presetID="10" presetClass="entr" presetSubtype="0" fill="hold" grpId="0" nodeType="withEffect">
                                  <p:stCondLst>
                                    <p:cond delay="0"/>
                                  </p:stCondLst>
                                  <p:childTnLst>
                                    <p:set>
                                      <p:cBhvr>
                                        <p:cTn id="257" dur="1" fill="hold">
                                          <p:stCondLst>
                                            <p:cond delay="0"/>
                                          </p:stCondLst>
                                        </p:cTn>
                                        <p:tgtEl>
                                          <p:spTgt spid="116"/>
                                        </p:tgtEl>
                                        <p:attrNameLst>
                                          <p:attrName>style.visibility</p:attrName>
                                        </p:attrNameLst>
                                      </p:cBhvr>
                                      <p:to>
                                        <p:strVal val="visible"/>
                                      </p:to>
                                    </p:set>
                                    <p:animEffect transition="in" filter="fade">
                                      <p:cBhvr>
                                        <p:cTn id="258" dur="500"/>
                                        <p:tgtEl>
                                          <p:spTgt spid="116"/>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22">
                                            <p:txEl>
                                              <p:pRg st="0" end="0"/>
                                            </p:txEl>
                                          </p:spTgt>
                                        </p:tgtEl>
                                        <p:attrNameLst>
                                          <p:attrName>style.visibility</p:attrName>
                                        </p:attrNameLst>
                                      </p:cBhvr>
                                      <p:to>
                                        <p:strVal val="visible"/>
                                      </p:to>
                                    </p:set>
                                    <p:animEffect transition="in" filter="fade">
                                      <p:cBhvr>
                                        <p:cTn id="261" dur="500"/>
                                        <p:tgtEl>
                                          <p:spTgt spid="22">
                                            <p:txEl>
                                              <p:pRg st="0" end="0"/>
                                            </p:txEl>
                                          </p:spTgt>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56">
                                            <p:txEl>
                                              <p:pRg st="0" end="0"/>
                                            </p:txEl>
                                          </p:spTgt>
                                        </p:tgtEl>
                                        <p:attrNameLst>
                                          <p:attrName>style.visibility</p:attrName>
                                        </p:attrNameLst>
                                      </p:cBhvr>
                                      <p:to>
                                        <p:strVal val="visible"/>
                                      </p:to>
                                    </p:set>
                                    <p:animEffect transition="in" filter="fade">
                                      <p:cBhvr>
                                        <p:cTn id="264" dur="500"/>
                                        <p:tgtEl>
                                          <p:spTgt spid="56">
                                            <p:txEl>
                                              <p:pRg st="0" end="0"/>
                                            </p:txEl>
                                          </p:spTgt>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14"/>
                                        </p:tgtEl>
                                        <p:attrNameLst>
                                          <p:attrName>style.visibility</p:attrName>
                                        </p:attrNameLst>
                                      </p:cBhvr>
                                      <p:to>
                                        <p:strVal val="visible"/>
                                      </p:to>
                                    </p:set>
                                    <p:animEffect transition="in" filter="fade">
                                      <p:cBhvr>
                                        <p:cTn id="267" dur="500"/>
                                        <p:tgtEl>
                                          <p:spTgt spid="14"/>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24"/>
                                        </p:tgtEl>
                                        <p:attrNameLst>
                                          <p:attrName>style.visibility</p:attrName>
                                        </p:attrNameLst>
                                      </p:cBhvr>
                                      <p:to>
                                        <p:strVal val="visible"/>
                                      </p:to>
                                    </p:set>
                                    <p:animEffect transition="in" filter="fade">
                                      <p:cBhvr>
                                        <p:cTn id="270" dur="500"/>
                                        <p:tgtEl>
                                          <p:spTgt spid="24"/>
                                        </p:tgtEl>
                                      </p:cBhvr>
                                    </p:animEffect>
                                  </p:childTnLst>
                                </p:cTn>
                              </p:par>
                              <p:par>
                                <p:cTn id="271" presetID="10" presetClass="entr" presetSubtype="0" fill="hold" grpId="0" nodeType="withEffect">
                                  <p:stCondLst>
                                    <p:cond delay="0"/>
                                  </p:stCondLst>
                                  <p:childTnLst>
                                    <p:set>
                                      <p:cBhvr>
                                        <p:cTn id="272" dur="1" fill="hold">
                                          <p:stCondLst>
                                            <p:cond delay="0"/>
                                          </p:stCondLst>
                                        </p:cTn>
                                        <p:tgtEl>
                                          <p:spTgt spid="30">
                                            <p:txEl>
                                              <p:pRg st="0" end="0"/>
                                            </p:txEl>
                                          </p:spTgt>
                                        </p:tgtEl>
                                        <p:attrNameLst>
                                          <p:attrName>style.visibility</p:attrName>
                                        </p:attrNameLst>
                                      </p:cBhvr>
                                      <p:to>
                                        <p:strVal val="visible"/>
                                      </p:to>
                                    </p:set>
                                    <p:animEffect transition="in" filter="fade">
                                      <p:cBhvr>
                                        <p:cTn id="273" dur="500"/>
                                        <p:tgtEl>
                                          <p:spTgt spid="30">
                                            <p:txEl>
                                              <p:pRg st="0" end="0"/>
                                            </p:txEl>
                                          </p:spTgt>
                                        </p:tgtEl>
                                      </p:cBhvr>
                                    </p:animEffect>
                                  </p:childTnLst>
                                </p:cTn>
                              </p:par>
                              <p:par>
                                <p:cTn id="274" presetID="10" presetClass="entr" presetSubtype="0" fill="hold" grpId="0" nodeType="withEffect" nodePh="1">
                                  <p:stCondLst>
                                    <p:cond delay="0"/>
                                  </p:stCondLst>
                                  <p:endCondLst>
                                    <p:cond evt="begin" delay="0">
                                      <p:tn val="274"/>
                                    </p:cond>
                                  </p:endCondLst>
                                  <p:childTnLst>
                                    <p:set>
                                      <p:cBhvr>
                                        <p:cTn id="275" dur="1" fill="hold">
                                          <p:stCondLst>
                                            <p:cond delay="0"/>
                                          </p:stCondLst>
                                        </p:cTn>
                                        <p:tgtEl>
                                          <p:spTgt spid="756"/>
                                        </p:tgtEl>
                                        <p:attrNameLst>
                                          <p:attrName>style.visibility</p:attrName>
                                        </p:attrNameLst>
                                      </p:cBhvr>
                                      <p:to>
                                        <p:strVal val="visible"/>
                                      </p:to>
                                    </p:set>
                                    <p:animEffect transition="in" filter="fade">
                                      <p:cBhvr>
                                        <p:cTn id="276" dur="500"/>
                                        <p:tgtEl>
                                          <p:spTgt spid="756"/>
                                        </p:tgtEl>
                                      </p:cBhvr>
                                    </p:animEffect>
                                  </p:childTnLst>
                                </p:cTn>
                              </p:par>
                              <p:par>
                                <p:cTn id="277" presetID="10" presetClass="entr" presetSubtype="0" fill="hold" nodeType="withEffect">
                                  <p:stCondLst>
                                    <p:cond delay="0"/>
                                  </p:stCondLst>
                                  <p:childTnLst>
                                    <p:set>
                                      <p:cBhvr>
                                        <p:cTn id="278" dur="1" fill="hold">
                                          <p:stCondLst>
                                            <p:cond delay="0"/>
                                          </p:stCondLst>
                                        </p:cTn>
                                        <p:tgtEl>
                                          <p:spTgt spid="128"/>
                                        </p:tgtEl>
                                        <p:attrNameLst>
                                          <p:attrName>style.visibility</p:attrName>
                                        </p:attrNameLst>
                                      </p:cBhvr>
                                      <p:to>
                                        <p:strVal val="visible"/>
                                      </p:to>
                                    </p:set>
                                    <p:animEffect transition="in" filter="fade">
                                      <p:cBhvr>
                                        <p:cTn id="279" dur="500"/>
                                        <p:tgtEl>
                                          <p:spTgt spid="128"/>
                                        </p:tgtEl>
                                      </p:cBhvr>
                                    </p:animEffect>
                                  </p:childTnLst>
                                </p:cTn>
                              </p:par>
                            </p:childTnLst>
                          </p:cTn>
                        </p:par>
                      </p:childTnLst>
                    </p:cTn>
                  </p:par>
                  <p:par>
                    <p:cTn id="280" fill="hold">
                      <p:stCondLst>
                        <p:cond delay="indefinite"/>
                      </p:stCondLst>
                      <p:childTnLst>
                        <p:par>
                          <p:cTn id="281" fill="hold">
                            <p:stCondLst>
                              <p:cond delay="0"/>
                            </p:stCondLst>
                            <p:childTnLst>
                              <p:par>
                                <p:cTn id="282" presetID="9" presetClass="emph" presetSubtype="0" grpId="2" nodeType="clickEffect">
                                  <p:stCondLst>
                                    <p:cond delay="0"/>
                                  </p:stCondLst>
                                  <p:childTnLst>
                                    <p:set>
                                      <p:cBhvr>
                                        <p:cTn id="283" dur="indefinite"/>
                                        <p:tgtEl>
                                          <p:spTgt spid="79"/>
                                        </p:tgtEl>
                                        <p:attrNameLst>
                                          <p:attrName>style.opacity</p:attrName>
                                        </p:attrNameLst>
                                      </p:cBhvr>
                                      <p:to>
                                        <p:strVal val="1"/>
                                      </p:to>
                                    </p:set>
                                    <p:animEffect filter="image" prLst="opacity: 1">
                                      <p:cBhvr rctx="IE">
                                        <p:cTn id="284" dur="indefinite"/>
                                        <p:tgtEl>
                                          <p:spTgt spid="79"/>
                                        </p:tgtEl>
                                      </p:cBhvr>
                                    </p:animEffect>
                                  </p:childTnLst>
                                </p:cTn>
                              </p:par>
                              <p:par>
                                <p:cTn id="285" presetID="9" presetClass="emph" presetSubtype="0" grpId="2" nodeType="withEffect">
                                  <p:stCondLst>
                                    <p:cond delay="0"/>
                                  </p:stCondLst>
                                  <p:childTnLst>
                                    <p:set>
                                      <p:cBhvr>
                                        <p:cTn id="286" dur="indefinite"/>
                                        <p:tgtEl>
                                          <p:spTgt spid="80"/>
                                        </p:tgtEl>
                                        <p:attrNameLst>
                                          <p:attrName>style.opacity</p:attrName>
                                        </p:attrNameLst>
                                      </p:cBhvr>
                                      <p:to>
                                        <p:strVal val="1"/>
                                      </p:to>
                                    </p:set>
                                    <p:animEffect filter="image" prLst="opacity: 1">
                                      <p:cBhvr rctx="IE">
                                        <p:cTn id="287" dur="indefinite"/>
                                        <p:tgtEl>
                                          <p:spTgt spid="80"/>
                                        </p:tgtEl>
                                      </p:cBhvr>
                                    </p:animEffect>
                                  </p:childTnLst>
                                </p:cTn>
                              </p:par>
                              <p:par>
                                <p:cTn id="288" presetID="9" presetClass="emph" presetSubtype="0" grpId="2" nodeType="withEffect">
                                  <p:stCondLst>
                                    <p:cond delay="0"/>
                                  </p:stCondLst>
                                  <p:childTnLst>
                                    <p:set>
                                      <p:cBhvr>
                                        <p:cTn id="289" dur="indefinite"/>
                                        <p:tgtEl>
                                          <p:spTgt spid="81"/>
                                        </p:tgtEl>
                                        <p:attrNameLst>
                                          <p:attrName>style.opacity</p:attrName>
                                        </p:attrNameLst>
                                      </p:cBhvr>
                                      <p:to>
                                        <p:strVal val="1"/>
                                      </p:to>
                                    </p:set>
                                    <p:animEffect filter="image" prLst="opacity: 1">
                                      <p:cBhvr rctx="IE">
                                        <p:cTn id="290" dur="indefinite"/>
                                        <p:tgtEl>
                                          <p:spTgt spid="81"/>
                                        </p:tgtEl>
                                      </p:cBhvr>
                                    </p:animEffect>
                                  </p:childTnLst>
                                </p:cTn>
                              </p:par>
                              <p:par>
                                <p:cTn id="291" presetID="9" presetClass="emph" presetSubtype="0" grpId="2" nodeType="withEffect">
                                  <p:stCondLst>
                                    <p:cond delay="0"/>
                                  </p:stCondLst>
                                  <p:childTnLst>
                                    <p:set>
                                      <p:cBhvr>
                                        <p:cTn id="292" dur="indefinite"/>
                                        <p:tgtEl>
                                          <p:spTgt spid="82"/>
                                        </p:tgtEl>
                                        <p:attrNameLst>
                                          <p:attrName>style.opacity</p:attrName>
                                        </p:attrNameLst>
                                      </p:cBhvr>
                                      <p:to>
                                        <p:strVal val="1"/>
                                      </p:to>
                                    </p:set>
                                    <p:animEffect filter="image" prLst="opacity: 1">
                                      <p:cBhvr rctx="IE">
                                        <p:cTn id="293" dur="indefinite"/>
                                        <p:tgtEl>
                                          <p:spTgt spid="82"/>
                                        </p:tgtEl>
                                      </p:cBhvr>
                                    </p:animEffect>
                                  </p:childTnLst>
                                </p:cTn>
                              </p:par>
                              <p:par>
                                <p:cTn id="294" presetID="9" presetClass="emph" presetSubtype="0" nodeType="withEffect">
                                  <p:stCondLst>
                                    <p:cond delay="0"/>
                                  </p:stCondLst>
                                  <p:childTnLst>
                                    <p:set>
                                      <p:cBhvr>
                                        <p:cTn id="295" dur="indefinite"/>
                                        <p:tgtEl>
                                          <p:spTgt spid="84"/>
                                        </p:tgtEl>
                                        <p:attrNameLst>
                                          <p:attrName>style.opacity</p:attrName>
                                        </p:attrNameLst>
                                      </p:cBhvr>
                                      <p:to>
                                        <p:strVal val="1"/>
                                      </p:to>
                                    </p:set>
                                    <p:animEffect filter="image" prLst="opacity: 1">
                                      <p:cBhvr rctx="IE">
                                        <p:cTn id="296" dur="indefinite"/>
                                        <p:tgtEl>
                                          <p:spTgt spid="84"/>
                                        </p:tgtEl>
                                      </p:cBhvr>
                                    </p:animEffect>
                                  </p:childTnLst>
                                </p:cTn>
                              </p:par>
                              <p:par>
                                <p:cTn id="297" presetID="9" presetClass="emph" presetSubtype="0" nodeType="withEffect">
                                  <p:stCondLst>
                                    <p:cond delay="0"/>
                                  </p:stCondLst>
                                  <p:childTnLst>
                                    <p:set>
                                      <p:cBhvr>
                                        <p:cTn id="298" dur="indefinite"/>
                                        <p:tgtEl>
                                          <p:spTgt spid="85"/>
                                        </p:tgtEl>
                                        <p:attrNameLst>
                                          <p:attrName>style.opacity</p:attrName>
                                        </p:attrNameLst>
                                      </p:cBhvr>
                                      <p:to>
                                        <p:strVal val="1"/>
                                      </p:to>
                                    </p:set>
                                    <p:animEffect filter="image" prLst="opacity: 1">
                                      <p:cBhvr rctx="IE">
                                        <p:cTn id="299" dur="indefinite"/>
                                        <p:tgtEl>
                                          <p:spTgt spid="85"/>
                                        </p:tgtEl>
                                      </p:cBhvr>
                                    </p:animEffect>
                                  </p:childTnLst>
                                </p:cTn>
                              </p:par>
                              <p:par>
                                <p:cTn id="300" presetID="9" presetClass="emph" presetSubtype="0" nodeType="withEffect">
                                  <p:stCondLst>
                                    <p:cond delay="0"/>
                                  </p:stCondLst>
                                  <p:childTnLst>
                                    <p:set>
                                      <p:cBhvr>
                                        <p:cTn id="301" dur="indefinite"/>
                                        <p:tgtEl>
                                          <p:spTgt spid="86"/>
                                        </p:tgtEl>
                                        <p:attrNameLst>
                                          <p:attrName>style.opacity</p:attrName>
                                        </p:attrNameLst>
                                      </p:cBhvr>
                                      <p:to>
                                        <p:strVal val="1"/>
                                      </p:to>
                                    </p:set>
                                    <p:animEffect filter="image" prLst="opacity: 1">
                                      <p:cBhvr rctx="IE">
                                        <p:cTn id="302" dur="indefinite"/>
                                        <p:tgtEl>
                                          <p:spTgt spid="86"/>
                                        </p:tgtEl>
                                      </p:cBhvr>
                                    </p:animEffect>
                                  </p:childTnLst>
                                </p:cTn>
                              </p:par>
                              <p:par>
                                <p:cTn id="303" presetID="9" presetClass="emph" presetSubtype="0" nodeType="withEffect">
                                  <p:stCondLst>
                                    <p:cond delay="0"/>
                                  </p:stCondLst>
                                  <p:childTnLst>
                                    <p:set>
                                      <p:cBhvr>
                                        <p:cTn id="304" dur="indefinite"/>
                                        <p:tgtEl>
                                          <p:spTgt spid="87"/>
                                        </p:tgtEl>
                                        <p:attrNameLst>
                                          <p:attrName>style.opacity</p:attrName>
                                        </p:attrNameLst>
                                      </p:cBhvr>
                                      <p:to>
                                        <p:strVal val="1"/>
                                      </p:to>
                                    </p:set>
                                    <p:animEffect filter="image" prLst="opacity: 1">
                                      <p:cBhvr rctx="IE">
                                        <p:cTn id="305" dur="indefinite"/>
                                        <p:tgtEl>
                                          <p:spTgt spid="87"/>
                                        </p:tgtEl>
                                      </p:cBhvr>
                                    </p:animEffect>
                                  </p:childTnLst>
                                </p:cTn>
                              </p:par>
                              <p:par>
                                <p:cTn id="306" presetID="9" presetClass="emph" presetSubtype="0" grpId="2" nodeType="withEffect">
                                  <p:stCondLst>
                                    <p:cond delay="0"/>
                                  </p:stCondLst>
                                  <p:childTnLst>
                                    <p:set>
                                      <p:cBhvr>
                                        <p:cTn id="307" dur="indefinite"/>
                                        <p:tgtEl>
                                          <p:spTgt spid="111"/>
                                        </p:tgtEl>
                                        <p:attrNameLst>
                                          <p:attrName>style.opacity</p:attrName>
                                        </p:attrNameLst>
                                      </p:cBhvr>
                                      <p:to>
                                        <p:strVal val="1"/>
                                      </p:to>
                                    </p:set>
                                    <p:animEffect filter="image" prLst="opacity: 1">
                                      <p:cBhvr rctx="IE">
                                        <p:cTn id="308" dur="indefinite"/>
                                        <p:tgtEl>
                                          <p:spTgt spid="111"/>
                                        </p:tgtEl>
                                      </p:cBhvr>
                                    </p:animEffect>
                                  </p:childTnLst>
                                </p:cTn>
                              </p:par>
                              <p:par>
                                <p:cTn id="309" presetID="9" presetClass="emph" presetSubtype="0" grpId="2" nodeType="withEffect">
                                  <p:stCondLst>
                                    <p:cond delay="0"/>
                                  </p:stCondLst>
                                  <p:childTnLst>
                                    <p:set>
                                      <p:cBhvr>
                                        <p:cTn id="310" dur="indefinite"/>
                                        <p:tgtEl>
                                          <p:spTgt spid="112"/>
                                        </p:tgtEl>
                                        <p:attrNameLst>
                                          <p:attrName>style.opacity</p:attrName>
                                        </p:attrNameLst>
                                      </p:cBhvr>
                                      <p:to>
                                        <p:strVal val="1"/>
                                      </p:to>
                                    </p:set>
                                    <p:animEffect filter="image" prLst="opacity: 1">
                                      <p:cBhvr rctx="IE">
                                        <p:cTn id="311" dur="indefinite"/>
                                        <p:tgtEl>
                                          <p:spTgt spid="112"/>
                                        </p:tgtEl>
                                      </p:cBhvr>
                                    </p:animEffect>
                                  </p:childTnLst>
                                </p:cTn>
                              </p:par>
                              <p:par>
                                <p:cTn id="312" presetID="9" presetClass="emph" presetSubtype="0" grpId="2" nodeType="withEffect">
                                  <p:stCondLst>
                                    <p:cond delay="0"/>
                                  </p:stCondLst>
                                  <p:childTnLst>
                                    <p:set>
                                      <p:cBhvr>
                                        <p:cTn id="313" dur="indefinite"/>
                                        <p:tgtEl>
                                          <p:spTgt spid="113"/>
                                        </p:tgtEl>
                                        <p:attrNameLst>
                                          <p:attrName>style.opacity</p:attrName>
                                        </p:attrNameLst>
                                      </p:cBhvr>
                                      <p:to>
                                        <p:strVal val="1"/>
                                      </p:to>
                                    </p:set>
                                    <p:animEffect filter="image" prLst="opacity: 1">
                                      <p:cBhvr rctx="IE">
                                        <p:cTn id="314" dur="indefinite"/>
                                        <p:tgtEl>
                                          <p:spTgt spid="113"/>
                                        </p:tgtEl>
                                      </p:cBhvr>
                                    </p:animEffect>
                                  </p:childTnLst>
                                </p:cTn>
                              </p:par>
                              <p:par>
                                <p:cTn id="315" presetID="9" presetClass="emph" presetSubtype="0" grpId="2" nodeType="withEffect">
                                  <p:stCondLst>
                                    <p:cond delay="0"/>
                                  </p:stCondLst>
                                  <p:childTnLst>
                                    <p:set>
                                      <p:cBhvr>
                                        <p:cTn id="316" dur="indefinite"/>
                                        <p:tgtEl>
                                          <p:spTgt spid="114"/>
                                        </p:tgtEl>
                                        <p:attrNameLst>
                                          <p:attrName>style.opacity</p:attrName>
                                        </p:attrNameLst>
                                      </p:cBhvr>
                                      <p:to>
                                        <p:strVal val="1"/>
                                      </p:to>
                                    </p:set>
                                    <p:animEffect filter="image" prLst="opacity: 1">
                                      <p:cBhvr rctx="IE">
                                        <p:cTn id="317" dur="indefinite"/>
                                        <p:tgtEl>
                                          <p:spTgt spid="114"/>
                                        </p:tgtEl>
                                      </p:cBhvr>
                                    </p:animEffect>
                                  </p:childTnLst>
                                </p:cTn>
                              </p:par>
                              <p:par>
                                <p:cTn id="318" presetID="9" presetClass="emph" presetSubtype="0" grpId="2" nodeType="withEffect">
                                  <p:stCondLst>
                                    <p:cond delay="0"/>
                                  </p:stCondLst>
                                  <p:childTnLst>
                                    <p:set>
                                      <p:cBhvr>
                                        <p:cTn id="319" dur="indefinite"/>
                                        <p:tgtEl>
                                          <p:spTgt spid="18">
                                            <p:txEl>
                                              <p:pRg st="0" end="0"/>
                                            </p:txEl>
                                          </p:spTgt>
                                        </p:tgtEl>
                                        <p:attrNameLst>
                                          <p:attrName>style.opacity</p:attrName>
                                        </p:attrNameLst>
                                      </p:cBhvr>
                                      <p:to>
                                        <p:strVal val="1"/>
                                      </p:to>
                                    </p:set>
                                    <p:animEffect filter="image" prLst="opacity: 1">
                                      <p:cBhvr rctx="IE">
                                        <p:cTn id="320" dur="indefinite"/>
                                        <p:tgtEl>
                                          <p:spTgt spid="18">
                                            <p:txEl>
                                              <p:pRg st="0" end="0"/>
                                            </p:txEl>
                                          </p:spTgt>
                                        </p:tgtEl>
                                      </p:cBhvr>
                                    </p:animEffect>
                                  </p:childTnLst>
                                </p:cTn>
                              </p:par>
                              <p:par>
                                <p:cTn id="321" presetID="9" presetClass="emph" presetSubtype="0" grpId="2" nodeType="withEffect">
                                  <p:stCondLst>
                                    <p:cond delay="0"/>
                                  </p:stCondLst>
                                  <p:childTnLst>
                                    <p:set>
                                      <p:cBhvr>
                                        <p:cTn id="322" dur="indefinite"/>
                                        <p:tgtEl>
                                          <p:spTgt spid="19">
                                            <p:txEl>
                                              <p:pRg st="0" end="0"/>
                                            </p:txEl>
                                          </p:spTgt>
                                        </p:tgtEl>
                                        <p:attrNameLst>
                                          <p:attrName>style.opacity</p:attrName>
                                        </p:attrNameLst>
                                      </p:cBhvr>
                                      <p:to>
                                        <p:strVal val="1"/>
                                      </p:to>
                                    </p:set>
                                    <p:animEffect filter="image" prLst="opacity: 1">
                                      <p:cBhvr rctx="IE">
                                        <p:cTn id="323" dur="indefinite"/>
                                        <p:tgtEl>
                                          <p:spTgt spid="19">
                                            <p:txEl>
                                              <p:pRg st="0" end="0"/>
                                            </p:txEl>
                                          </p:spTgt>
                                        </p:tgtEl>
                                      </p:cBhvr>
                                    </p:animEffect>
                                  </p:childTnLst>
                                </p:cTn>
                              </p:par>
                              <p:par>
                                <p:cTn id="324" presetID="9" presetClass="emph" presetSubtype="0" grpId="2" nodeType="withEffect">
                                  <p:stCondLst>
                                    <p:cond delay="0"/>
                                  </p:stCondLst>
                                  <p:childTnLst>
                                    <p:set>
                                      <p:cBhvr>
                                        <p:cTn id="325" dur="indefinite"/>
                                        <p:tgtEl>
                                          <p:spTgt spid="20">
                                            <p:txEl>
                                              <p:pRg st="0" end="0"/>
                                            </p:txEl>
                                          </p:spTgt>
                                        </p:tgtEl>
                                        <p:attrNameLst>
                                          <p:attrName>style.opacity</p:attrName>
                                        </p:attrNameLst>
                                      </p:cBhvr>
                                      <p:to>
                                        <p:strVal val="1"/>
                                      </p:to>
                                    </p:set>
                                    <p:animEffect filter="image" prLst="opacity: 1">
                                      <p:cBhvr rctx="IE">
                                        <p:cTn id="326" dur="indefinite"/>
                                        <p:tgtEl>
                                          <p:spTgt spid="20">
                                            <p:txEl>
                                              <p:pRg st="0" end="0"/>
                                            </p:txEl>
                                          </p:spTgt>
                                        </p:tgtEl>
                                      </p:cBhvr>
                                    </p:animEffect>
                                  </p:childTnLst>
                                </p:cTn>
                              </p:par>
                              <p:par>
                                <p:cTn id="327" presetID="9" presetClass="emph" presetSubtype="0" grpId="2" nodeType="withEffect">
                                  <p:stCondLst>
                                    <p:cond delay="0"/>
                                  </p:stCondLst>
                                  <p:childTnLst>
                                    <p:set>
                                      <p:cBhvr>
                                        <p:cTn id="328" dur="indefinite"/>
                                        <p:tgtEl>
                                          <p:spTgt spid="21">
                                            <p:txEl>
                                              <p:pRg st="0" end="0"/>
                                            </p:txEl>
                                          </p:spTgt>
                                        </p:tgtEl>
                                        <p:attrNameLst>
                                          <p:attrName>style.opacity</p:attrName>
                                        </p:attrNameLst>
                                      </p:cBhvr>
                                      <p:to>
                                        <p:strVal val="1"/>
                                      </p:to>
                                    </p:set>
                                    <p:animEffect filter="image" prLst="opacity: 1">
                                      <p:cBhvr rctx="IE">
                                        <p:cTn id="329" dur="indefinite"/>
                                        <p:tgtEl>
                                          <p:spTgt spid="21">
                                            <p:txEl>
                                              <p:pRg st="0" end="0"/>
                                            </p:txEl>
                                          </p:spTgt>
                                        </p:tgtEl>
                                      </p:cBhvr>
                                    </p:animEffect>
                                  </p:childTnLst>
                                </p:cTn>
                              </p:par>
                              <p:par>
                                <p:cTn id="330" presetID="9" presetClass="emph" presetSubtype="0" grpId="2" nodeType="withEffect">
                                  <p:stCondLst>
                                    <p:cond delay="0"/>
                                  </p:stCondLst>
                                  <p:childTnLst>
                                    <p:set>
                                      <p:cBhvr>
                                        <p:cTn id="331" dur="indefinite"/>
                                        <p:tgtEl>
                                          <p:spTgt spid="52">
                                            <p:txEl>
                                              <p:pRg st="0" end="0"/>
                                            </p:txEl>
                                          </p:spTgt>
                                        </p:tgtEl>
                                        <p:attrNameLst>
                                          <p:attrName>style.opacity</p:attrName>
                                        </p:attrNameLst>
                                      </p:cBhvr>
                                      <p:to>
                                        <p:strVal val="1"/>
                                      </p:to>
                                    </p:set>
                                    <p:animEffect filter="image" prLst="opacity: 1">
                                      <p:cBhvr rctx="IE">
                                        <p:cTn id="332" dur="indefinite"/>
                                        <p:tgtEl>
                                          <p:spTgt spid="52">
                                            <p:txEl>
                                              <p:pRg st="0" end="0"/>
                                            </p:txEl>
                                          </p:spTgt>
                                        </p:tgtEl>
                                      </p:cBhvr>
                                    </p:animEffect>
                                  </p:childTnLst>
                                </p:cTn>
                              </p:par>
                              <p:par>
                                <p:cTn id="333" presetID="9" presetClass="emph" presetSubtype="0" grpId="2" nodeType="withEffect">
                                  <p:stCondLst>
                                    <p:cond delay="0"/>
                                  </p:stCondLst>
                                  <p:childTnLst>
                                    <p:set>
                                      <p:cBhvr>
                                        <p:cTn id="334" dur="indefinite"/>
                                        <p:tgtEl>
                                          <p:spTgt spid="53">
                                            <p:txEl>
                                              <p:pRg st="0" end="0"/>
                                            </p:txEl>
                                          </p:spTgt>
                                        </p:tgtEl>
                                        <p:attrNameLst>
                                          <p:attrName>style.opacity</p:attrName>
                                        </p:attrNameLst>
                                      </p:cBhvr>
                                      <p:to>
                                        <p:strVal val="1"/>
                                      </p:to>
                                    </p:set>
                                    <p:animEffect filter="image" prLst="opacity: 1">
                                      <p:cBhvr rctx="IE">
                                        <p:cTn id="335" dur="indefinite"/>
                                        <p:tgtEl>
                                          <p:spTgt spid="53">
                                            <p:txEl>
                                              <p:pRg st="0" end="0"/>
                                            </p:txEl>
                                          </p:spTgt>
                                        </p:tgtEl>
                                      </p:cBhvr>
                                    </p:animEffect>
                                  </p:childTnLst>
                                </p:cTn>
                              </p:par>
                              <p:par>
                                <p:cTn id="336" presetID="9" presetClass="emph" presetSubtype="0" grpId="2" nodeType="withEffect">
                                  <p:stCondLst>
                                    <p:cond delay="0"/>
                                  </p:stCondLst>
                                  <p:childTnLst>
                                    <p:set>
                                      <p:cBhvr>
                                        <p:cTn id="337" dur="indefinite"/>
                                        <p:tgtEl>
                                          <p:spTgt spid="54">
                                            <p:txEl>
                                              <p:pRg st="0" end="0"/>
                                            </p:txEl>
                                          </p:spTgt>
                                        </p:tgtEl>
                                        <p:attrNameLst>
                                          <p:attrName>style.opacity</p:attrName>
                                        </p:attrNameLst>
                                      </p:cBhvr>
                                      <p:to>
                                        <p:strVal val="1"/>
                                      </p:to>
                                    </p:set>
                                    <p:animEffect filter="image" prLst="opacity: 1">
                                      <p:cBhvr rctx="IE">
                                        <p:cTn id="338" dur="indefinite"/>
                                        <p:tgtEl>
                                          <p:spTgt spid="54">
                                            <p:txEl>
                                              <p:pRg st="0" end="0"/>
                                            </p:txEl>
                                          </p:spTgt>
                                        </p:tgtEl>
                                      </p:cBhvr>
                                    </p:animEffect>
                                  </p:childTnLst>
                                </p:cTn>
                              </p:par>
                              <p:par>
                                <p:cTn id="339" presetID="9" presetClass="emph" presetSubtype="0" grpId="2" nodeType="withEffect">
                                  <p:stCondLst>
                                    <p:cond delay="0"/>
                                  </p:stCondLst>
                                  <p:childTnLst>
                                    <p:set>
                                      <p:cBhvr>
                                        <p:cTn id="340" dur="indefinite"/>
                                        <p:tgtEl>
                                          <p:spTgt spid="55">
                                            <p:txEl>
                                              <p:pRg st="0" end="0"/>
                                            </p:txEl>
                                          </p:spTgt>
                                        </p:tgtEl>
                                        <p:attrNameLst>
                                          <p:attrName>style.opacity</p:attrName>
                                        </p:attrNameLst>
                                      </p:cBhvr>
                                      <p:to>
                                        <p:strVal val="1"/>
                                      </p:to>
                                    </p:set>
                                    <p:animEffect filter="image" prLst="opacity: 1">
                                      <p:cBhvr rctx="IE">
                                        <p:cTn id="341" dur="indefinite"/>
                                        <p:tgtEl>
                                          <p:spTgt spid="55">
                                            <p:txEl>
                                              <p:pRg st="0" end="0"/>
                                            </p:txEl>
                                          </p:spTgt>
                                        </p:tgtEl>
                                      </p:cBhvr>
                                    </p:animEffect>
                                  </p:childTnLst>
                                </p:cTn>
                              </p:par>
                              <p:par>
                                <p:cTn id="342" presetID="9" presetClass="emph" presetSubtype="0" grpId="2" nodeType="withEffect">
                                  <p:stCondLst>
                                    <p:cond delay="0"/>
                                  </p:stCondLst>
                                  <p:childTnLst>
                                    <p:set>
                                      <p:cBhvr>
                                        <p:cTn id="343" dur="indefinite"/>
                                        <p:tgtEl>
                                          <p:spTgt spid="10"/>
                                        </p:tgtEl>
                                        <p:attrNameLst>
                                          <p:attrName>style.opacity</p:attrName>
                                        </p:attrNameLst>
                                      </p:cBhvr>
                                      <p:to>
                                        <p:strVal val="1"/>
                                      </p:to>
                                    </p:set>
                                    <p:animEffect filter="image" prLst="opacity: 1">
                                      <p:cBhvr rctx="IE">
                                        <p:cTn id="344" dur="indefinite"/>
                                        <p:tgtEl>
                                          <p:spTgt spid="10"/>
                                        </p:tgtEl>
                                      </p:cBhvr>
                                    </p:animEffect>
                                  </p:childTnLst>
                                </p:cTn>
                              </p:par>
                              <p:par>
                                <p:cTn id="345" presetID="9" presetClass="emph" presetSubtype="0" grpId="2" nodeType="withEffect">
                                  <p:stCondLst>
                                    <p:cond delay="0"/>
                                  </p:stCondLst>
                                  <p:childTnLst>
                                    <p:set>
                                      <p:cBhvr>
                                        <p:cTn id="346" dur="indefinite"/>
                                        <p:tgtEl>
                                          <p:spTgt spid="12"/>
                                        </p:tgtEl>
                                        <p:attrNameLst>
                                          <p:attrName>style.opacity</p:attrName>
                                        </p:attrNameLst>
                                      </p:cBhvr>
                                      <p:to>
                                        <p:strVal val="1"/>
                                      </p:to>
                                    </p:set>
                                    <p:animEffect filter="image" prLst="opacity: 1">
                                      <p:cBhvr rctx="IE">
                                        <p:cTn id="347" dur="indefinite"/>
                                        <p:tgtEl>
                                          <p:spTgt spid="12"/>
                                        </p:tgtEl>
                                      </p:cBhvr>
                                    </p:animEffect>
                                  </p:childTnLst>
                                </p:cTn>
                              </p:par>
                              <p:par>
                                <p:cTn id="348" presetID="9" presetClass="emph" presetSubtype="0" grpId="2" nodeType="withEffect">
                                  <p:stCondLst>
                                    <p:cond delay="0"/>
                                  </p:stCondLst>
                                  <p:childTnLst>
                                    <p:set>
                                      <p:cBhvr>
                                        <p:cTn id="349" dur="indefinite"/>
                                        <p:tgtEl>
                                          <p:spTgt spid="13"/>
                                        </p:tgtEl>
                                        <p:attrNameLst>
                                          <p:attrName>style.opacity</p:attrName>
                                        </p:attrNameLst>
                                      </p:cBhvr>
                                      <p:to>
                                        <p:strVal val="1"/>
                                      </p:to>
                                    </p:set>
                                    <p:animEffect filter="image" prLst="opacity: 1">
                                      <p:cBhvr rctx="IE">
                                        <p:cTn id="350" dur="indefinite"/>
                                        <p:tgtEl>
                                          <p:spTgt spid="13"/>
                                        </p:tgtEl>
                                      </p:cBhvr>
                                    </p:animEffect>
                                  </p:childTnLst>
                                </p:cTn>
                              </p:par>
                              <p:par>
                                <p:cTn id="351" presetID="9" presetClass="emph" presetSubtype="0" grpId="2" nodeType="withEffect">
                                  <p:stCondLst>
                                    <p:cond delay="0"/>
                                  </p:stCondLst>
                                  <p:childTnLst>
                                    <p:set>
                                      <p:cBhvr>
                                        <p:cTn id="352" dur="indefinite"/>
                                        <p:tgtEl>
                                          <p:spTgt spid="15"/>
                                        </p:tgtEl>
                                        <p:attrNameLst>
                                          <p:attrName>style.opacity</p:attrName>
                                        </p:attrNameLst>
                                      </p:cBhvr>
                                      <p:to>
                                        <p:strVal val="1"/>
                                      </p:to>
                                    </p:set>
                                    <p:animEffect filter="image" prLst="opacity: 1">
                                      <p:cBhvr rctx="IE">
                                        <p:cTn id="353" dur="indefinite"/>
                                        <p:tgtEl>
                                          <p:spTgt spid="15"/>
                                        </p:tgtEl>
                                      </p:cBhvr>
                                    </p:animEffect>
                                  </p:childTnLst>
                                </p:cTn>
                              </p:par>
                              <p:par>
                                <p:cTn id="354" presetID="9" presetClass="emph" presetSubtype="0" grpId="2" nodeType="withEffect">
                                  <p:stCondLst>
                                    <p:cond delay="0"/>
                                  </p:stCondLst>
                                  <p:childTnLst>
                                    <p:set>
                                      <p:cBhvr>
                                        <p:cTn id="355" dur="indefinite"/>
                                        <p:tgtEl>
                                          <p:spTgt spid="16"/>
                                        </p:tgtEl>
                                        <p:attrNameLst>
                                          <p:attrName>style.opacity</p:attrName>
                                        </p:attrNameLst>
                                      </p:cBhvr>
                                      <p:to>
                                        <p:strVal val="1"/>
                                      </p:to>
                                    </p:set>
                                    <p:animEffect filter="image" prLst="opacity: 1">
                                      <p:cBhvr rctx="IE">
                                        <p:cTn id="356" dur="indefinite"/>
                                        <p:tgtEl>
                                          <p:spTgt spid="16"/>
                                        </p:tgtEl>
                                      </p:cBhvr>
                                    </p:animEffect>
                                  </p:childTnLst>
                                </p:cTn>
                              </p:par>
                              <p:par>
                                <p:cTn id="357" presetID="9" presetClass="emph" presetSubtype="0" grpId="2" nodeType="withEffect">
                                  <p:stCondLst>
                                    <p:cond delay="0"/>
                                  </p:stCondLst>
                                  <p:childTnLst>
                                    <p:set>
                                      <p:cBhvr>
                                        <p:cTn id="358" dur="indefinite"/>
                                        <p:tgtEl>
                                          <p:spTgt spid="17"/>
                                        </p:tgtEl>
                                        <p:attrNameLst>
                                          <p:attrName>style.opacity</p:attrName>
                                        </p:attrNameLst>
                                      </p:cBhvr>
                                      <p:to>
                                        <p:strVal val="1"/>
                                      </p:to>
                                    </p:set>
                                    <p:animEffect filter="image" prLst="opacity: 1">
                                      <p:cBhvr rctx="IE">
                                        <p:cTn id="359" dur="indefinite"/>
                                        <p:tgtEl>
                                          <p:spTgt spid="17"/>
                                        </p:tgtEl>
                                      </p:cBhvr>
                                    </p:animEffect>
                                  </p:childTnLst>
                                </p:cTn>
                              </p:par>
                              <p:par>
                                <p:cTn id="360" presetID="9" presetClass="emph" presetSubtype="0" grpId="2" nodeType="withEffect">
                                  <p:stCondLst>
                                    <p:cond delay="0"/>
                                  </p:stCondLst>
                                  <p:childTnLst>
                                    <p:set>
                                      <p:cBhvr>
                                        <p:cTn id="361" dur="indefinite"/>
                                        <p:tgtEl>
                                          <p:spTgt spid="23"/>
                                        </p:tgtEl>
                                        <p:attrNameLst>
                                          <p:attrName>style.opacity</p:attrName>
                                        </p:attrNameLst>
                                      </p:cBhvr>
                                      <p:to>
                                        <p:strVal val="1"/>
                                      </p:to>
                                    </p:set>
                                    <p:animEffect filter="image" prLst="opacity: 1">
                                      <p:cBhvr rctx="IE">
                                        <p:cTn id="362" dur="indefinite"/>
                                        <p:tgtEl>
                                          <p:spTgt spid="23"/>
                                        </p:tgtEl>
                                      </p:cBhvr>
                                    </p:animEffect>
                                  </p:childTnLst>
                                </p:cTn>
                              </p:par>
                              <p:par>
                                <p:cTn id="363" presetID="9" presetClass="emph" presetSubtype="0" grpId="2" nodeType="withEffect">
                                  <p:stCondLst>
                                    <p:cond delay="0"/>
                                  </p:stCondLst>
                                  <p:childTnLst>
                                    <p:set>
                                      <p:cBhvr>
                                        <p:cTn id="364" dur="indefinite"/>
                                        <p:tgtEl>
                                          <p:spTgt spid="25"/>
                                        </p:tgtEl>
                                        <p:attrNameLst>
                                          <p:attrName>style.opacity</p:attrName>
                                        </p:attrNameLst>
                                      </p:cBhvr>
                                      <p:to>
                                        <p:strVal val="1"/>
                                      </p:to>
                                    </p:set>
                                    <p:animEffect filter="image" prLst="opacity: 1">
                                      <p:cBhvr rctx="IE">
                                        <p:cTn id="365" dur="indefinite"/>
                                        <p:tgtEl>
                                          <p:spTgt spid="25"/>
                                        </p:tgtEl>
                                      </p:cBhvr>
                                    </p:animEffect>
                                  </p:childTnLst>
                                </p:cTn>
                              </p:par>
                              <p:par>
                                <p:cTn id="366" presetID="9" presetClass="emph" presetSubtype="0" grpId="2" nodeType="withEffect">
                                  <p:stCondLst>
                                    <p:cond delay="0"/>
                                  </p:stCondLst>
                                  <p:childTnLst>
                                    <p:set>
                                      <p:cBhvr>
                                        <p:cTn id="367" dur="indefinite"/>
                                        <p:tgtEl>
                                          <p:spTgt spid="26">
                                            <p:txEl>
                                              <p:pRg st="0" end="0"/>
                                            </p:txEl>
                                          </p:spTgt>
                                        </p:tgtEl>
                                        <p:attrNameLst>
                                          <p:attrName>style.opacity</p:attrName>
                                        </p:attrNameLst>
                                      </p:cBhvr>
                                      <p:to>
                                        <p:strVal val="1"/>
                                      </p:to>
                                    </p:set>
                                    <p:animEffect filter="image" prLst="opacity: 1">
                                      <p:cBhvr rctx="IE">
                                        <p:cTn id="368" dur="indefinite"/>
                                        <p:tgtEl>
                                          <p:spTgt spid="26">
                                            <p:txEl>
                                              <p:pRg st="0" end="0"/>
                                            </p:txEl>
                                          </p:spTgt>
                                        </p:tgtEl>
                                      </p:cBhvr>
                                    </p:animEffect>
                                  </p:childTnLst>
                                </p:cTn>
                              </p:par>
                              <p:par>
                                <p:cTn id="369" presetID="9" presetClass="emph" presetSubtype="0" grpId="2" nodeType="withEffect">
                                  <p:stCondLst>
                                    <p:cond delay="0"/>
                                  </p:stCondLst>
                                  <p:childTnLst>
                                    <p:set>
                                      <p:cBhvr>
                                        <p:cTn id="370" dur="indefinite"/>
                                        <p:tgtEl>
                                          <p:spTgt spid="27">
                                            <p:txEl>
                                              <p:pRg st="0" end="0"/>
                                            </p:txEl>
                                          </p:spTgt>
                                        </p:tgtEl>
                                        <p:attrNameLst>
                                          <p:attrName>style.opacity</p:attrName>
                                        </p:attrNameLst>
                                      </p:cBhvr>
                                      <p:to>
                                        <p:strVal val="1"/>
                                      </p:to>
                                    </p:set>
                                    <p:animEffect filter="image" prLst="opacity: 1">
                                      <p:cBhvr rctx="IE">
                                        <p:cTn id="371" dur="indefinite"/>
                                        <p:tgtEl>
                                          <p:spTgt spid="27">
                                            <p:txEl>
                                              <p:pRg st="0" end="0"/>
                                            </p:txEl>
                                          </p:spTgt>
                                        </p:tgtEl>
                                      </p:cBhvr>
                                    </p:animEffect>
                                  </p:childTnLst>
                                </p:cTn>
                              </p:par>
                              <p:par>
                                <p:cTn id="372" presetID="9" presetClass="emph" presetSubtype="0" grpId="2" nodeType="withEffect">
                                  <p:stCondLst>
                                    <p:cond delay="0"/>
                                  </p:stCondLst>
                                  <p:childTnLst>
                                    <p:set>
                                      <p:cBhvr>
                                        <p:cTn id="373" dur="indefinite"/>
                                        <p:tgtEl>
                                          <p:spTgt spid="28">
                                            <p:txEl>
                                              <p:pRg st="0" end="0"/>
                                            </p:txEl>
                                          </p:spTgt>
                                        </p:tgtEl>
                                        <p:attrNameLst>
                                          <p:attrName>style.opacity</p:attrName>
                                        </p:attrNameLst>
                                      </p:cBhvr>
                                      <p:to>
                                        <p:strVal val="1"/>
                                      </p:to>
                                    </p:set>
                                    <p:animEffect filter="image" prLst="opacity: 1">
                                      <p:cBhvr rctx="IE">
                                        <p:cTn id="374" dur="indefinite"/>
                                        <p:tgtEl>
                                          <p:spTgt spid="28">
                                            <p:txEl>
                                              <p:pRg st="0" end="0"/>
                                            </p:txEl>
                                          </p:spTgt>
                                        </p:tgtEl>
                                      </p:cBhvr>
                                    </p:animEffect>
                                  </p:childTnLst>
                                </p:cTn>
                              </p:par>
                              <p:par>
                                <p:cTn id="375" presetID="9" presetClass="emph" presetSubtype="0" grpId="2" nodeType="withEffect">
                                  <p:stCondLst>
                                    <p:cond delay="0"/>
                                  </p:stCondLst>
                                  <p:childTnLst>
                                    <p:set>
                                      <p:cBhvr>
                                        <p:cTn id="376" dur="indefinite"/>
                                        <p:tgtEl>
                                          <p:spTgt spid="29">
                                            <p:txEl>
                                              <p:pRg st="0" end="0"/>
                                            </p:txEl>
                                          </p:spTgt>
                                        </p:tgtEl>
                                        <p:attrNameLst>
                                          <p:attrName>style.opacity</p:attrName>
                                        </p:attrNameLst>
                                      </p:cBhvr>
                                      <p:to>
                                        <p:strVal val="1"/>
                                      </p:to>
                                    </p:set>
                                    <p:animEffect filter="image" prLst="opacity: 1">
                                      <p:cBhvr rctx="IE">
                                        <p:cTn id="377" dur="indefinite"/>
                                        <p:tgtEl>
                                          <p:spTgt spid="29">
                                            <p:txEl>
                                              <p:pRg st="0" end="0"/>
                                            </p:txEl>
                                          </p:spTgt>
                                        </p:tgtEl>
                                      </p:cBhvr>
                                    </p:animEffect>
                                  </p:childTnLst>
                                </p:cTn>
                              </p:par>
                              <p:par>
                                <p:cTn id="378" presetID="9" presetClass="emph" presetSubtype="0" grpId="2" nodeType="withEffect" nodePh="1">
                                  <p:stCondLst>
                                    <p:cond delay="0"/>
                                  </p:stCondLst>
                                  <p:endCondLst>
                                    <p:cond evt="begin" delay="0">
                                      <p:tn val="378"/>
                                    </p:cond>
                                  </p:endCondLst>
                                  <p:childTnLst>
                                    <p:set>
                                      <p:cBhvr>
                                        <p:cTn id="379" dur="indefinite"/>
                                        <p:tgtEl>
                                          <p:spTgt spid="741"/>
                                        </p:tgtEl>
                                        <p:attrNameLst>
                                          <p:attrName>style.opacity</p:attrName>
                                        </p:attrNameLst>
                                      </p:cBhvr>
                                      <p:to>
                                        <p:strVal val="1"/>
                                      </p:to>
                                    </p:set>
                                    <p:animEffect filter="image" prLst="opacity: 1">
                                      <p:cBhvr rctx="IE">
                                        <p:cTn id="380" dur="indefinite"/>
                                        <p:tgtEl>
                                          <p:spTgt spid="741"/>
                                        </p:tgtEl>
                                      </p:cBhvr>
                                    </p:animEffect>
                                  </p:childTnLst>
                                </p:cTn>
                              </p:par>
                              <p:par>
                                <p:cTn id="381" presetID="9" presetClass="emph" presetSubtype="0" grpId="2" nodeType="withEffect" nodePh="1">
                                  <p:stCondLst>
                                    <p:cond delay="0"/>
                                  </p:stCondLst>
                                  <p:endCondLst>
                                    <p:cond evt="begin" delay="0">
                                      <p:tn val="381"/>
                                    </p:cond>
                                  </p:endCondLst>
                                  <p:childTnLst>
                                    <p:set>
                                      <p:cBhvr>
                                        <p:cTn id="382" dur="indefinite"/>
                                        <p:tgtEl>
                                          <p:spTgt spid="746"/>
                                        </p:tgtEl>
                                        <p:attrNameLst>
                                          <p:attrName>style.opacity</p:attrName>
                                        </p:attrNameLst>
                                      </p:cBhvr>
                                      <p:to>
                                        <p:strVal val="1"/>
                                      </p:to>
                                    </p:set>
                                    <p:animEffect filter="image" prLst="opacity: 1">
                                      <p:cBhvr rctx="IE">
                                        <p:cTn id="383" dur="indefinite"/>
                                        <p:tgtEl>
                                          <p:spTgt spid="746"/>
                                        </p:tgtEl>
                                      </p:cBhvr>
                                    </p:animEffect>
                                  </p:childTnLst>
                                </p:cTn>
                              </p:par>
                              <p:par>
                                <p:cTn id="384" presetID="9" presetClass="emph" presetSubtype="0" grpId="1" nodeType="withEffect" nodePh="1">
                                  <p:stCondLst>
                                    <p:cond delay="0"/>
                                  </p:stCondLst>
                                  <p:endCondLst>
                                    <p:cond evt="begin" delay="0">
                                      <p:tn val="384"/>
                                    </p:cond>
                                  </p:endCondLst>
                                  <p:childTnLst>
                                    <p:set>
                                      <p:cBhvr>
                                        <p:cTn id="385" dur="indefinite"/>
                                        <p:tgtEl>
                                          <p:spTgt spid="750"/>
                                        </p:tgtEl>
                                        <p:attrNameLst>
                                          <p:attrName>style.opacity</p:attrName>
                                        </p:attrNameLst>
                                      </p:cBhvr>
                                      <p:to>
                                        <p:strVal val="1"/>
                                      </p:to>
                                    </p:set>
                                    <p:animEffect filter="image" prLst="opacity: 1">
                                      <p:cBhvr rctx="IE">
                                        <p:cTn id="386" dur="indefinite"/>
                                        <p:tgtEl>
                                          <p:spTgt spid="750"/>
                                        </p:tgtEl>
                                      </p:cBhvr>
                                    </p:animEffect>
                                  </p:childTnLst>
                                </p:cTn>
                              </p:par>
                              <p:par>
                                <p:cTn id="387" presetID="9" presetClass="emph" presetSubtype="0" grpId="2" nodeType="withEffect" nodePh="1">
                                  <p:stCondLst>
                                    <p:cond delay="0"/>
                                  </p:stCondLst>
                                  <p:endCondLst>
                                    <p:cond evt="begin" delay="0">
                                      <p:tn val="387"/>
                                    </p:cond>
                                  </p:endCondLst>
                                  <p:childTnLst>
                                    <p:set>
                                      <p:cBhvr>
                                        <p:cTn id="388" dur="indefinite"/>
                                        <p:tgtEl>
                                          <p:spTgt spid="760"/>
                                        </p:tgtEl>
                                        <p:attrNameLst>
                                          <p:attrName>style.opacity</p:attrName>
                                        </p:attrNameLst>
                                      </p:cBhvr>
                                      <p:to>
                                        <p:strVal val="1"/>
                                      </p:to>
                                    </p:set>
                                    <p:animEffect filter="image" prLst="opacity: 1">
                                      <p:cBhvr rctx="IE">
                                        <p:cTn id="389" dur="indefinite"/>
                                        <p:tgtEl>
                                          <p:spTgt spid="760"/>
                                        </p:tgtEl>
                                      </p:cBhvr>
                                    </p:animEffect>
                                  </p:childTnLst>
                                </p:cTn>
                              </p:par>
                              <p:par>
                                <p:cTn id="390" presetID="9" presetClass="emph" presetSubtype="0" nodeType="withEffect">
                                  <p:stCondLst>
                                    <p:cond delay="0"/>
                                  </p:stCondLst>
                                  <p:childTnLst>
                                    <p:set>
                                      <p:cBhvr>
                                        <p:cTn id="391" dur="indefinite"/>
                                        <p:tgtEl>
                                          <p:spTgt spid="88"/>
                                        </p:tgtEl>
                                        <p:attrNameLst>
                                          <p:attrName>style.opacity</p:attrName>
                                        </p:attrNameLst>
                                      </p:cBhvr>
                                      <p:to>
                                        <p:strVal val="1"/>
                                      </p:to>
                                    </p:set>
                                    <p:animEffect filter="image" prLst="opacity: 1">
                                      <p:cBhvr rctx="IE">
                                        <p:cTn id="392" dur="indefinite"/>
                                        <p:tgtEl>
                                          <p:spTgt spid="88"/>
                                        </p:tgtEl>
                                      </p:cBhvr>
                                    </p:animEffect>
                                  </p:childTnLst>
                                </p:cTn>
                              </p:par>
                              <p:par>
                                <p:cTn id="393" presetID="9" presetClass="emph" presetSubtype="0" nodeType="withEffect">
                                  <p:stCondLst>
                                    <p:cond delay="0"/>
                                  </p:stCondLst>
                                  <p:childTnLst>
                                    <p:set>
                                      <p:cBhvr>
                                        <p:cTn id="394" dur="indefinite"/>
                                        <p:tgtEl>
                                          <p:spTgt spid="94"/>
                                        </p:tgtEl>
                                        <p:attrNameLst>
                                          <p:attrName>style.opacity</p:attrName>
                                        </p:attrNameLst>
                                      </p:cBhvr>
                                      <p:to>
                                        <p:strVal val="1"/>
                                      </p:to>
                                    </p:set>
                                    <p:animEffect filter="image" prLst="opacity: 1">
                                      <p:cBhvr rctx="IE">
                                        <p:cTn id="395" dur="indefinite"/>
                                        <p:tgtEl>
                                          <p:spTgt spid="94"/>
                                        </p:tgtEl>
                                      </p:cBhvr>
                                    </p:animEffect>
                                  </p:childTnLst>
                                </p:cTn>
                              </p:par>
                              <p:par>
                                <p:cTn id="396" presetID="9" presetClass="emph" presetSubtype="0" nodeType="withEffect">
                                  <p:stCondLst>
                                    <p:cond delay="0"/>
                                  </p:stCondLst>
                                  <p:childTnLst>
                                    <p:set>
                                      <p:cBhvr>
                                        <p:cTn id="397" dur="indefinite"/>
                                        <p:tgtEl>
                                          <p:spTgt spid="99"/>
                                        </p:tgtEl>
                                        <p:attrNameLst>
                                          <p:attrName>style.opacity</p:attrName>
                                        </p:attrNameLst>
                                      </p:cBhvr>
                                      <p:to>
                                        <p:strVal val="1"/>
                                      </p:to>
                                    </p:set>
                                    <p:animEffect filter="image" prLst="opacity: 1">
                                      <p:cBhvr rctx="IE">
                                        <p:cTn id="398" dur="indefinite"/>
                                        <p:tgtEl>
                                          <p:spTgt spid="99"/>
                                        </p:tgtEl>
                                      </p:cBhvr>
                                    </p:animEffect>
                                  </p:childTnLst>
                                </p:cTn>
                              </p:par>
                              <p:par>
                                <p:cTn id="399" presetID="9" presetClass="emph" presetSubtype="0" nodeType="withEffect">
                                  <p:stCondLst>
                                    <p:cond delay="0"/>
                                  </p:stCondLst>
                                  <p:childTnLst>
                                    <p:set>
                                      <p:cBhvr>
                                        <p:cTn id="400" dur="indefinite"/>
                                        <p:tgtEl>
                                          <p:spTgt spid="138"/>
                                        </p:tgtEl>
                                        <p:attrNameLst>
                                          <p:attrName>style.opacity</p:attrName>
                                        </p:attrNameLst>
                                      </p:cBhvr>
                                      <p:to>
                                        <p:strVal val="1"/>
                                      </p:to>
                                    </p:set>
                                    <p:animEffect filter="image" prLst="opacity: 1">
                                      <p:cBhvr rctx="IE">
                                        <p:cTn id="401" dur="indefinite"/>
                                        <p:tgtEl>
                                          <p:spTgt spid="138"/>
                                        </p:tgtEl>
                                      </p:cBhvr>
                                    </p:animEffect>
                                  </p:childTnLst>
                                </p:cTn>
                              </p:par>
                              <p:par>
                                <p:cTn id="402" presetID="10" presetClass="entr" presetSubtype="0" fill="hold" grpId="0" nodeType="withEffect">
                                  <p:stCondLst>
                                    <p:cond delay="0"/>
                                  </p:stCondLst>
                                  <p:childTnLst>
                                    <p:set>
                                      <p:cBhvr>
                                        <p:cTn id="403" dur="1" fill="hold">
                                          <p:stCondLst>
                                            <p:cond delay="0"/>
                                          </p:stCondLst>
                                        </p:cTn>
                                        <p:tgtEl>
                                          <p:spTgt spid="150"/>
                                        </p:tgtEl>
                                        <p:attrNameLst>
                                          <p:attrName>style.visibility</p:attrName>
                                        </p:attrNameLst>
                                      </p:cBhvr>
                                      <p:to>
                                        <p:strVal val="visible"/>
                                      </p:to>
                                    </p:set>
                                    <p:animEffect transition="in" filter="fade">
                                      <p:cBhvr>
                                        <p:cTn id="404" dur="500"/>
                                        <p:tgtEl>
                                          <p:spTgt spid="150"/>
                                        </p:tgtEl>
                                      </p:cBhvr>
                                    </p:animEffect>
                                  </p:childTnLst>
                                </p:cTn>
                              </p:par>
                              <p:par>
                                <p:cTn id="405" presetID="9" presetClass="emph" presetSubtype="0" grpId="1" nodeType="withEffect">
                                  <p:stCondLst>
                                    <p:cond delay="0"/>
                                  </p:stCondLst>
                                  <p:childTnLst>
                                    <p:set>
                                      <p:cBhvr>
                                        <p:cTn id="406" dur="indefinite"/>
                                        <p:tgtEl>
                                          <p:spTgt spid="150"/>
                                        </p:tgtEl>
                                        <p:attrNameLst>
                                          <p:attrName>style.opacity</p:attrName>
                                        </p:attrNameLst>
                                      </p:cBhvr>
                                      <p:to>
                                        <p:strVal val="0.1"/>
                                      </p:to>
                                    </p:set>
                                    <p:animEffect filter="image" prLst="opacity: 0.1">
                                      <p:cBhvr rctx="IE">
                                        <p:cTn id="407" dur="indefinite"/>
                                        <p:tgtEl>
                                          <p:spTgt spid="150"/>
                                        </p:tgtEl>
                                      </p:cBhvr>
                                    </p:animEffect>
                                  </p:childTnLst>
                                </p:cTn>
                              </p:par>
                              <p:par>
                                <p:cTn id="408" presetID="10" presetClass="entr" presetSubtype="0" fill="hold" grpId="0" nodeType="withEffect">
                                  <p:stCondLst>
                                    <p:cond delay="0"/>
                                  </p:stCondLst>
                                  <p:childTnLst>
                                    <p:set>
                                      <p:cBhvr>
                                        <p:cTn id="409" dur="1" fill="hold">
                                          <p:stCondLst>
                                            <p:cond delay="0"/>
                                          </p:stCondLst>
                                        </p:cTn>
                                        <p:tgtEl>
                                          <p:spTgt spid="151"/>
                                        </p:tgtEl>
                                        <p:attrNameLst>
                                          <p:attrName>style.visibility</p:attrName>
                                        </p:attrNameLst>
                                      </p:cBhvr>
                                      <p:to>
                                        <p:strVal val="visible"/>
                                      </p:to>
                                    </p:set>
                                    <p:animEffect transition="in" filter="fade">
                                      <p:cBhvr>
                                        <p:cTn id="410" dur="500"/>
                                        <p:tgtEl>
                                          <p:spTgt spid="151"/>
                                        </p:tgtEl>
                                      </p:cBhvr>
                                    </p:animEffect>
                                  </p:childTnLst>
                                </p:cTn>
                              </p:par>
                              <p:par>
                                <p:cTn id="411" presetID="9" presetClass="emph" presetSubtype="0" grpId="1" nodeType="withEffect">
                                  <p:stCondLst>
                                    <p:cond delay="0"/>
                                  </p:stCondLst>
                                  <p:childTnLst>
                                    <p:set>
                                      <p:cBhvr>
                                        <p:cTn id="412" dur="indefinite"/>
                                        <p:tgtEl>
                                          <p:spTgt spid="151"/>
                                        </p:tgtEl>
                                        <p:attrNameLst>
                                          <p:attrName>style.opacity</p:attrName>
                                        </p:attrNameLst>
                                      </p:cBhvr>
                                      <p:to>
                                        <p:strVal val="0.1"/>
                                      </p:to>
                                    </p:set>
                                    <p:animEffect filter="image" prLst="opacity: 0.1">
                                      <p:cBhvr rctx="IE">
                                        <p:cTn id="413" dur="indefinite"/>
                                        <p:tgtEl>
                                          <p:spTgt spid="151"/>
                                        </p:tgtEl>
                                      </p:cBhvr>
                                    </p:animEffect>
                                  </p:childTnLst>
                                </p:cTn>
                              </p:par>
                              <p:par>
                                <p:cTn id="414" presetID="10" presetClass="entr" presetSubtype="0" fill="hold" grpId="0" nodeType="withEffect">
                                  <p:stCondLst>
                                    <p:cond delay="0"/>
                                  </p:stCondLst>
                                  <p:childTnLst>
                                    <p:set>
                                      <p:cBhvr>
                                        <p:cTn id="415" dur="1" fill="hold">
                                          <p:stCondLst>
                                            <p:cond delay="0"/>
                                          </p:stCondLst>
                                        </p:cTn>
                                        <p:tgtEl>
                                          <p:spTgt spid="152"/>
                                        </p:tgtEl>
                                        <p:attrNameLst>
                                          <p:attrName>style.visibility</p:attrName>
                                        </p:attrNameLst>
                                      </p:cBhvr>
                                      <p:to>
                                        <p:strVal val="visible"/>
                                      </p:to>
                                    </p:set>
                                    <p:animEffect transition="in" filter="fade">
                                      <p:cBhvr>
                                        <p:cTn id="416" dur="500"/>
                                        <p:tgtEl>
                                          <p:spTgt spid="152"/>
                                        </p:tgtEl>
                                      </p:cBhvr>
                                    </p:animEffect>
                                  </p:childTnLst>
                                </p:cTn>
                              </p:par>
                              <p:par>
                                <p:cTn id="417" presetID="9" presetClass="emph" presetSubtype="0" grpId="1" nodeType="withEffect">
                                  <p:stCondLst>
                                    <p:cond delay="0"/>
                                  </p:stCondLst>
                                  <p:childTnLst>
                                    <p:set>
                                      <p:cBhvr>
                                        <p:cTn id="418" dur="indefinite"/>
                                        <p:tgtEl>
                                          <p:spTgt spid="152"/>
                                        </p:tgtEl>
                                        <p:attrNameLst>
                                          <p:attrName>style.opacity</p:attrName>
                                        </p:attrNameLst>
                                      </p:cBhvr>
                                      <p:to>
                                        <p:strVal val="0.1"/>
                                      </p:to>
                                    </p:set>
                                    <p:animEffect filter="image" prLst="opacity: 0.1">
                                      <p:cBhvr rctx="IE">
                                        <p:cTn id="419" dur="indefinite"/>
                                        <p:tgtEl>
                                          <p:spTgt spid="152"/>
                                        </p:tgtEl>
                                      </p:cBhvr>
                                    </p:animEffect>
                                  </p:childTnLst>
                                </p:cTn>
                              </p:par>
                              <p:par>
                                <p:cTn id="420" presetID="10" presetClass="entr" presetSubtype="0" fill="hold" grpId="0" nodeType="withEffect">
                                  <p:stCondLst>
                                    <p:cond delay="0"/>
                                  </p:stCondLst>
                                  <p:childTnLst>
                                    <p:set>
                                      <p:cBhvr>
                                        <p:cTn id="421" dur="1" fill="hold">
                                          <p:stCondLst>
                                            <p:cond delay="0"/>
                                          </p:stCondLst>
                                        </p:cTn>
                                        <p:tgtEl>
                                          <p:spTgt spid="153"/>
                                        </p:tgtEl>
                                        <p:attrNameLst>
                                          <p:attrName>style.visibility</p:attrName>
                                        </p:attrNameLst>
                                      </p:cBhvr>
                                      <p:to>
                                        <p:strVal val="visible"/>
                                      </p:to>
                                    </p:set>
                                    <p:animEffect transition="in" filter="fade">
                                      <p:cBhvr>
                                        <p:cTn id="422" dur="500"/>
                                        <p:tgtEl>
                                          <p:spTgt spid="153"/>
                                        </p:tgtEl>
                                      </p:cBhvr>
                                    </p:animEffect>
                                  </p:childTnLst>
                                </p:cTn>
                              </p:par>
                              <p:par>
                                <p:cTn id="423" presetID="9" presetClass="emph" presetSubtype="0" grpId="1" nodeType="withEffect">
                                  <p:stCondLst>
                                    <p:cond delay="0"/>
                                  </p:stCondLst>
                                  <p:childTnLst>
                                    <p:set>
                                      <p:cBhvr>
                                        <p:cTn id="424" dur="indefinite"/>
                                        <p:tgtEl>
                                          <p:spTgt spid="153"/>
                                        </p:tgtEl>
                                        <p:attrNameLst>
                                          <p:attrName>style.opacity</p:attrName>
                                        </p:attrNameLst>
                                      </p:cBhvr>
                                      <p:to>
                                        <p:strVal val="0.1"/>
                                      </p:to>
                                    </p:set>
                                    <p:animEffect filter="image" prLst="opacity: 0.1">
                                      <p:cBhvr rctx="IE">
                                        <p:cTn id="425" dur="indefinite"/>
                                        <p:tgtEl>
                                          <p:spTgt spid="153"/>
                                        </p:tgtEl>
                                      </p:cBhvr>
                                    </p:animEffect>
                                  </p:childTnLst>
                                </p:cTn>
                              </p:par>
                              <p:par>
                                <p:cTn id="426" presetID="10" presetClass="entr" presetSubtype="0" fill="hold" grpId="0" nodeType="withEffect">
                                  <p:stCondLst>
                                    <p:cond delay="0"/>
                                  </p:stCondLst>
                                  <p:childTnLst>
                                    <p:set>
                                      <p:cBhvr>
                                        <p:cTn id="427" dur="1" fill="hold">
                                          <p:stCondLst>
                                            <p:cond delay="0"/>
                                          </p:stCondLst>
                                        </p:cTn>
                                        <p:tgtEl>
                                          <p:spTgt spid="154"/>
                                        </p:tgtEl>
                                        <p:attrNameLst>
                                          <p:attrName>style.visibility</p:attrName>
                                        </p:attrNameLst>
                                      </p:cBhvr>
                                      <p:to>
                                        <p:strVal val="visible"/>
                                      </p:to>
                                    </p:set>
                                    <p:animEffect transition="in" filter="fade">
                                      <p:cBhvr>
                                        <p:cTn id="428" dur="500"/>
                                        <p:tgtEl>
                                          <p:spTgt spid="154"/>
                                        </p:tgtEl>
                                      </p:cBhvr>
                                    </p:animEffect>
                                  </p:childTnLst>
                                </p:cTn>
                              </p:par>
                              <p:par>
                                <p:cTn id="429" presetID="9" presetClass="emph" presetSubtype="0" grpId="2" nodeType="withEffect">
                                  <p:stCondLst>
                                    <p:cond delay="0"/>
                                  </p:stCondLst>
                                  <p:childTnLst>
                                    <p:set>
                                      <p:cBhvr>
                                        <p:cTn id="430" dur="indefinite"/>
                                        <p:tgtEl>
                                          <p:spTgt spid="150"/>
                                        </p:tgtEl>
                                        <p:attrNameLst>
                                          <p:attrName>style.opacity</p:attrName>
                                        </p:attrNameLst>
                                      </p:cBhvr>
                                      <p:to>
                                        <p:strVal val="1"/>
                                      </p:to>
                                    </p:set>
                                    <p:animEffect filter="image" prLst="opacity: 1">
                                      <p:cBhvr rctx="IE">
                                        <p:cTn id="431" dur="indefinite"/>
                                        <p:tgtEl>
                                          <p:spTgt spid="150"/>
                                        </p:tgtEl>
                                      </p:cBhvr>
                                    </p:animEffect>
                                  </p:childTnLst>
                                </p:cTn>
                              </p:par>
                              <p:par>
                                <p:cTn id="432" presetID="9" presetClass="emph" presetSubtype="0" grpId="2" nodeType="withEffect">
                                  <p:stCondLst>
                                    <p:cond delay="0"/>
                                  </p:stCondLst>
                                  <p:childTnLst>
                                    <p:set>
                                      <p:cBhvr>
                                        <p:cTn id="433" dur="indefinite"/>
                                        <p:tgtEl>
                                          <p:spTgt spid="151"/>
                                        </p:tgtEl>
                                        <p:attrNameLst>
                                          <p:attrName>style.opacity</p:attrName>
                                        </p:attrNameLst>
                                      </p:cBhvr>
                                      <p:to>
                                        <p:strVal val="1"/>
                                      </p:to>
                                    </p:set>
                                    <p:animEffect filter="image" prLst="opacity: 1">
                                      <p:cBhvr rctx="IE">
                                        <p:cTn id="434" dur="indefinite"/>
                                        <p:tgtEl>
                                          <p:spTgt spid="151"/>
                                        </p:tgtEl>
                                      </p:cBhvr>
                                    </p:animEffect>
                                  </p:childTnLst>
                                </p:cTn>
                              </p:par>
                              <p:par>
                                <p:cTn id="435" presetID="9" presetClass="emph" presetSubtype="0" grpId="2" nodeType="withEffect">
                                  <p:stCondLst>
                                    <p:cond delay="0"/>
                                  </p:stCondLst>
                                  <p:childTnLst>
                                    <p:set>
                                      <p:cBhvr>
                                        <p:cTn id="436" dur="indefinite"/>
                                        <p:tgtEl>
                                          <p:spTgt spid="152"/>
                                        </p:tgtEl>
                                        <p:attrNameLst>
                                          <p:attrName>style.opacity</p:attrName>
                                        </p:attrNameLst>
                                      </p:cBhvr>
                                      <p:to>
                                        <p:strVal val="1"/>
                                      </p:to>
                                    </p:set>
                                    <p:animEffect filter="image" prLst="opacity: 1">
                                      <p:cBhvr rctx="IE">
                                        <p:cTn id="437" dur="indefinite"/>
                                        <p:tgtEl>
                                          <p:spTgt spid="152"/>
                                        </p:tgtEl>
                                      </p:cBhvr>
                                    </p:animEffect>
                                  </p:childTnLst>
                                </p:cTn>
                              </p:par>
                              <p:par>
                                <p:cTn id="438" presetID="9" presetClass="emph" presetSubtype="0" grpId="2" nodeType="withEffect">
                                  <p:stCondLst>
                                    <p:cond delay="0"/>
                                  </p:stCondLst>
                                  <p:childTnLst>
                                    <p:set>
                                      <p:cBhvr>
                                        <p:cTn id="439" dur="indefinite"/>
                                        <p:tgtEl>
                                          <p:spTgt spid="153"/>
                                        </p:tgtEl>
                                        <p:attrNameLst>
                                          <p:attrName>style.opacity</p:attrName>
                                        </p:attrNameLst>
                                      </p:cBhvr>
                                      <p:to>
                                        <p:strVal val="1"/>
                                      </p:to>
                                    </p:set>
                                    <p:animEffect filter="image" prLst="opacity: 1">
                                      <p:cBhvr rctx="IE">
                                        <p:cTn id="440" dur="indefinite"/>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6" grpId="0" animBg="1"/>
      <p:bldP spid="18" grpId="0" build="p"/>
      <p:bldP spid="18" grpId="1" build="p"/>
      <p:bldP spid="18" grpId="2" build="p"/>
      <p:bldP spid="19" grpId="0" build="p"/>
      <p:bldP spid="19" grpId="1" build="p"/>
      <p:bldP spid="19" grpId="2" build="p"/>
      <p:bldP spid="20" grpId="0" build="p"/>
      <p:bldP spid="20" grpId="1" build="p"/>
      <p:bldP spid="20" grpId="2" build="p"/>
      <p:bldP spid="21" grpId="0" build="p"/>
      <p:bldP spid="21" grpId="1" build="p"/>
      <p:bldP spid="21" grpId="2" build="p"/>
      <p:bldP spid="22" grpId="0" build="p"/>
      <p:bldP spid="52" grpId="0" build="p"/>
      <p:bldP spid="52" grpId="1" build="p"/>
      <p:bldP spid="52" grpId="2" build="p"/>
      <p:bldP spid="53" grpId="0" build="p"/>
      <p:bldP spid="53" grpId="1" build="p"/>
      <p:bldP spid="53" grpId="2" build="p"/>
      <p:bldP spid="54" grpId="0" build="p"/>
      <p:bldP spid="54" grpId="1" build="p"/>
      <p:bldP spid="54" grpId="2" build="p"/>
      <p:bldP spid="55" grpId="0" build="p"/>
      <p:bldP spid="55" grpId="1" build="p"/>
      <p:bldP spid="55" grpId="2" build="p"/>
      <p:bldP spid="56" grpId="0" build="p"/>
      <p:bldP spid="10" grpId="0"/>
      <p:bldP spid="10" grpId="1"/>
      <p:bldP spid="10" grpId="2"/>
      <p:bldP spid="12" grpId="0"/>
      <p:bldP spid="12" grpId="1"/>
      <p:bldP spid="12" grpId="2"/>
      <p:bldP spid="13" grpId="0"/>
      <p:bldP spid="13" grpId="1"/>
      <p:bldP spid="13" grpId="2"/>
      <p:bldP spid="14" grpId="0"/>
      <p:bldP spid="15" grpId="0"/>
      <p:bldP spid="15" grpId="1"/>
      <p:bldP spid="15" grpId="2"/>
      <p:bldP spid="16" grpId="0"/>
      <p:bldP spid="16" grpId="1"/>
      <p:bldP spid="16" grpId="2"/>
      <p:bldP spid="17" grpId="0"/>
      <p:bldP spid="17" grpId="1"/>
      <p:bldP spid="17" grpId="2"/>
      <p:bldP spid="23" grpId="0"/>
      <p:bldP spid="23" grpId="1"/>
      <p:bldP spid="23" grpId="2"/>
      <p:bldP spid="24" grpId="0"/>
      <p:bldP spid="25" grpId="0"/>
      <p:bldP spid="25" grpId="1"/>
      <p:bldP spid="25" grpId="2"/>
      <p:bldP spid="26" grpId="0" build="p"/>
      <p:bldP spid="26" grpId="1" build="p"/>
      <p:bldP spid="26" grpId="2" build="p"/>
      <p:bldP spid="27" grpId="0" build="p"/>
      <p:bldP spid="27" grpId="1" build="p"/>
      <p:bldP spid="27" grpId="2" build="p"/>
      <p:bldP spid="28" grpId="0" build="p"/>
      <p:bldP spid="28" grpId="1" build="p"/>
      <p:bldP spid="28" grpId="2" build="p"/>
      <p:bldP spid="29" grpId="0" build="p"/>
      <p:bldP spid="29" grpId="1" build="p"/>
      <p:bldP spid="29" grpId="2" build="p"/>
      <p:bldP spid="30" grpId="0" build="p"/>
      <p:bldP spid="741" grpId="0"/>
      <p:bldP spid="741" grpId="1"/>
      <p:bldP spid="741" grpId="2"/>
      <p:bldP spid="746" grpId="0"/>
      <p:bldP spid="746" grpId="1"/>
      <p:bldP spid="746" grpId="2"/>
      <p:bldP spid="750" grpId="0"/>
      <p:bldP spid="750" grpId="1"/>
      <p:bldP spid="756" grpId="0"/>
      <p:bldP spid="760" grpId="0"/>
      <p:bldP spid="760" grpId="1"/>
      <p:bldP spid="760" grpId="2"/>
      <p:bldP spid="150" grpId="0" animBg="1"/>
      <p:bldP spid="150" grpId="1" animBg="1"/>
      <p:bldP spid="150" grpId="2" animBg="1"/>
      <p:bldP spid="151" grpId="0" animBg="1"/>
      <p:bldP spid="151" grpId="1" animBg="1"/>
      <p:bldP spid="151" grpId="2" animBg="1"/>
      <p:bldP spid="152" grpId="0" animBg="1"/>
      <p:bldP spid="152" grpId="1" animBg="1"/>
      <p:bldP spid="152" grpId="2" animBg="1"/>
      <p:bldP spid="153" grpId="0" animBg="1"/>
      <p:bldP spid="153" grpId="1" animBg="1"/>
      <p:bldP spid="153" grpId="2" animBg="1"/>
      <p:bldP spid="15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24ABED4-4BEA-4C10-8E40-FA02E1CAE829}"/>
              </a:ext>
            </a:extLst>
          </p:cNvPr>
          <p:cNvSpPr/>
          <p:nvPr/>
        </p:nvSpPr>
        <p:spPr>
          <a:xfrm>
            <a:off x="1965960" y="3078480"/>
            <a:ext cx="2786910" cy="2052190"/>
          </a:xfrm>
          <a:prstGeom prst="rect">
            <a:avLst/>
          </a:prstGeom>
          <a:solidFill>
            <a:schemeClr val="bg1"/>
          </a:solid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3.9</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 name="Rectangle 28"/>
          <p:cNvSpPr/>
          <p:nvPr/>
        </p:nvSpPr>
        <p:spPr>
          <a:xfrm>
            <a:off x="1082040" y="2087353"/>
            <a:ext cx="5139215" cy="92333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1800"/>
              </a:spcBef>
              <a:spcAft>
                <a:spcPts val="1000"/>
              </a:spcAft>
              <a:buClrTx/>
              <a:buSzTx/>
              <a:buFontTx/>
              <a:buNone/>
              <a:tabLst/>
              <a:defRPr/>
            </a:pPr>
            <a:r>
              <a:rPr kumimoji="0" lang="en-US" sz="2800" b="0" i="0" u="none" strike="noStrike" kern="0" cap="none" spc="0" normalizeH="0" baseline="0" noProof="0" dirty="0">
                <a:ln>
                  <a:noFill/>
                </a:ln>
                <a:effectLst/>
                <a:uLnTx/>
                <a:uFillTx/>
                <a:ea typeface="+mn-ea"/>
                <a:cs typeface="Segoe UI Semibold" panose="020B0702040204020203" pitchFamily="34" charset="0"/>
              </a:rPr>
              <a:t>Global business value derived </a:t>
            </a:r>
            <a:br>
              <a:rPr kumimoji="0" lang="en-US" sz="2800" b="0" i="0" u="none" strike="noStrike" kern="0" cap="none" spc="0" normalizeH="0" baseline="0" noProof="0" dirty="0">
                <a:ln>
                  <a:noFill/>
                </a:ln>
                <a:effectLst/>
                <a:uLnTx/>
                <a:uFillTx/>
                <a:ea typeface="+mn-ea"/>
                <a:cs typeface="Segoe UI Semibold" panose="020B0702040204020203" pitchFamily="34" charset="0"/>
              </a:rPr>
            </a:br>
            <a:r>
              <a:rPr kumimoji="0" lang="en-US" sz="2800" b="0" i="0" u="none" strike="noStrike" kern="0" cap="none" spc="0" normalizeH="0" baseline="0" noProof="0" dirty="0">
                <a:ln>
                  <a:noFill/>
                </a:ln>
                <a:effectLst/>
                <a:uLnTx/>
                <a:uFillTx/>
                <a:ea typeface="+mn-ea"/>
                <a:cs typeface="Segoe UI Semibold" panose="020B0702040204020203" pitchFamily="34" charset="0"/>
              </a:rPr>
              <a:t>from </a:t>
            </a:r>
            <a:r>
              <a:rPr kumimoji="0" lang="en-US" sz="3200" b="1" i="0" u="none" strike="noStrike" kern="0" cap="none" spc="0" normalizeH="0" baseline="0" noProof="0" dirty="0">
                <a:ln>
                  <a:noFill/>
                </a:ln>
                <a:solidFill>
                  <a:schemeClr val="tx2"/>
                </a:solidFill>
                <a:effectLst/>
                <a:uLnTx/>
                <a:uFillTx/>
                <a:latin typeface="+mj-lt"/>
                <a:ea typeface="+mn-ea"/>
                <a:cs typeface="Segoe UI Semibold" panose="020B0702040204020203" pitchFamily="34" charset="0"/>
              </a:rPr>
              <a:t>AI in 2022 </a:t>
            </a:r>
            <a:r>
              <a:rPr kumimoji="0" lang="en-US" sz="2800" b="0" i="0" u="none" strike="noStrike" kern="0" cap="none" spc="0" normalizeH="0" baseline="0" noProof="0" dirty="0">
                <a:ln>
                  <a:noFill/>
                </a:ln>
                <a:effectLst/>
                <a:uLnTx/>
                <a:uFillTx/>
                <a:ea typeface="+mn-ea"/>
                <a:cs typeface="Segoe UI Semibold" panose="020B0702040204020203" pitchFamily="34" charset="0"/>
              </a:rPr>
              <a:t>will reach</a:t>
            </a:r>
            <a:endParaRPr kumimoji="0" lang="en-US" sz="3200" b="1" i="0" u="none" strike="noStrike" kern="0" cap="none" spc="0" normalizeH="0" baseline="0" noProof="0" dirty="0">
              <a:ln>
                <a:noFill/>
              </a:ln>
              <a:effectLst/>
              <a:uLnTx/>
              <a:uFillTx/>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spc="-150" dirty="0">
                <a:solidFill>
                  <a:schemeClr val="tx2"/>
                </a:solidFill>
              </a:rPr>
              <a:t>Advanced analytics represents a growing opportunity</a:t>
            </a:r>
          </a:p>
        </p:txBody>
      </p:sp>
      <p:sp>
        <p:nvSpPr>
          <p:cNvPr id="10" name="Rectangle 9">
            <a:extLst>
              <a:ext uri="{FF2B5EF4-FFF2-40B4-BE49-F238E27FC236}">
                <a16:creationId xmlns:a16="http://schemas.microsoft.com/office/drawing/2014/main" id="{8209F136-3883-4505-A76F-B2D856A35567}"/>
              </a:ext>
            </a:extLst>
          </p:cNvPr>
          <p:cNvSpPr/>
          <p:nvPr/>
        </p:nvSpPr>
        <p:spPr>
          <a:xfrm>
            <a:off x="883712" y="2881014"/>
            <a:ext cx="1287532" cy="247760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4" name="Rectangle 33">
            <a:extLst>
              <a:ext uri="{FF2B5EF4-FFF2-40B4-BE49-F238E27FC236}">
                <a16:creationId xmlns:a16="http://schemas.microsoft.com/office/drawing/2014/main" id="{C9D0EA23-D53C-40A2-8CC9-1D696C20EB09}"/>
              </a:ext>
            </a:extLst>
          </p:cNvPr>
          <p:cNvSpPr/>
          <p:nvPr/>
        </p:nvSpPr>
        <p:spPr>
          <a:xfrm>
            <a:off x="4701540" y="3078480"/>
            <a:ext cx="1257300" cy="2052190"/>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4A252971-CE31-402F-962F-9EB424E8B92A}"/>
              </a:ext>
            </a:extLst>
          </p:cNvPr>
          <p:cNvSpPr txBox="1"/>
          <p:nvPr/>
        </p:nvSpPr>
        <p:spPr>
          <a:xfrm>
            <a:off x="1599092" y="6349742"/>
            <a:ext cx="8700788" cy="184666"/>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r>
              <a:rPr lang="en-US" dirty="0"/>
              <a:t>“Forecast: The Business Value of Artificial Intelligence, Worldwide, 2017-2025”, Gartner, April 2018.</a:t>
            </a:r>
          </a:p>
        </p:txBody>
      </p:sp>
      <p:grpSp>
        <p:nvGrpSpPr>
          <p:cNvPr id="39" name="Group 38">
            <a:extLst>
              <a:ext uri="{FF2B5EF4-FFF2-40B4-BE49-F238E27FC236}">
                <a16:creationId xmlns:a16="http://schemas.microsoft.com/office/drawing/2014/main" id="{69140526-EF13-426B-A246-D7FF927D862F}"/>
              </a:ext>
            </a:extLst>
          </p:cNvPr>
          <p:cNvGrpSpPr/>
          <p:nvPr/>
        </p:nvGrpSpPr>
        <p:grpSpPr>
          <a:xfrm>
            <a:off x="6609383" y="2180834"/>
            <a:ext cx="4908183" cy="3290926"/>
            <a:chOff x="4347834" y="1440989"/>
            <a:chExt cx="7473421" cy="5010912"/>
          </a:xfrm>
        </p:grpSpPr>
        <p:graphicFrame>
          <p:nvGraphicFramePr>
            <p:cNvPr id="42" name="Chart 41">
              <a:extLst>
                <a:ext uri="{FF2B5EF4-FFF2-40B4-BE49-F238E27FC236}">
                  <a16:creationId xmlns:a16="http://schemas.microsoft.com/office/drawing/2014/main" id="{F1F09D54-F1E9-4D79-9E0D-9E8D95BE7920}"/>
                </a:ext>
              </a:extLst>
            </p:cNvPr>
            <p:cNvGraphicFramePr>
              <a:graphicFrameLocks/>
            </p:cNvGraphicFramePr>
            <p:nvPr>
              <p:extLst>
                <p:ext uri="{D42A27DB-BD31-4B8C-83A1-F6EECF244321}">
                  <p14:modId xmlns:p14="http://schemas.microsoft.com/office/powerpoint/2010/main" val="417031285"/>
                </p:ext>
              </p:extLst>
            </p:nvPr>
          </p:nvGraphicFramePr>
          <p:xfrm>
            <a:off x="5220618" y="1440989"/>
            <a:ext cx="6336791" cy="5010912"/>
          </p:xfrm>
          <a:graphic>
            <a:graphicData uri="http://schemas.openxmlformats.org/drawingml/2006/chart">
              <c:chart xmlns:c="http://schemas.openxmlformats.org/drawingml/2006/chart" xmlns:r="http://schemas.openxmlformats.org/officeDocument/2006/relationships" r:id="rId3"/>
            </a:graphicData>
          </a:graphic>
        </p:graphicFrame>
        <p:sp>
          <p:nvSpPr>
            <p:cNvPr id="48" name="Freeform: Shape 47">
              <a:extLst>
                <a:ext uri="{FF2B5EF4-FFF2-40B4-BE49-F238E27FC236}">
                  <a16:creationId xmlns:a16="http://schemas.microsoft.com/office/drawing/2014/main" id="{7FA6E6E4-9BB3-4C3D-8084-D3C19750138A}"/>
                </a:ext>
              </a:extLst>
            </p:cNvPr>
            <p:cNvSpPr/>
            <p:nvPr/>
          </p:nvSpPr>
          <p:spPr bwMode="auto">
            <a:xfrm>
              <a:off x="10327128" y="2373801"/>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9" name="Rectangle 48">
              <a:extLst>
                <a:ext uri="{FF2B5EF4-FFF2-40B4-BE49-F238E27FC236}">
                  <a16:creationId xmlns:a16="http://schemas.microsoft.com/office/drawing/2014/main" id="{EB55CEB7-84FA-4B4E-9745-2CD60EB3D79D}"/>
                </a:ext>
              </a:extLst>
            </p:cNvPr>
            <p:cNvSpPr/>
            <p:nvPr/>
          </p:nvSpPr>
          <p:spPr bwMode="auto">
            <a:xfrm>
              <a:off x="10888868" y="2124206"/>
              <a:ext cx="932387"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Decision</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support</a:t>
              </a:r>
            </a:p>
          </p:txBody>
        </p:sp>
        <p:sp>
          <p:nvSpPr>
            <p:cNvPr id="50" name="Freeform: Shape 49">
              <a:extLst>
                <a:ext uri="{FF2B5EF4-FFF2-40B4-BE49-F238E27FC236}">
                  <a16:creationId xmlns:a16="http://schemas.microsoft.com/office/drawing/2014/main" id="{ED951C87-F3CB-49F3-9593-C0F7E57B980D}"/>
                </a:ext>
              </a:extLst>
            </p:cNvPr>
            <p:cNvSpPr/>
            <p:nvPr/>
          </p:nvSpPr>
          <p:spPr bwMode="auto">
            <a:xfrm flipV="1">
              <a:off x="10327128" y="5328331"/>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1" name="Rectangle 50">
              <a:extLst>
                <a:ext uri="{FF2B5EF4-FFF2-40B4-BE49-F238E27FC236}">
                  <a16:creationId xmlns:a16="http://schemas.microsoft.com/office/drawing/2014/main" id="{8DB6327B-1C46-4335-9496-493BD6B5A54F}"/>
                </a:ext>
              </a:extLst>
            </p:cNvPr>
            <p:cNvSpPr/>
            <p:nvPr/>
          </p:nvSpPr>
          <p:spPr bwMode="auto">
            <a:xfrm>
              <a:off x="10888871" y="5242720"/>
              <a:ext cx="712129"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Virtual</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lang="en-US" sz="1200" dirty="0">
                  <a:solidFill>
                    <a:srgbClr val="505050">
                      <a:lumMod val="75000"/>
                    </a:srgbClr>
                  </a:solidFill>
                  <a:latin typeface="+mj-lt"/>
                  <a:ea typeface="Segoe UI" panose="020B0502040204020203" pitchFamily="34" charset="0"/>
                  <a:cs typeface="Segoe UI" panose="020B0502040204020203" pitchFamily="34" charset="0"/>
                </a:rPr>
                <a:t>agents</a:t>
              </a:r>
              <a:endPar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endParaRPr>
            </a:p>
          </p:txBody>
        </p:sp>
        <p:sp>
          <p:nvSpPr>
            <p:cNvPr id="52" name="Freeform: Shape 51">
              <a:extLst>
                <a:ext uri="{FF2B5EF4-FFF2-40B4-BE49-F238E27FC236}">
                  <a16:creationId xmlns:a16="http://schemas.microsoft.com/office/drawing/2014/main" id="{93F149A4-15D3-4FC8-882E-B5C5BF40AACE}"/>
                </a:ext>
              </a:extLst>
            </p:cNvPr>
            <p:cNvSpPr/>
            <p:nvPr/>
          </p:nvSpPr>
          <p:spPr bwMode="auto">
            <a:xfrm flipH="1">
              <a:off x="5638625" y="2994777"/>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324839FB-AF38-48AD-9FB5-F86D7573EAEE}"/>
                </a:ext>
              </a:extLst>
            </p:cNvPr>
            <p:cNvSpPr/>
            <p:nvPr/>
          </p:nvSpPr>
          <p:spPr bwMode="auto">
            <a:xfrm flipH="1">
              <a:off x="4347834" y="2741713"/>
              <a:ext cx="1233681"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Decision</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automation</a:t>
              </a:r>
            </a:p>
          </p:txBody>
        </p:sp>
        <p:sp>
          <p:nvSpPr>
            <p:cNvPr id="54" name="Freeform: Shape 53">
              <a:extLst>
                <a:ext uri="{FF2B5EF4-FFF2-40B4-BE49-F238E27FC236}">
                  <a16:creationId xmlns:a16="http://schemas.microsoft.com/office/drawing/2014/main" id="{3DC2B5FA-D474-478D-91F5-3CE0AA118405}"/>
                </a:ext>
              </a:extLst>
            </p:cNvPr>
            <p:cNvSpPr/>
            <p:nvPr/>
          </p:nvSpPr>
          <p:spPr bwMode="auto">
            <a:xfrm flipH="1" flipV="1">
              <a:off x="5638625" y="4748510"/>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 name="Rectangle 54">
              <a:extLst>
                <a:ext uri="{FF2B5EF4-FFF2-40B4-BE49-F238E27FC236}">
                  <a16:creationId xmlns:a16="http://schemas.microsoft.com/office/drawing/2014/main" id="{9E220C8B-7337-4DFE-9A02-4F83D98A9793}"/>
                </a:ext>
              </a:extLst>
            </p:cNvPr>
            <p:cNvSpPr/>
            <p:nvPr/>
          </p:nvSpPr>
          <p:spPr bwMode="auto">
            <a:xfrm flipH="1">
              <a:off x="4608514" y="4651200"/>
              <a:ext cx="973002"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lang="en-US" sz="1200" dirty="0">
                  <a:solidFill>
                    <a:srgbClr val="505050">
                      <a:lumMod val="75000"/>
                    </a:srgbClr>
                  </a:solidFill>
                  <a:latin typeface="+mj-lt"/>
                  <a:ea typeface="Segoe UI" panose="020B0502040204020203" pitchFamily="34" charset="0"/>
                  <a:cs typeface="Segoe UI" panose="020B0502040204020203" pitchFamily="34" charset="0"/>
                </a:rPr>
                <a:t>Smart</a:t>
              </a:r>
              <a:br>
                <a:rPr lang="en-US" sz="1200" dirty="0">
                  <a:solidFill>
                    <a:srgbClr val="505050">
                      <a:lumMod val="75000"/>
                    </a:srgbClr>
                  </a:solidFill>
                  <a:latin typeface="+mj-lt"/>
                  <a:ea typeface="Segoe UI" panose="020B0502040204020203" pitchFamily="34" charset="0"/>
                  <a:cs typeface="Segoe UI" panose="020B0502040204020203" pitchFamily="34" charset="0"/>
                </a:rPr>
              </a:br>
              <a:r>
                <a:rPr lang="en-US" sz="1200" dirty="0">
                  <a:solidFill>
                    <a:srgbClr val="505050">
                      <a:lumMod val="75000"/>
                    </a:srgbClr>
                  </a:solidFill>
                  <a:latin typeface="+mj-lt"/>
                  <a:ea typeface="Segoe UI" panose="020B0502040204020203" pitchFamily="34" charset="0"/>
                  <a:cs typeface="Segoe UI" panose="020B0502040204020203" pitchFamily="34" charset="0"/>
                </a:rPr>
                <a:t>products</a:t>
              </a:r>
              <a:endPar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endParaRPr>
            </a:p>
          </p:txBody>
        </p:sp>
      </p:grpSp>
      <p:sp>
        <p:nvSpPr>
          <p:cNvPr id="56" name="Rectangle 55">
            <a:extLst>
              <a:ext uri="{FF2B5EF4-FFF2-40B4-BE49-F238E27FC236}">
                <a16:creationId xmlns:a16="http://schemas.microsoft.com/office/drawing/2014/main" id="{29CD55A3-9AC0-4161-BD78-6FB15472D25E}"/>
              </a:ext>
            </a:extLst>
          </p:cNvPr>
          <p:cNvSpPr/>
          <p:nvPr/>
        </p:nvSpPr>
        <p:spPr>
          <a:xfrm>
            <a:off x="8648398" y="3481366"/>
            <a:ext cx="1188740" cy="717401"/>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3.9</a:t>
            </a:r>
            <a:endParaRPr kumimoji="0" lang="en-IN" sz="6000" b="0" i="0" u="none" strike="noStrike" kern="1200" cap="none" spc="0" normalizeH="0" baseline="0" noProof="0" dirty="0">
              <a:ln>
                <a:noFill/>
              </a:ln>
              <a:effectLst/>
              <a:uLnTx/>
              <a:uFillTx/>
              <a:latin typeface="Segoe UI Semilight"/>
              <a:ea typeface="+mn-ea"/>
            </a:endParaRPr>
          </a:p>
        </p:txBody>
      </p:sp>
      <p:sp>
        <p:nvSpPr>
          <p:cNvPr id="57" name="Rectangle 56">
            <a:extLst>
              <a:ext uri="{FF2B5EF4-FFF2-40B4-BE49-F238E27FC236}">
                <a16:creationId xmlns:a16="http://schemas.microsoft.com/office/drawing/2014/main" id="{7AC42AE4-2E86-4017-BC5F-8F1C489A0409}"/>
              </a:ext>
            </a:extLst>
          </p:cNvPr>
          <p:cNvSpPr/>
          <p:nvPr/>
        </p:nvSpPr>
        <p:spPr>
          <a:xfrm>
            <a:off x="8224528" y="3346948"/>
            <a:ext cx="611065"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a:t>
            </a:r>
            <a:endParaRPr kumimoji="0" lang="en-IN" sz="6000" b="0" i="0" u="none" strike="noStrike" kern="1200" cap="none" spc="0" normalizeH="0" baseline="0" noProof="0" dirty="0">
              <a:ln>
                <a:noFill/>
              </a:ln>
              <a:effectLst/>
              <a:uLnTx/>
              <a:uFillTx/>
              <a:latin typeface="Segoe UI Semilight"/>
              <a:ea typeface="+mn-ea"/>
            </a:endParaRPr>
          </a:p>
        </p:txBody>
      </p:sp>
      <p:sp>
        <p:nvSpPr>
          <p:cNvPr id="58" name="Rectangle 57">
            <a:extLst>
              <a:ext uri="{FF2B5EF4-FFF2-40B4-BE49-F238E27FC236}">
                <a16:creationId xmlns:a16="http://schemas.microsoft.com/office/drawing/2014/main" id="{7792F029-0CB4-4CA8-B557-7F4A58472F98}"/>
              </a:ext>
            </a:extLst>
          </p:cNvPr>
          <p:cNvSpPr/>
          <p:nvPr/>
        </p:nvSpPr>
        <p:spPr>
          <a:xfrm>
            <a:off x="9676972" y="3456037"/>
            <a:ext cx="588158" cy="768059"/>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T</a:t>
            </a:r>
            <a:endParaRPr kumimoji="0" lang="en-IN" sz="6000" b="0" i="0" u="none" strike="noStrike" kern="1200" cap="none" spc="0" normalizeH="0" baseline="0" noProof="0" dirty="0">
              <a:ln>
                <a:noFill/>
              </a:ln>
              <a:effectLst/>
              <a:uLnTx/>
              <a:uFillTx/>
              <a:latin typeface="Segoe UI Semilight"/>
              <a:ea typeface="+mn-ea"/>
            </a:endParaRPr>
          </a:p>
        </p:txBody>
      </p:sp>
    </p:spTree>
    <p:extLst>
      <p:ext uri="{BB962C8B-B14F-4D97-AF65-F5344CB8AC3E}">
        <p14:creationId xmlns:p14="http://schemas.microsoft.com/office/powerpoint/2010/main" val="258805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87" name="Rectangle 86">
            <a:extLst>
              <a:ext uri="{FF2B5EF4-FFF2-40B4-BE49-F238E27FC236}">
                <a16:creationId xmlns:a16="http://schemas.microsoft.com/office/drawing/2014/main" id="{72C1A3FF-5B33-EE4B-8E62-A9860EEEA604}"/>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81339EEE-57EA-B647-8CD7-9E71B82DB7B5}"/>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2BABF7FD-B4F7-DA43-9BE4-57E4B686678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1" name="Rectangle 110">
            <a:extLst>
              <a:ext uri="{FF2B5EF4-FFF2-40B4-BE49-F238E27FC236}">
                <a16:creationId xmlns:a16="http://schemas.microsoft.com/office/drawing/2014/main" id="{0A8484B4-6590-2A4F-AB00-3CE72978E034}"/>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Rectangle 111">
            <a:extLst>
              <a:ext uri="{FF2B5EF4-FFF2-40B4-BE49-F238E27FC236}">
                <a16:creationId xmlns:a16="http://schemas.microsoft.com/office/drawing/2014/main" id="{7507CA57-01B1-344C-B671-368AEE9682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13" name="Shape 770">
            <a:extLst>
              <a:ext uri="{FF2B5EF4-FFF2-40B4-BE49-F238E27FC236}">
                <a16:creationId xmlns:a16="http://schemas.microsoft.com/office/drawing/2014/main" id="{544CA715-4A2A-3E4D-AB17-03B45F60BA25}"/>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1" name="Shape 770">
            <a:extLst>
              <a:ext uri="{FF2B5EF4-FFF2-40B4-BE49-F238E27FC236}">
                <a16:creationId xmlns:a16="http://schemas.microsoft.com/office/drawing/2014/main" id="{6EC22B01-8D01-9140-9D89-3295B8DDC829}"/>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2" name="Shape 770">
            <a:extLst>
              <a:ext uri="{FF2B5EF4-FFF2-40B4-BE49-F238E27FC236}">
                <a16:creationId xmlns:a16="http://schemas.microsoft.com/office/drawing/2014/main" id="{056DA431-03DD-354D-8AA6-DF74B6BF8DF6}"/>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3" name="Shape 770">
            <a:extLst>
              <a:ext uri="{FF2B5EF4-FFF2-40B4-BE49-F238E27FC236}">
                <a16:creationId xmlns:a16="http://schemas.microsoft.com/office/drawing/2014/main" id="{C125F522-3EE8-CB49-B025-6184F2B976BA}"/>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4" name="Shape 770">
            <a:extLst>
              <a:ext uri="{FF2B5EF4-FFF2-40B4-BE49-F238E27FC236}">
                <a16:creationId xmlns:a16="http://schemas.microsoft.com/office/drawing/2014/main" id="{3243F251-7735-0248-9AB6-9932454441A8}"/>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30" name="Freeform: Shape 57">
            <a:extLst>
              <a:ext uri="{FF2B5EF4-FFF2-40B4-BE49-F238E27FC236}">
                <a16:creationId xmlns:a16="http://schemas.microsoft.com/office/drawing/2014/main" id="{939832B0-4BAA-E742-8ED1-6CF1433E2116}"/>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1" name="Freeform: Shape 56">
            <a:extLst>
              <a:ext uri="{FF2B5EF4-FFF2-40B4-BE49-F238E27FC236}">
                <a16:creationId xmlns:a16="http://schemas.microsoft.com/office/drawing/2014/main" id="{324E39F2-422A-634F-9265-FBD839EBFDC3}"/>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2" name="Freeform: Shape 55">
            <a:extLst>
              <a:ext uri="{FF2B5EF4-FFF2-40B4-BE49-F238E27FC236}">
                <a16:creationId xmlns:a16="http://schemas.microsoft.com/office/drawing/2014/main" id="{492F581C-9E00-934E-AC4A-F3CE97A6B86B}"/>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Freeform: Shape 54">
            <a:extLst>
              <a:ext uri="{FF2B5EF4-FFF2-40B4-BE49-F238E27FC236}">
                <a16:creationId xmlns:a16="http://schemas.microsoft.com/office/drawing/2014/main" id="{B5A4BAE1-449E-9243-A428-F509A11DBFC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4" name="Freeform: Shape 53">
            <a:extLst>
              <a:ext uri="{FF2B5EF4-FFF2-40B4-BE49-F238E27FC236}">
                <a16:creationId xmlns:a16="http://schemas.microsoft.com/office/drawing/2014/main" id="{ECED6A19-8A75-5746-995C-7D0301B29751}"/>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5EB6577A-71A1-4AA0-8740-123BE75F0950}"/>
              </a:ext>
            </a:extLst>
          </p:cNvPr>
          <p:cNvSpPr>
            <a:spLocks noGrp="1"/>
          </p:cNvSpPr>
          <p:nvPr>
            <p:ph type="body" sz="quarter" idx="12"/>
          </p:nvPr>
        </p:nvSpPr>
        <p:spPr/>
        <p:txBody>
          <a:bodyPr/>
          <a:lstStyle/>
          <a:p>
            <a:r>
              <a:rPr lang="en-US" dirty="0">
                <a:sym typeface="Source Sans Pro"/>
              </a:rPr>
              <a:t>Customer value analytics</a:t>
            </a:r>
          </a:p>
        </p:txBody>
      </p:sp>
      <p:sp>
        <p:nvSpPr>
          <p:cNvPr id="8" name="Text Placeholder 7">
            <a:extLst>
              <a:ext uri="{FF2B5EF4-FFF2-40B4-BE49-F238E27FC236}">
                <a16:creationId xmlns:a16="http://schemas.microsoft.com/office/drawing/2014/main" id="{6E6D8552-58C3-4239-93B7-9367A689981E}"/>
              </a:ext>
            </a:extLst>
          </p:cNvPr>
          <p:cNvSpPr>
            <a:spLocks noGrp="1"/>
          </p:cNvSpPr>
          <p:nvPr>
            <p:ph type="body" sz="quarter" idx="13"/>
          </p:nvPr>
        </p:nvSpPr>
        <p:spPr/>
        <p:txBody>
          <a:bodyPr/>
          <a:lstStyle/>
          <a:p>
            <a:r>
              <a:rPr lang="en-US" dirty="0">
                <a:sym typeface="Source Sans Pro"/>
              </a:rPr>
              <a:t>Next best and personalized offers</a:t>
            </a:r>
          </a:p>
        </p:txBody>
      </p:sp>
      <p:sp>
        <p:nvSpPr>
          <p:cNvPr id="9" name="Text Placeholder 8">
            <a:extLst>
              <a:ext uri="{FF2B5EF4-FFF2-40B4-BE49-F238E27FC236}">
                <a16:creationId xmlns:a16="http://schemas.microsoft.com/office/drawing/2014/main" id="{78B1173D-D843-48BA-A615-A9D4C90138C6}"/>
              </a:ext>
            </a:extLst>
          </p:cNvPr>
          <p:cNvSpPr>
            <a:spLocks noGrp="1"/>
          </p:cNvSpPr>
          <p:nvPr>
            <p:ph type="body" sz="quarter" idx="14"/>
          </p:nvPr>
        </p:nvSpPr>
        <p:spPr/>
        <p:txBody>
          <a:bodyPr/>
          <a:lstStyle/>
          <a:p>
            <a:r>
              <a:rPr lang="en-US" dirty="0">
                <a:sym typeface="Source Sans Pro"/>
              </a:rPr>
              <a:t>Risk and fraud management</a:t>
            </a:r>
          </a:p>
        </p:txBody>
      </p:sp>
      <p:sp>
        <p:nvSpPr>
          <p:cNvPr id="10" name="Text Placeholder 9">
            <a:extLst>
              <a:ext uri="{FF2B5EF4-FFF2-40B4-BE49-F238E27FC236}">
                <a16:creationId xmlns:a16="http://schemas.microsoft.com/office/drawing/2014/main" id="{CE1D81A8-176E-485E-990D-E18AC75A715C}"/>
              </a:ext>
            </a:extLst>
          </p:cNvPr>
          <p:cNvSpPr>
            <a:spLocks noGrp="1"/>
          </p:cNvSpPr>
          <p:nvPr>
            <p:ph type="body" sz="quarter" idx="15"/>
          </p:nvPr>
        </p:nvSpPr>
        <p:spPr/>
        <p:txBody>
          <a:bodyPr/>
          <a:lstStyle/>
          <a:p>
            <a:r>
              <a:rPr lang="en-US" dirty="0">
                <a:sym typeface="Source Sans Pro"/>
              </a:rPr>
              <a:t>Sales and campaign </a:t>
            </a:r>
            <a:br>
              <a:rPr lang="en-US" dirty="0">
                <a:sym typeface="Source Sans Pro"/>
              </a:rPr>
            </a:br>
            <a:r>
              <a:rPr lang="en-US" dirty="0">
                <a:sym typeface="Source Sans Pro"/>
              </a:rPr>
              <a:t>optimization</a:t>
            </a:r>
          </a:p>
        </p:txBody>
      </p:sp>
      <p:sp>
        <p:nvSpPr>
          <p:cNvPr id="12" name="Text Placeholder 11">
            <a:extLst>
              <a:ext uri="{FF2B5EF4-FFF2-40B4-BE49-F238E27FC236}">
                <a16:creationId xmlns:a16="http://schemas.microsoft.com/office/drawing/2014/main" id="{21081BFE-9DE2-4B1C-A1EA-810B67A33B3C}"/>
              </a:ext>
            </a:extLst>
          </p:cNvPr>
          <p:cNvSpPr>
            <a:spLocks noGrp="1"/>
          </p:cNvSpPr>
          <p:nvPr>
            <p:ph type="body" sz="quarter" idx="16"/>
          </p:nvPr>
        </p:nvSpPr>
        <p:spPr/>
        <p:txBody>
          <a:bodyPr/>
          <a:lstStyle/>
          <a:p>
            <a:r>
              <a:rPr lang="en-US" dirty="0">
                <a:sym typeface="Source Sans Pro"/>
              </a:rPr>
              <a:t>Sentiment </a:t>
            </a:r>
            <a:br>
              <a:rPr lang="en-US" dirty="0">
                <a:sym typeface="Source Sans Pro"/>
              </a:rPr>
            </a:br>
            <a:r>
              <a:rPr lang="en-US" dirty="0">
                <a:sym typeface="Source Sans Pro"/>
              </a:rPr>
              <a:t>analysis</a:t>
            </a:r>
          </a:p>
        </p:txBody>
      </p:sp>
      <p:sp>
        <p:nvSpPr>
          <p:cNvPr id="4" name="Text Placeholder 3">
            <a:extLst>
              <a:ext uri="{FF2B5EF4-FFF2-40B4-BE49-F238E27FC236}">
                <a16:creationId xmlns:a16="http://schemas.microsoft.com/office/drawing/2014/main" id="{057779BD-43F3-4C60-8E8B-AF27211F45CF}"/>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customer</a:t>
            </a:r>
            <a:br>
              <a:rPr lang="en-US" b="0" dirty="0">
                <a:latin typeface="+mj-lt"/>
                <a:sym typeface="Source Sans Pro"/>
              </a:rPr>
            </a:br>
            <a:r>
              <a:rPr lang="en-US" b="0" dirty="0">
                <a:latin typeface="+mj-lt"/>
                <a:sym typeface="Source Sans Pro"/>
              </a:rPr>
              <a:t>growth</a:t>
            </a:r>
          </a:p>
        </p:txBody>
      </p:sp>
      <p:sp>
        <p:nvSpPr>
          <p:cNvPr id="5" name="Text Placeholder 4">
            <a:extLst>
              <a:ext uri="{FF2B5EF4-FFF2-40B4-BE49-F238E27FC236}">
                <a16:creationId xmlns:a16="http://schemas.microsoft.com/office/drawing/2014/main" id="{A99E4020-6080-4433-B84E-5C2F182A0A7A}"/>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08C4AC15-78C3-443B-B87E-7C5AE42E34EF}"/>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Risk management with machine learning</a:t>
            </a:r>
          </a:p>
        </p:txBody>
      </p:sp>
      <p:sp>
        <p:nvSpPr>
          <p:cNvPr id="11" name="Text Placeholder 10">
            <a:extLst>
              <a:ext uri="{FF2B5EF4-FFF2-40B4-BE49-F238E27FC236}">
                <a16:creationId xmlns:a16="http://schemas.microsoft.com/office/drawing/2014/main" id="{C9A8AFDD-F020-4DBF-9591-9F1E75B49C71}"/>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a:t>
            </a:r>
            <a:br>
              <a:rPr lang="en-US" b="0" dirty="0">
                <a:latin typeface="+mj-lt"/>
                <a:sym typeface="Source Sans Pro"/>
              </a:rPr>
            </a:br>
            <a:r>
              <a:rPr lang="en-US" b="0" dirty="0">
                <a:latin typeface="+mj-lt"/>
                <a:sym typeface="Source Sans Pro"/>
              </a:rPr>
              <a:t>analytics</a:t>
            </a:r>
            <a:br>
              <a:rPr lang="en-US" b="0" dirty="0">
                <a:latin typeface="+mj-lt"/>
                <a:sym typeface="Source Sans Pro"/>
              </a:rPr>
            </a:br>
            <a:r>
              <a:rPr lang="en-US" b="0" dirty="0">
                <a:latin typeface="+mj-lt"/>
                <a:sym typeface="Source Sans Pro"/>
              </a:rPr>
              <a:t>transforms growth</a:t>
            </a:r>
          </a:p>
        </p:txBody>
      </p:sp>
      <p:sp>
        <p:nvSpPr>
          <p:cNvPr id="13" name="Text Placeholder 12">
            <a:extLst>
              <a:ext uri="{FF2B5EF4-FFF2-40B4-BE49-F238E27FC236}">
                <a16:creationId xmlns:a16="http://schemas.microsoft.com/office/drawing/2014/main" id="{B09ACB4E-A6B3-45F1-AF00-6E87603EC34E}"/>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45" name="Text Placeholder 44">
            <a:extLst>
              <a:ext uri="{FF2B5EF4-FFF2-40B4-BE49-F238E27FC236}">
                <a16:creationId xmlns:a16="http://schemas.microsoft.com/office/drawing/2014/main" id="{072AA160-098A-4B2F-8037-32DD59DA761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yalty</a:t>
            </a:r>
          </a:p>
        </p:txBody>
      </p:sp>
      <p:sp>
        <p:nvSpPr>
          <p:cNvPr id="46" name="Text Placeholder 45">
            <a:extLst>
              <a:ext uri="{FF2B5EF4-FFF2-40B4-BE49-F238E27FC236}">
                <a16:creationId xmlns:a16="http://schemas.microsoft.com/office/drawing/2014/main" id="{68CC7F01-D0EB-4849-945B-7393812834AC}"/>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p:txBody>
      </p:sp>
      <p:sp>
        <p:nvSpPr>
          <p:cNvPr id="47" name="Text Placeholder 46">
            <a:extLst>
              <a:ext uri="{FF2B5EF4-FFF2-40B4-BE49-F238E27FC236}">
                <a16:creationId xmlns:a16="http://schemas.microsoft.com/office/drawing/2014/main" id="{2B481FE3-96CB-4DC5-80FC-11BA8D89811B}"/>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ing data</a:t>
            </a:r>
          </a:p>
        </p:txBody>
      </p:sp>
      <p:sp>
        <p:nvSpPr>
          <p:cNvPr id="48" name="Text Placeholder 47">
            <a:extLst>
              <a:ext uri="{FF2B5EF4-FFF2-40B4-BE49-F238E27FC236}">
                <a16:creationId xmlns:a16="http://schemas.microsoft.com/office/drawing/2014/main" id="{83DC79C3-B5B4-4C75-88E3-93FB7AF4D842}"/>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rvice data </a:t>
            </a:r>
          </a:p>
        </p:txBody>
      </p:sp>
      <p:sp>
        <p:nvSpPr>
          <p:cNvPr id="49" name="Text Placeholder 48">
            <a:extLst>
              <a:ext uri="{FF2B5EF4-FFF2-40B4-BE49-F238E27FC236}">
                <a16:creationId xmlns:a16="http://schemas.microsoft.com/office/drawing/2014/main" id="{64CB6114-EC97-4D78-991A-030DC1F36AE5}"/>
              </a:ext>
            </a:extLst>
          </p:cNvPr>
          <p:cNvSpPr>
            <a:spLocks noGrp="1"/>
          </p:cNvSpPr>
          <p:nvPr>
            <p:ph type="body" sz="quarter" idx="36"/>
          </p:nvPr>
        </p:nvSpPr>
        <p:spPr>
          <a:xfrm>
            <a:off x="460375" y="4049075"/>
            <a:ext cx="1852613" cy="1508105"/>
          </a:xfrm>
        </p:spPr>
        <p:txBody>
          <a:bodyPr vert="horz" wrap="square" lIns="91440" tIns="45720" rIns="91440" bIns="45720" rtlCol="0">
            <a:spAutoFit/>
          </a:bodyPr>
          <a:lstStyle/>
          <a:p>
            <a:pPr>
              <a:lnSpc>
                <a:spcPct val="90000"/>
              </a:lnSpc>
              <a:spcAft>
                <a:spcPts val="0"/>
              </a:spcAft>
            </a:pPr>
            <a:r>
              <a:rPr lang="en-US" dirty="0">
                <a:sym typeface="Source Sans Pro Light"/>
              </a:rPr>
              <a:t>Customer 360, segmentation aggregation and attribution</a:t>
            </a:r>
          </a:p>
          <a:p>
            <a:pPr>
              <a:lnSpc>
                <a:spcPct val="90000"/>
              </a:lnSpc>
              <a:spcAft>
                <a:spcPts val="0"/>
              </a:spcAft>
            </a:pPr>
            <a:r>
              <a:rPr lang="en-US" dirty="0">
                <a:sym typeface="Source Sans Pro Light"/>
              </a:rPr>
              <a:t>Audience modelling/index report</a:t>
            </a:r>
          </a:p>
          <a:p>
            <a:pPr>
              <a:lnSpc>
                <a:spcPct val="90000"/>
              </a:lnSpc>
              <a:spcAft>
                <a:spcPts val="0"/>
              </a:spcAft>
            </a:pPr>
            <a:r>
              <a:rPr lang="en-US" dirty="0">
                <a:sym typeface="Source Sans Pro Light"/>
              </a:rPr>
              <a:t>Reduce customer churn</a:t>
            </a:r>
          </a:p>
          <a:p>
            <a:pPr>
              <a:lnSpc>
                <a:spcPct val="90000"/>
              </a:lnSpc>
              <a:spcAft>
                <a:spcPts val="0"/>
              </a:spcAft>
            </a:pPr>
            <a:r>
              <a:rPr lang="en-US" dirty="0">
                <a:sym typeface="Source Sans Pro Light"/>
              </a:rPr>
              <a:t>Insights for new products</a:t>
            </a:r>
          </a:p>
          <a:p>
            <a:pPr>
              <a:lnSpc>
                <a:spcPct val="90000"/>
              </a:lnSpc>
              <a:spcAft>
                <a:spcPts val="0"/>
              </a:spcAft>
            </a:pPr>
            <a:r>
              <a:rPr lang="en-US" dirty="0">
                <a:sym typeface="Source Sans Pro Light"/>
              </a:rPr>
              <a:t>Historical bid opportunity</a:t>
            </a:r>
            <a:br>
              <a:rPr lang="en-US" dirty="0">
                <a:sym typeface="Source Sans Pro Light"/>
              </a:rPr>
            </a:br>
            <a:r>
              <a:rPr lang="en-US" dirty="0">
                <a:sym typeface="Source Sans Pro Light"/>
              </a:rPr>
              <a:t>as a service</a:t>
            </a:r>
          </a:p>
        </p:txBody>
      </p:sp>
      <p:sp>
        <p:nvSpPr>
          <p:cNvPr id="50" name="Text Placeholder 49">
            <a:extLst>
              <a:ext uri="{FF2B5EF4-FFF2-40B4-BE49-F238E27FC236}">
                <a16:creationId xmlns:a16="http://schemas.microsoft.com/office/drawing/2014/main" id="{A514A49E-0DF2-4E81-8C29-C4E331EA73F0}"/>
              </a:ext>
            </a:extLst>
          </p:cNvPr>
          <p:cNvSpPr>
            <a:spLocks noGrp="1"/>
          </p:cNvSpPr>
          <p:nvPr>
            <p:ph type="body" sz="quarter" idx="37"/>
          </p:nvPr>
        </p:nvSpPr>
        <p:spPr>
          <a:xfrm>
            <a:off x="2815629"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Right product, promotion,</a:t>
            </a:r>
            <a:br>
              <a:rPr lang="en-US" dirty="0">
                <a:sym typeface="Source Sans Pro Light"/>
              </a:rPr>
            </a:br>
            <a:r>
              <a:rPr lang="en-US" dirty="0">
                <a:sym typeface="Source Sans Pro Light"/>
              </a:rPr>
              <a:t>at right time</a:t>
            </a:r>
          </a:p>
          <a:p>
            <a:pPr>
              <a:lnSpc>
                <a:spcPct val="90000"/>
              </a:lnSpc>
              <a:spcAft>
                <a:spcPts val="0"/>
              </a:spcAft>
            </a:pPr>
            <a:r>
              <a:rPr lang="en-US" dirty="0">
                <a:sym typeface="Source Sans Pro Light"/>
              </a:rPr>
              <a:t>Real time ad bidding platform</a:t>
            </a:r>
          </a:p>
          <a:p>
            <a:pPr>
              <a:lnSpc>
                <a:spcPct val="90000"/>
              </a:lnSpc>
              <a:spcAft>
                <a:spcPts val="0"/>
              </a:spcAft>
            </a:pPr>
            <a:r>
              <a:rPr lang="en-US" dirty="0">
                <a:sym typeface="Source Sans Pro Light"/>
              </a:rPr>
              <a:t>Personalized ad targeting</a:t>
            </a:r>
          </a:p>
          <a:p>
            <a:pPr>
              <a:lnSpc>
                <a:spcPct val="90000"/>
              </a:lnSpc>
              <a:spcAft>
                <a:spcPts val="0"/>
              </a:spcAft>
            </a:pPr>
            <a:r>
              <a:rPr lang="en-US" dirty="0">
                <a:sym typeface="Source Sans Pro Light"/>
              </a:rPr>
              <a:t>Ad performance reporting</a:t>
            </a:r>
          </a:p>
        </p:txBody>
      </p:sp>
      <p:sp>
        <p:nvSpPr>
          <p:cNvPr id="51" name="Text Placeholder 50">
            <a:extLst>
              <a:ext uri="{FF2B5EF4-FFF2-40B4-BE49-F238E27FC236}">
                <a16:creationId xmlns:a16="http://schemas.microsoft.com/office/drawing/2014/main" id="{6C22C78F-069E-4D9E-8B65-55E8FADB89EA}"/>
              </a:ext>
            </a:extLst>
          </p:cNvPr>
          <p:cNvSpPr>
            <a:spLocks noGrp="1"/>
          </p:cNvSpPr>
          <p:nvPr>
            <p:ph type="body" sz="quarter" idx="38"/>
          </p:nvPr>
        </p:nvSpPr>
        <p:spPr>
          <a:xfrm>
            <a:off x="5170155"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Real-time anomaly detection</a:t>
            </a:r>
          </a:p>
          <a:p>
            <a:pPr>
              <a:lnSpc>
                <a:spcPct val="90000"/>
              </a:lnSpc>
              <a:spcAft>
                <a:spcPts val="0"/>
              </a:spcAft>
            </a:pPr>
            <a:r>
              <a:rPr lang="en-US" dirty="0">
                <a:sym typeface="Source Sans Pro Light"/>
              </a:rPr>
              <a:t>Fraud prevention</a:t>
            </a:r>
          </a:p>
          <a:p>
            <a:pPr>
              <a:lnSpc>
                <a:spcPct val="90000"/>
              </a:lnSpc>
              <a:spcAft>
                <a:spcPts val="0"/>
              </a:spcAft>
            </a:pPr>
            <a:r>
              <a:rPr lang="en-US" dirty="0">
                <a:sym typeface="Source Sans Pro Light"/>
              </a:rPr>
              <a:t>Customer spend and</a:t>
            </a:r>
            <a:br>
              <a:rPr lang="en-US" dirty="0">
                <a:sym typeface="Source Sans Pro Light"/>
              </a:rPr>
            </a:br>
            <a:r>
              <a:rPr lang="en-US" dirty="0">
                <a:sym typeface="Source Sans Pro Light"/>
              </a:rPr>
              <a:t>risk analysis</a:t>
            </a:r>
          </a:p>
          <a:p>
            <a:pPr>
              <a:lnSpc>
                <a:spcPct val="90000"/>
              </a:lnSpc>
              <a:spcAft>
                <a:spcPts val="0"/>
              </a:spcAft>
            </a:pPr>
            <a:r>
              <a:rPr lang="en-US" dirty="0">
                <a:sym typeface="Source Sans Pro Light"/>
              </a:rPr>
              <a:t>Data relationship maps</a:t>
            </a:r>
          </a:p>
        </p:txBody>
      </p:sp>
      <p:sp>
        <p:nvSpPr>
          <p:cNvPr id="52" name="Text Placeholder 51">
            <a:extLst>
              <a:ext uri="{FF2B5EF4-FFF2-40B4-BE49-F238E27FC236}">
                <a16:creationId xmlns:a16="http://schemas.microsoft.com/office/drawing/2014/main" id="{163B3F42-0825-4DD3-B65C-81F6C215591E}"/>
              </a:ext>
            </a:extLst>
          </p:cNvPr>
          <p:cNvSpPr>
            <a:spLocks noGrp="1"/>
          </p:cNvSpPr>
          <p:nvPr>
            <p:ph type="body" sz="quarter" idx="39"/>
          </p:nvPr>
        </p:nvSpPr>
        <p:spPr>
          <a:xfrm>
            <a:off x="7520214" y="4049075"/>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Optimizing return on ad spend and ad placement</a:t>
            </a:r>
          </a:p>
          <a:p>
            <a:pPr>
              <a:lnSpc>
                <a:spcPct val="90000"/>
              </a:lnSpc>
              <a:spcAft>
                <a:spcPts val="0"/>
              </a:spcAft>
            </a:pPr>
            <a:r>
              <a:rPr lang="en-US" dirty="0">
                <a:sym typeface="Source Sans Pro Light"/>
              </a:rPr>
              <a:t>Multi-channel promotion</a:t>
            </a:r>
          </a:p>
          <a:p>
            <a:pPr>
              <a:lnSpc>
                <a:spcPct val="90000"/>
              </a:lnSpc>
              <a:spcAft>
                <a:spcPts val="0"/>
              </a:spcAft>
            </a:pPr>
            <a:r>
              <a:rPr lang="en-US" dirty="0">
                <a:sym typeface="Source Sans Pro Light"/>
              </a:rPr>
              <a:t>Ideal customer traits</a:t>
            </a:r>
          </a:p>
          <a:p>
            <a:pPr>
              <a:lnSpc>
                <a:spcPct val="90000"/>
              </a:lnSpc>
              <a:spcAft>
                <a:spcPts val="0"/>
              </a:spcAft>
            </a:pPr>
            <a:r>
              <a:rPr lang="en-US" dirty="0">
                <a:sym typeface="Source Sans Pro Light"/>
              </a:rPr>
              <a:t>Optimized ad placement</a:t>
            </a:r>
          </a:p>
        </p:txBody>
      </p:sp>
      <p:sp>
        <p:nvSpPr>
          <p:cNvPr id="53" name="Text Placeholder 52">
            <a:extLst>
              <a:ext uri="{FF2B5EF4-FFF2-40B4-BE49-F238E27FC236}">
                <a16:creationId xmlns:a16="http://schemas.microsoft.com/office/drawing/2014/main" id="{6BC125DE-8C06-4CFE-8F29-6F378B4BFC9A}"/>
              </a:ext>
            </a:extLst>
          </p:cNvPr>
          <p:cNvSpPr>
            <a:spLocks noGrp="1"/>
          </p:cNvSpPr>
          <p:nvPr>
            <p:ph type="body" sz="quarter" idx="40"/>
          </p:nvPr>
        </p:nvSpPr>
        <p:spPr>
          <a:xfrm>
            <a:off x="9876858"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Opinion mining/social</a:t>
            </a:r>
            <a:br>
              <a:rPr lang="en-US" dirty="0">
                <a:sym typeface="Source Sans Pro Light"/>
              </a:rPr>
            </a:br>
            <a:r>
              <a:rPr lang="en-US" dirty="0">
                <a:sym typeface="Source Sans Pro Light"/>
              </a:rPr>
              <a:t>media analysis</a:t>
            </a:r>
          </a:p>
          <a:p>
            <a:pPr>
              <a:lnSpc>
                <a:spcPct val="90000"/>
              </a:lnSpc>
              <a:spcAft>
                <a:spcPts val="0"/>
              </a:spcAft>
            </a:pPr>
            <a:r>
              <a:rPr lang="en-US" dirty="0">
                <a:sym typeface="Source Sans Pro Light"/>
              </a:rPr>
              <a:t>Deeper customer insights</a:t>
            </a:r>
          </a:p>
          <a:p>
            <a:pPr>
              <a:lnSpc>
                <a:spcPct val="90000"/>
              </a:lnSpc>
              <a:spcAft>
                <a:spcPts val="0"/>
              </a:spcAft>
            </a:pPr>
            <a:r>
              <a:rPr lang="en-US" dirty="0">
                <a:sym typeface="Source Sans Pro Light"/>
              </a:rPr>
              <a:t>Customer loyalty programs</a:t>
            </a:r>
          </a:p>
          <a:p>
            <a:pPr>
              <a:lnSpc>
                <a:spcPct val="90000"/>
              </a:lnSpc>
              <a:spcAft>
                <a:spcPts val="0"/>
              </a:spcAft>
            </a:pPr>
            <a:r>
              <a:rPr lang="en-US" dirty="0">
                <a:sym typeface="Source Sans Pro Light"/>
              </a:rPr>
              <a:t>Shopping cart analysis</a:t>
            </a:r>
          </a:p>
        </p:txBody>
      </p:sp>
      <p:sp>
        <p:nvSpPr>
          <p:cNvPr id="54" name="Text Placeholder 53">
            <a:extLst>
              <a:ext uri="{FF2B5EF4-FFF2-40B4-BE49-F238E27FC236}">
                <a16:creationId xmlns:a16="http://schemas.microsoft.com/office/drawing/2014/main" id="{C707A446-4976-47BB-A329-4D5F165BC124}"/>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p:txBody>
      </p:sp>
      <p:sp>
        <p:nvSpPr>
          <p:cNvPr id="24" name="Text Placeholder 23">
            <a:extLst>
              <a:ext uri="{FF2B5EF4-FFF2-40B4-BE49-F238E27FC236}">
                <a16:creationId xmlns:a16="http://schemas.microsoft.com/office/drawing/2014/main" id="{8BAEED4E-EAF7-466C-BAA7-6FE861885006}"/>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Effective customer engagement</a:t>
            </a:r>
          </a:p>
        </p:txBody>
      </p:sp>
      <p:sp>
        <p:nvSpPr>
          <p:cNvPr id="25" name="Text Placeholder 24">
            <a:extLst>
              <a:ext uri="{FF2B5EF4-FFF2-40B4-BE49-F238E27FC236}">
                <a16:creationId xmlns:a16="http://schemas.microsoft.com/office/drawing/2014/main" id="{8479218F-EAF4-419A-ADBB-33810DBF464D}"/>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Recommendation</a:t>
            </a:r>
            <a:br>
              <a:rPr lang="en-US" dirty="0">
                <a:latin typeface="+mj-lt"/>
                <a:sym typeface="Source Sans Pro"/>
              </a:rPr>
            </a:br>
            <a:r>
              <a:rPr lang="en-US" dirty="0">
                <a:latin typeface="+mj-lt"/>
                <a:sym typeface="Source Sans Pro"/>
              </a:rPr>
              <a:t>engine</a:t>
            </a:r>
          </a:p>
        </p:txBody>
      </p:sp>
      <p:sp>
        <p:nvSpPr>
          <p:cNvPr id="26" name="Text Placeholder 25">
            <a:extLst>
              <a:ext uri="{FF2B5EF4-FFF2-40B4-BE49-F238E27FC236}">
                <a16:creationId xmlns:a16="http://schemas.microsoft.com/office/drawing/2014/main" id="{5A637753-2700-41F9-A122-1779E0716B3A}"/>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Risk and fraud</a:t>
            </a:r>
            <a:br>
              <a:rPr lang="en-US" dirty="0">
                <a:latin typeface="+mj-lt"/>
                <a:sym typeface="Source Sans Pro"/>
              </a:rPr>
            </a:br>
            <a:r>
              <a:rPr lang="en-US" dirty="0">
                <a:latin typeface="+mj-lt"/>
                <a:sym typeface="Source Sans Pro"/>
              </a:rPr>
              <a:t>analysis</a:t>
            </a:r>
          </a:p>
        </p:txBody>
      </p:sp>
      <p:sp>
        <p:nvSpPr>
          <p:cNvPr id="27" name="Text Placeholder 26">
            <a:extLst>
              <a:ext uri="{FF2B5EF4-FFF2-40B4-BE49-F238E27FC236}">
                <a16:creationId xmlns:a16="http://schemas.microsoft.com/office/drawing/2014/main" id="{87DB9E6B-B1D5-446E-950B-F5944BF2A060}"/>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Campaign reporting analytics</a:t>
            </a:r>
          </a:p>
        </p:txBody>
      </p:sp>
      <p:sp>
        <p:nvSpPr>
          <p:cNvPr id="28" name="Text Placeholder 27">
            <a:extLst>
              <a:ext uri="{FF2B5EF4-FFF2-40B4-BE49-F238E27FC236}">
                <a16:creationId xmlns:a16="http://schemas.microsoft.com/office/drawing/2014/main" id="{3D96D23B-42FE-48D9-98C2-4E800A972B89}"/>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Brand promotion and customer experience</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Advertising and marketing tech use cases</a:t>
            </a:r>
          </a:p>
        </p:txBody>
      </p:sp>
      <p:grpSp>
        <p:nvGrpSpPr>
          <p:cNvPr id="86" name="Group 85">
            <a:extLst>
              <a:ext uri="{FF2B5EF4-FFF2-40B4-BE49-F238E27FC236}">
                <a16:creationId xmlns:a16="http://schemas.microsoft.com/office/drawing/2014/main" id="{FCB05FB0-570F-48AD-BEE0-F5ABC36B6B98}"/>
              </a:ext>
            </a:extLst>
          </p:cNvPr>
          <p:cNvGrpSpPr/>
          <p:nvPr/>
        </p:nvGrpSpPr>
        <p:grpSpPr>
          <a:xfrm>
            <a:off x="5923613" y="3062056"/>
            <a:ext cx="344554" cy="353332"/>
            <a:chOff x="5554831" y="1573241"/>
            <a:chExt cx="620902" cy="636720"/>
          </a:xfrm>
        </p:grpSpPr>
        <p:grpSp>
          <p:nvGrpSpPr>
            <p:cNvPr id="88" name="Group 87">
              <a:extLst>
                <a:ext uri="{FF2B5EF4-FFF2-40B4-BE49-F238E27FC236}">
                  <a16:creationId xmlns:a16="http://schemas.microsoft.com/office/drawing/2014/main" id="{EAE55541-D4BC-4F87-9EBA-B8AD47A39C31}"/>
                </a:ext>
              </a:extLst>
            </p:cNvPr>
            <p:cNvGrpSpPr/>
            <p:nvPr/>
          </p:nvGrpSpPr>
          <p:grpSpPr>
            <a:xfrm>
              <a:off x="5554831" y="1573241"/>
              <a:ext cx="512452" cy="510272"/>
              <a:chOff x="5476165" y="1546499"/>
              <a:chExt cx="616996" cy="614371"/>
            </a:xfrm>
          </p:grpSpPr>
          <p:sp>
            <p:nvSpPr>
              <p:cNvPr id="94" name="Freeform 22">
                <a:extLst>
                  <a:ext uri="{FF2B5EF4-FFF2-40B4-BE49-F238E27FC236}">
                    <a16:creationId xmlns:a16="http://schemas.microsoft.com/office/drawing/2014/main" id="{15DFD7FA-BE1A-4ECD-9783-B80C0D6840C3}"/>
                  </a:ext>
                </a:extLst>
              </p:cNvPr>
              <p:cNvSpPr>
                <a:spLocks/>
              </p:cNvSpPr>
              <p:nvPr/>
            </p:nvSpPr>
            <p:spPr bwMode="auto">
              <a:xfrm>
                <a:off x="5777962" y="1712554"/>
                <a:ext cx="107676" cy="205762"/>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0F8D69C5-6376-4E24-9786-B91E3760650C}"/>
                  </a:ext>
                </a:extLst>
              </p:cNvPr>
              <p:cNvGrpSpPr/>
              <p:nvPr/>
            </p:nvGrpSpPr>
            <p:grpSpPr>
              <a:xfrm rot="18900000">
                <a:off x="5509859" y="1570321"/>
                <a:ext cx="576577" cy="539028"/>
                <a:chOff x="5509859" y="1587706"/>
                <a:chExt cx="576577" cy="539028"/>
              </a:xfrm>
            </p:grpSpPr>
            <p:sp>
              <p:nvSpPr>
                <p:cNvPr id="100" name="Freeform: Shape 574">
                  <a:extLst>
                    <a:ext uri="{FF2B5EF4-FFF2-40B4-BE49-F238E27FC236}">
                      <a16:creationId xmlns:a16="http://schemas.microsoft.com/office/drawing/2014/main" id="{F4D29F6C-6FF4-4E9E-B057-43B13555361B}"/>
                    </a:ext>
                  </a:extLst>
                </p:cNvPr>
                <p:cNvSpPr/>
                <p:nvPr/>
              </p:nvSpPr>
              <p:spPr bwMode="auto">
                <a:xfrm>
                  <a:off x="5509859" y="1587706"/>
                  <a:ext cx="539050" cy="539028"/>
                </a:xfrm>
                <a:custGeom>
                  <a:avLst/>
                  <a:gdLst>
                    <a:gd name="connsiteX0" fmla="*/ 1818566 w 3637132"/>
                    <a:gd name="connsiteY0" fmla="*/ 0 h 3637122"/>
                    <a:gd name="connsiteX1" fmla="*/ 3494220 w 3637132"/>
                    <a:gd name="connsiteY1" fmla="*/ 1110695 h 3637122"/>
                    <a:gd name="connsiteX2" fmla="*/ 3515730 w 3637132"/>
                    <a:gd name="connsiteY2" fmla="*/ 1169464 h 3637122"/>
                    <a:gd name="connsiteX3" fmla="*/ 3313065 w 3637132"/>
                    <a:gd name="connsiteY3" fmla="*/ 1227711 h 3637122"/>
                    <a:gd name="connsiteX4" fmla="*/ 3433228 w 3637132"/>
                    <a:gd name="connsiteY4" fmla="*/ 1645807 h 3637122"/>
                    <a:gd name="connsiteX5" fmla="*/ 3621497 w 3637132"/>
                    <a:gd name="connsiteY5" fmla="*/ 1591698 h 3637122"/>
                    <a:gd name="connsiteX6" fmla="*/ 3627743 w 3637132"/>
                    <a:gd name="connsiteY6" fmla="*/ 1632624 h 3637122"/>
                    <a:gd name="connsiteX7" fmla="*/ 3637132 w 3637132"/>
                    <a:gd name="connsiteY7" fmla="*/ 1818561 h 3637122"/>
                    <a:gd name="connsiteX8" fmla="*/ 1818566 w 3637132"/>
                    <a:gd name="connsiteY8" fmla="*/ 3637122 h 3637122"/>
                    <a:gd name="connsiteX9" fmla="*/ 0 w 3637132"/>
                    <a:gd name="connsiteY9" fmla="*/ 1818561 h 3637122"/>
                    <a:gd name="connsiteX10" fmla="*/ 1818566 w 3637132"/>
                    <a:gd name="connsiteY10" fmla="*/ 0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10" fmla="*/ 3524668 w 3637132"/>
                    <a:gd name="connsiteY10" fmla="*/ 1737247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0" fmla="*/ 3621497 w 3637132"/>
                    <a:gd name="connsiteY0" fmla="*/ 15916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637132"/>
                    <a:gd name="connsiteY0" fmla="*/ 15535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769809"/>
                    <a:gd name="connsiteY0" fmla="*/ 1553598 h 3637122"/>
                    <a:gd name="connsiteX1" fmla="*/ 3627743 w 3769809"/>
                    <a:gd name="connsiteY1" fmla="*/ 1632624 h 3637122"/>
                    <a:gd name="connsiteX2" fmla="*/ 3637132 w 3769809"/>
                    <a:gd name="connsiteY2" fmla="*/ 1818561 h 3637122"/>
                    <a:gd name="connsiteX3" fmla="*/ 1818566 w 3769809"/>
                    <a:gd name="connsiteY3" fmla="*/ 3637122 h 3637122"/>
                    <a:gd name="connsiteX4" fmla="*/ 0 w 3769809"/>
                    <a:gd name="connsiteY4" fmla="*/ 1818561 h 3637122"/>
                    <a:gd name="connsiteX5" fmla="*/ 1818566 w 3769809"/>
                    <a:gd name="connsiteY5" fmla="*/ 0 h 3637122"/>
                    <a:gd name="connsiteX6" fmla="*/ 3494220 w 3769809"/>
                    <a:gd name="connsiteY6" fmla="*/ 1110695 h 3637122"/>
                    <a:gd name="connsiteX0" fmla="*/ 3607890 w 3637182"/>
                    <a:gd name="connsiteY0" fmla="*/ 1553598 h 3637122"/>
                    <a:gd name="connsiteX1" fmla="*/ 3627743 w 3637182"/>
                    <a:gd name="connsiteY1" fmla="*/ 1632624 h 3637122"/>
                    <a:gd name="connsiteX2" fmla="*/ 3637132 w 3637182"/>
                    <a:gd name="connsiteY2" fmla="*/ 1818561 h 3637122"/>
                    <a:gd name="connsiteX3" fmla="*/ 1818566 w 3637182"/>
                    <a:gd name="connsiteY3" fmla="*/ 3637122 h 3637122"/>
                    <a:gd name="connsiteX4" fmla="*/ 0 w 3637182"/>
                    <a:gd name="connsiteY4" fmla="*/ 1818561 h 3637122"/>
                    <a:gd name="connsiteX5" fmla="*/ 1818566 w 3637182"/>
                    <a:gd name="connsiteY5" fmla="*/ 0 h 3637122"/>
                    <a:gd name="connsiteX6" fmla="*/ 3494220 w 3637182"/>
                    <a:gd name="connsiteY6" fmla="*/ 1110695 h 3637122"/>
                    <a:gd name="connsiteX0" fmla="*/ 3607890 w 3637308"/>
                    <a:gd name="connsiteY0" fmla="*/ 1553598 h 3637122"/>
                    <a:gd name="connsiteX1" fmla="*/ 3627743 w 3637308"/>
                    <a:gd name="connsiteY1" fmla="*/ 1632624 h 3637122"/>
                    <a:gd name="connsiteX2" fmla="*/ 3637132 w 3637308"/>
                    <a:gd name="connsiteY2" fmla="*/ 1818561 h 3637122"/>
                    <a:gd name="connsiteX3" fmla="*/ 1818566 w 3637308"/>
                    <a:gd name="connsiteY3" fmla="*/ 3637122 h 3637122"/>
                    <a:gd name="connsiteX4" fmla="*/ 0 w 3637308"/>
                    <a:gd name="connsiteY4" fmla="*/ 1818561 h 3637122"/>
                    <a:gd name="connsiteX5" fmla="*/ 1818566 w 3637308"/>
                    <a:gd name="connsiteY5" fmla="*/ 0 h 3637122"/>
                    <a:gd name="connsiteX6" fmla="*/ 3494220 w 3637308"/>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768823"/>
                    <a:gd name="connsiteY0" fmla="*/ 1553598 h 3637122"/>
                    <a:gd name="connsiteX1" fmla="*/ 3622300 w 3768823"/>
                    <a:gd name="connsiteY1" fmla="*/ 1644870 h 3637122"/>
                    <a:gd name="connsiteX2" fmla="*/ 3637132 w 3768823"/>
                    <a:gd name="connsiteY2" fmla="*/ 1818561 h 3637122"/>
                    <a:gd name="connsiteX3" fmla="*/ 1818566 w 3768823"/>
                    <a:gd name="connsiteY3" fmla="*/ 3637122 h 3637122"/>
                    <a:gd name="connsiteX4" fmla="*/ 0 w 3768823"/>
                    <a:gd name="connsiteY4" fmla="*/ 1818561 h 3637122"/>
                    <a:gd name="connsiteX5" fmla="*/ 1818566 w 3768823"/>
                    <a:gd name="connsiteY5" fmla="*/ 0 h 3637122"/>
                    <a:gd name="connsiteX6" fmla="*/ 3494220 w 3768823"/>
                    <a:gd name="connsiteY6" fmla="*/ 1110695 h 3637122"/>
                    <a:gd name="connsiteX0" fmla="*/ 3607890 w 3763734"/>
                    <a:gd name="connsiteY0" fmla="*/ 1553598 h 3637122"/>
                    <a:gd name="connsiteX1" fmla="*/ 3637132 w 3763734"/>
                    <a:gd name="connsiteY1" fmla="*/ 1818561 h 3637122"/>
                    <a:gd name="connsiteX2" fmla="*/ 1818566 w 3763734"/>
                    <a:gd name="connsiteY2" fmla="*/ 3637122 h 3637122"/>
                    <a:gd name="connsiteX3" fmla="*/ 0 w 3763734"/>
                    <a:gd name="connsiteY3" fmla="*/ 1818561 h 3637122"/>
                    <a:gd name="connsiteX4" fmla="*/ 1818566 w 3763734"/>
                    <a:gd name="connsiteY4" fmla="*/ 0 h 3637122"/>
                    <a:gd name="connsiteX5" fmla="*/ 3494220 w 3763734"/>
                    <a:gd name="connsiteY5" fmla="*/ 1110695 h 3637122"/>
                    <a:gd name="connsiteX0" fmla="*/ 3607890 w 3638265"/>
                    <a:gd name="connsiteY0" fmla="*/ 1553598 h 3637122"/>
                    <a:gd name="connsiteX1" fmla="*/ 3637132 w 3638265"/>
                    <a:gd name="connsiteY1" fmla="*/ 1818561 h 3637122"/>
                    <a:gd name="connsiteX2" fmla="*/ 1818566 w 3638265"/>
                    <a:gd name="connsiteY2" fmla="*/ 3637122 h 3637122"/>
                    <a:gd name="connsiteX3" fmla="*/ 0 w 3638265"/>
                    <a:gd name="connsiteY3" fmla="*/ 1818561 h 3637122"/>
                    <a:gd name="connsiteX4" fmla="*/ 1818566 w 3638265"/>
                    <a:gd name="connsiteY4" fmla="*/ 0 h 3637122"/>
                    <a:gd name="connsiteX5" fmla="*/ 3494220 w 3638265"/>
                    <a:gd name="connsiteY5" fmla="*/ 1110695 h 3637122"/>
                    <a:gd name="connsiteX0" fmla="*/ 3607890 w 3637703"/>
                    <a:gd name="connsiteY0" fmla="*/ 1553598 h 3637122"/>
                    <a:gd name="connsiteX1" fmla="*/ 3637132 w 3637703"/>
                    <a:gd name="connsiteY1" fmla="*/ 1818561 h 3637122"/>
                    <a:gd name="connsiteX2" fmla="*/ 1818566 w 3637703"/>
                    <a:gd name="connsiteY2" fmla="*/ 3637122 h 3637122"/>
                    <a:gd name="connsiteX3" fmla="*/ 0 w 3637703"/>
                    <a:gd name="connsiteY3" fmla="*/ 1818561 h 3637122"/>
                    <a:gd name="connsiteX4" fmla="*/ 1818566 w 3637703"/>
                    <a:gd name="connsiteY4" fmla="*/ 0 h 3637122"/>
                    <a:gd name="connsiteX5" fmla="*/ 3494220 w 3637703"/>
                    <a:gd name="connsiteY5" fmla="*/ 1110695 h 3637122"/>
                    <a:gd name="connsiteX0" fmla="*/ 3607890 w 3640299"/>
                    <a:gd name="connsiteY0" fmla="*/ 1553598 h 3637122"/>
                    <a:gd name="connsiteX1" fmla="*/ 3637132 w 3640299"/>
                    <a:gd name="connsiteY1" fmla="*/ 1818561 h 3637122"/>
                    <a:gd name="connsiteX2" fmla="*/ 1818566 w 3640299"/>
                    <a:gd name="connsiteY2" fmla="*/ 3637122 h 3637122"/>
                    <a:gd name="connsiteX3" fmla="*/ 0 w 3640299"/>
                    <a:gd name="connsiteY3" fmla="*/ 1818561 h 3637122"/>
                    <a:gd name="connsiteX4" fmla="*/ 1818566 w 3640299"/>
                    <a:gd name="connsiteY4" fmla="*/ 0 h 3637122"/>
                    <a:gd name="connsiteX5" fmla="*/ 3494220 w 3640299"/>
                    <a:gd name="connsiteY5" fmla="*/ 1110695 h 3637122"/>
                    <a:gd name="connsiteX0" fmla="*/ 3607890 w 3638051"/>
                    <a:gd name="connsiteY0" fmla="*/ 1553598 h 3637122"/>
                    <a:gd name="connsiteX1" fmla="*/ 3637132 w 3638051"/>
                    <a:gd name="connsiteY1" fmla="*/ 1818561 h 3637122"/>
                    <a:gd name="connsiteX2" fmla="*/ 1818566 w 3638051"/>
                    <a:gd name="connsiteY2" fmla="*/ 3637122 h 3637122"/>
                    <a:gd name="connsiteX3" fmla="*/ 0 w 3638051"/>
                    <a:gd name="connsiteY3" fmla="*/ 1818561 h 3637122"/>
                    <a:gd name="connsiteX4" fmla="*/ 1818566 w 3638051"/>
                    <a:gd name="connsiteY4" fmla="*/ 0 h 3637122"/>
                    <a:gd name="connsiteX5" fmla="*/ 3494220 w 3638051"/>
                    <a:gd name="connsiteY5" fmla="*/ 1110695 h 3637122"/>
                    <a:gd name="connsiteX0" fmla="*/ 3607890 w 3638126"/>
                    <a:gd name="connsiteY0" fmla="*/ 1553598 h 3637122"/>
                    <a:gd name="connsiteX1" fmla="*/ 3637132 w 3638126"/>
                    <a:gd name="connsiteY1" fmla="*/ 1818561 h 3637122"/>
                    <a:gd name="connsiteX2" fmla="*/ 1818566 w 3638126"/>
                    <a:gd name="connsiteY2" fmla="*/ 3637122 h 3637122"/>
                    <a:gd name="connsiteX3" fmla="*/ 0 w 3638126"/>
                    <a:gd name="connsiteY3" fmla="*/ 1818561 h 3637122"/>
                    <a:gd name="connsiteX4" fmla="*/ 1818566 w 3638126"/>
                    <a:gd name="connsiteY4" fmla="*/ 0 h 3637122"/>
                    <a:gd name="connsiteX5" fmla="*/ 3494220 w 3638126"/>
                    <a:gd name="connsiteY5" fmla="*/ 1110695 h 3637122"/>
                    <a:gd name="connsiteX0" fmla="*/ 3607890 w 3637135"/>
                    <a:gd name="connsiteY0" fmla="*/ 1553598 h 3637122"/>
                    <a:gd name="connsiteX1" fmla="*/ 3637132 w 3637135"/>
                    <a:gd name="connsiteY1" fmla="*/ 1818561 h 3637122"/>
                    <a:gd name="connsiteX2" fmla="*/ 1818566 w 3637135"/>
                    <a:gd name="connsiteY2" fmla="*/ 3637122 h 3637122"/>
                    <a:gd name="connsiteX3" fmla="*/ 0 w 3637135"/>
                    <a:gd name="connsiteY3" fmla="*/ 1818561 h 3637122"/>
                    <a:gd name="connsiteX4" fmla="*/ 1818566 w 3637135"/>
                    <a:gd name="connsiteY4" fmla="*/ 0 h 3637122"/>
                    <a:gd name="connsiteX5" fmla="*/ 3494220 w 3637135"/>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7249" h="3637122">
                      <a:moveTo>
                        <a:pt x="3607890" y="1553598"/>
                      </a:moveTo>
                      <a:cubicBezTo>
                        <a:pt x="3612621" y="1574782"/>
                        <a:pt x="3634961" y="1628548"/>
                        <a:pt x="3637132" y="1818561"/>
                      </a:cubicBezTo>
                      <a:cubicBezTo>
                        <a:pt x="3648549" y="2817888"/>
                        <a:pt x="2822932" y="3637122"/>
                        <a:pt x="1818566" y="3637122"/>
                      </a:cubicBezTo>
                      <a:cubicBezTo>
                        <a:pt x="814200" y="3637122"/>
                        <a:pt x="0" y="2822925"/>
                        <a:pt x="0" y="1818561"/>
                      </a:cubicBezTo>
                      <a:cubicBezTo>
                        <a:pt x="0" y="814197"/>
                        <a:pt x="814200" y="0"/>
                        <a:pt x="1818566" y="0"/>
                      </a:cubicBezTo>
                      <a:cubicBezTo>
                        <a:pt x="2571841" y="0"/>
                        <a:pt x="3218147" y="457986"/>
                        <a:pt x="3494220" y="1110695"/>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1" name="Freeform 36">
                  <a:extLst>
                    <a:ext uri="{FF2B5EF4-FFF2-40B4-BE49-F238E27FC236}">
                      <a16:creationId xmlns:a16="http://schemas.microsoft.com/office/drawing/2014/main" id="{249379F1-CB72-4682-8859-EAB1936F6B59}"/>
                    </a:ext>
                  </a:extLst>
                </p:cNvPr>
                <p:cNvSpPr>
                  <a:spLocks/>
                </p:cNvSpPr>
                <p:nvPr/>
              </p:nvSpPr>
              <p:spPr bwMode="auto">
                <a:xfrm rot="12755080">
                  <a:off x="6020757" y="1829668"/>
                  <a:ext cx="65679" cy="66764"/>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useBgFill="1">
            <p:nvSpPr>
              <p:cNvPr id="96" name="Oval 19">
                <a:extLst>
                  <a:ext uri="{FF2B5EF4-FFF2-40B4-BE49-F238E27FC236}">
                    <a16:creationId xmlns:a16="http://schemas.microsoft.com/office/drawing/2014/main" id="{9CB679E6-7DDE-4F11-A9A8-17FAD48D5F46}"/>
                  </a:ext>
                </a:extLst>
              </p:cNvPr>
              <p:cNvSpPr>
                <a:spLocks noChangeArrowheads="1"/>
              </p:cNvSpPr>
              <p:nvPr/>
            </p:nvSpPr>
            <p:spPr bwMode="auto">
              <a:xfrm>
                <a:off x="5742718" y="154649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7" name="Oval 20">
                <a:extLst>
                  <a:ext uri="{FF2B5EF4-FFF2-40B4-BE49-F238E27FC236}">
                    <a16:creationId xmlns:a16="http://schemas.microsoft.com/office/drawing/2014/main" id="{2FF69ED6-3955-4047-A951-3C8B4097D068}"/>
                  </a:ext>
                </a:extLst>
              </p:cNvPr>
              <p:cNvSpPr>
                <a:spLocks noChangeArrowheads="1"/>
              </p:cNvSpPr>
              <p:nvPr/>
            </p:nvSpPr>
            <p:spPr bwMode="auto">
              <a:xfrm>
                <a:off x="5476165" y="181304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8" name="Oval 21">
                <a:extLst>
                  <a:ext uri="{FF2B5EF4-FFF2-40B4-BE49-F238E27FC236}">
                    <a16:creationId xmlns:a16="http://schemas.microsoft.com/office/drawing/2014/main" id="{FBDA8AA7-5F7C-4EB4-9981-3D7247A57CDF}"/>
                  </a:ext>
                </a:extLst>
              </p:cNvPr>
              <p:cNvSpPr>
                <a:spLocks noChangeArrowheads="1"/>
              </p:cNvSpPr>
              <p:nvPr/>
            </p:nvSpPr>
            <p:spPr bwMode="auto">
              <a:xfrm>
                <a:off x="5742718" y="2087555"/>
                <a:ext cx="73316"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9" name="Oval 20">
                <a:extLst>
                  <a:ext uri="{FF2B5EF4-FFF2-40B4-BE49-F238E27FC236}">
                    <a16:creationId xmlns:a16="http://schemas.microsoft.com/office/drawing/2014/main" id="{E29819D3-E32C-402A-A9A4-CA8347013E5E}"/>
                  </a:ext>
                </a:extLst>
              </p:cNvPr>
              <p:cNvSpPr>
                <a:spLocks noChangeArrowheads="1"/>
              </p:cNvSpPr>
              <p:nvPr/>
            </p:nvSpPr>
            <p:spPr bwMode="auto">
              <a:xfrm>
                <a:off x="6019847" y="1813049"/>
                <a:ext cx="73314" cy="73316"/>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3E0720AA-5416-4D89-931A-90F5775092C9}"/>
                </a:ext>
              </a:extLst>
            </p:cNvPr>
            <p:cNvGrpSpPr/>
            <p:nvPr/>
          </p:nvGrpSpPr>
          <p:grpSpPr>
            <a:xfrm>
              <a:off x="5808260" y="1875872"/>
              <a:ext cx="367473" cy="334089"/>
              <a:chOff x="4530976" y="2990126"/>
              <a:chExt cx="231285" cy="210274"/>
            </a:xfrm>
            <a:solidFill>
              <a:schemeClr val="bg1"/>
            </a:solidFill>
          </p:grpSpPr>
          <p:sp>
            <p:nvSpPr>
              <p:cNvPr id="90" name="Freeform 5">
                <a:extLst>
                  <a:ext uri="{FF2B5EF4-FFF2-40B4-BE49-F238E27FC236}">
                    <a16:creationId xmlns:a16="http://schemas.microsoft.com/office/drawing/2014/main" id="{C66E96E3-0E9A-4A69-986A-6BB872EA1B89}"/>
                  </a:ext>
                </a:extLst>
              </p:cNvPr>
              <p:cNvSpPr>
                <a:spLocks noEditPoints="1"/>
              </p:cNvSpPr>
              <p:nvPr/>
            </p:nvSpPr>
            <p:spPr bwMode="auto">
              <a:xfrm>
                <a:off x="4530976" y="2990126"/>
                <a:ext cx="231285" cy="210274"/>
              </a:xfrm>
              <a:prstGeom prst="triangle">
                <a:avLst/>
              </a:prstGeom>
              <a:grp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1" name="Group 90">
                <a:extLst>
                  <a:ext uri="{FF2B5EF4-FFF2-40B4-BE49-F238E27FC236}">
                    <a16:creationId xmlns:a16="http://schemas.microsoft.com/office/drawing/2014/main" id="{8BBE5B01-E530-4640-B846-29FE3E6F8CCD}"/>
                  </a:ext>
                </a:extLst>
              </p:cNvPr>
              <p:cNvGrpSpPr/>
              <p:nvPr/>
            </p:nvGrpSpPr>
            <p:grpSpPr>
              <a:xfrm>
                <a:off x="4646619" y="3052306"/>
                <a:ext cx="0" cy="122254"/>
                <a:chOff x="4791447" y="2616042"/>
                <a:chExt cx="0" cy="1427764"/>
              </a:xfrm>
              <a:grpFill/>
            </p:grpSpPr>
            <p:cxnSp>
              <p:nvCxnSpPr>
                <p:cNvPr id="92" name="Straight Connector 91">
                  <a:extLst>
                    <a:ext uri="{FF2B5EF4-FFF2-40B4-BE49-F238E27FC236}">
                      <a16:creationId xmlns:a16="http://schemas.microsoft.com/office/drawing/2014/main" id="{9D1817AF-A500-4828-8CF4-B4BF02D131A0}"/>
                    </a:ext>
                  </a:extLst>
                </p:cNvPr>
                <p:cNvCxnSpPr>
                  <a:cxnSpLocks/>
                </p:cNvCxnSpPr>
                <p:nvPr/>
              </p:nvCxnSpPr>
              <p:spPr>
                <a:xfrm>
                  <a:off x="4791447" y="2616042"/>
                  <a:ext cx="0" cy="1030199"/>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2950E9D-7974-4A46-9A2D-A849779AE903}"/>
                    </a:ext>
                  </a:extLst>
                </p:cNvPr>
                <p:cNvCxnSpPr>
                  <a:cxnSpLocks/>
                </p:cNvCxnSpPr>
                <p:nvPr/>
              </p:nvCxnSpPr>
              <p:spPr>
                <a:xfrm>
                  <a:off x="4791447" y="3793908"/>
                  <a:ext cx="0" cy="249898"/>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02" name="Group 101">
            <a:extLst>
              <a:ext uri="{FF2B5EF4-FFF2-40B4-BE49-F238E27FC236}">
                <a16:creationId xmlns:a16="http://schemas.microsoft.com/office/drawing/2014/main" id="{68674910-3815-4FF3-8F8C-717829E62C7A}"/>
              </a:ext>
            </a:extLst>
          </p:cNvPr>
          <p:cNvGrpSpPr/>
          <p:nvPr/>
        </p:nvGrpSpPr>
        <p:grpSpPr>
          <a:xfrm>
            <a:off x="8288795" y="3062056"/>
            <a:ext cx="307945" cy="353333"/>
            <a:chOff x="7734698" y="1556648"/>
            <a:chExt cx="489904" cy="562111"/>
          </a:xfrm>
        </p:grpSpPr>
        <p:grpSp>
          <p:nvGrpSpPr>
            <p:cNvPr id="103" name="Group 4">
              <a:extLst>
                <a:ext uri="{FF2B5EF4-FFF2-40B4-BE49-F238E27FC236}">
                  <a16:creationId xmlns:a16="http://schemas.microsoft.com/office/drawing/2014/main" id="{A46AF036-EA66-44B2-9C91-59484283EEF1}"/>
                </a:ext>
              </a:extLst>
            </p:cNvPr>
            <p:cNvGrpSpPr>
              <a:grpSpLocks noChangeAspect="1"/>
            </p:cNvGrpSpPr>
            <p:nvPr/>
          </p:nvGrpSpPr>
          <p:grpSpPr bwMode="auto">
            <a:xfrm>
              <a:off x="7734698" y="1816929"/>
              <a:ext cx="489904" cy="301830"/>
              <a:chOff x="1759" y="236"/>
              <a:chExt cx="287" cy="246"/>
            </a:xfrm>
            <a:noFill/>
          </p:grpSpPr>
          <p:sp>
            <p:nvSpPr>
              <p:cNvPr id="107" name="Freeform 5">
                <a:extLst>
                  <a:ext uri="{FF2B5EF4-FFF2-40B4-BE49-F238E27FC236}">
                    <a16:creationId xmlns:a16="http://schemas.microsoft.com/office/drawing/2014/main" id="{F1FE18CF-8554-4A14-A319-CD0E4F74CF3D}"/>
                  </a:ext>
                </a:extLst>
              </p:cNvPr>
              <p:cNvSpPr>
                <a:spLocks/>
              </p:cNvSpPr>
              <p:nvPr/>
            </p:nvSpPr>
            <p:spPr bwMode="auto">
              <a:xfrm>
                <a:off x="1759" y="236"/>
                <a:ext cx="287"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 name="Rectangle 6">
                <a:extLst>
                  <a:ext uri="{FF2B5EF4-FFF2-40B4-BE49-F238E27FC236}">
                    <a16:creationId xmlns:a16="http://schemas.microsoft.com/office/drawing/2014/main" id="{CDEED6E2-DF8A-4621-BD36-B7581EA8B850}"/>
                  </a:ext>
                </a:extLst>
              </p:cNvPr>
              <p:cNvSpPr>
                <a:spLocks noChangeArrowheads="1"/>
              </p:cNvSpPr>
              <p:nvPr/>
            </p:nvSpPr>
            <p:spPr bwMode="auto">
              <a:xfrm>
                <a:off x="1786" y="400"/>
                <a:ext cx="32" cy="82"/>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A3BDED0B-5959-4777-9145-C70B28AC3E5A}"/>
                  </a:ext>
                </a:extLst>
              </p:cNvPr>
              <p:cNvSpPr>
                <a:spLocks noChangeArrowheads="1"/>
              </p:cNvSpPr>
              <p:nvPr/>
            </p:nvSpPr>
            <p:spPr bwMode="auto">
              <a:xfrm>
                <a:off x="1849" y="345"/>
                <a:ext cx="33" cy="13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861CB158-D878-461E-9D5E-A3C5C2E5C390}"/>
                  </a:ext>
                </a:extLst>
              </p:cNvPr>
              <p:cNvSpPr>
                <a:spLocks noChangeArrowheads="1"/>
              </p:cNvSpPr>
              <p:nvPr/>
            </p:nvSpPr>
            <p:spPr bwMode="auto">
              <a:xfrm>
                <a:off x="1913" y="294"/>
                <a:ext cx="33" cy="188"/>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6" name="Rectangle 8">
                <a:extLst>
                  <a:ext uri="{FF2B5EF4-FFF2-40B4-BE49-F238E27FC236}">
                    <a16:creationId xmlns:a16="http://schemas.microsoft.com/office/drawing/2014/main" id="{FBA90097-FAE9-416E-B1B3-9DCBBC75C8CC}"/>
                  </a:ext>
                </a:extLst>
              </p:cNvPr>
              <p:cNvSpPr>
                <a:spLocks noChangeArrowheads="1"/>
              </p:cNvSpPr>
              <p:nvPr/>
            </p:nvSpPr>
            <p:spPr bwMode="auto">
              <a:xfrm>
                <a:off x="1982" y="239"/>
                <a:ext cx="33" cy="24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4" name="Group 103">
              <a:extLst>
                <a:ext uri="{FF2B5EF4-FFF2-40B4-BE49-F238E27FC236}">
                  <a16:creationId xmlns:a16="http://schemas.microsoft.com/office/drawing/2014/main" id="{4FDC190E-399E-4F1F-BE41-037002534D46}"/>
                </a:ext>
              </a:extLst>
            </p:cNvPr>
            <p:cNvGrpSpPr/>
            <p:nvPr/>
          </p:nvGrpSpPr>
          <p:grpSpPr>
            <a:xfrm>
              <a:off x="8085089" y="1556648"/>
              <a:ext cx="116862" cy="207428"/>
              <a:chOff x="2296629" y="5773055"/>
              <a:chExt cx="156090" cy="277059"/>
            </a:xfrm>
          </p:grpSpPr>
          <p:sp>
            <p:nvSpPr>
              <p:cNvPr id="105" name="Freeform 7">
                <a:extLst>
                  <a:ext uri="{FF2B5EF4-FFF2-40B4-BE49-F238E27FC236}">
                    <a16:creationId xmlns:a16="http://schemas.microsoft.com/office/drawing/2014/main" id="{FB3FF502-449F-4D38-81AE-3C49D18ACC3F}"/>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8">
                <a:extLst>
                  <a:ext uri="{FF2B5EF4-FFF2-40B4-BE49-F238E27FC236}">
                    <a16:creationId xmlns:a16="http://schemas.microsoft.com/office/drawing/2014/main" id="{95154720-2658-4A9A-89E6-F99A34631A56}"/>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17" name="Group 116">
            <a:extLst>
              <a:ext uri="{FF2B5EF4-FFF2-40B4-BE49-F238E27FC236}">
                <a16:creationId xmlns:a16="http://schemas.microsoft.com/office/drawing/2014/main" id="{DECE71F4-B60C-4F61-AA4B-EB31D324D7DD}"/>
              </a:ext>
            </a:extLst>
          </p:cNvPr>
          <p:cNvGrpSpPr/>
          <p:nvPr/>
        </p:nvGrpSpPr>
        <p:grpSpPr>
          <a:xfrm>
            <a:off x="3529082" y="3059955"/>
            <a:ext cx="412183" cy="357535"/>
            <a:chOff x="3249526" y="1635156"/>
            <a:chExt cx="630282" cy="546718"/>
          </a:xfrm>
        </p:grpSpPr>
        <p:grpSp>
          <p:nvGrpSpPr>
            <p:cNvPr id="118" name="Group 4">
              <a:extLst>
                <a:ext uri="{FF2B5EF4-FFF2-40B4-BE49-F238E27FC236}">
                  <a16:creationId xmlns:a16="http://schemas.microsoft.com/office/drawing/2014/main" id="{5CA3025E-2999-4DC6-91CE-18A7746C77D9}"/>
                </a:ext>
              </a:extLst>
            </p:cNvPr>
            <p:cNvGrpSpPr>
              <a:grpSpLocks noChangeAspect="1"/>
            </p:cNvGrpSpPr>
            <p:nvPr/>
          </p:nvGrpSpPr>
          <p:grpSpPr bwMode="auto">
            <a:xfrm>
              <a:off x="3387070" y="1635156"/>
              <a:ext cx="183914" cy="322183"/>
              <a:chOff x="866" y="3346"/>
              <a:chExt cx="137" cy="240"/>
            </a:xfrm>
          </p:grpSpPr>
          <p:sp>
            <p:nvSpPr>
              <p:cNvPr id="120" name="Freeform 5">
                <a:extLst>
                  <a:ext uri="{FF2B5EF4-FFF2-40B4-BE49-F238E27FC236}">
                    <a16:creationId xmlns:a16="http://schemas.microsoft.com/office/drawing/2014/main" id="{CAC60EB5-9B91-4392-8860-9BE1F9AE119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 name="Freeform 6">
                <a:extLst>
                  <a:ext uri="{FF2B5EF4-FFF2-40B4-BE49-F238E27FC236}">
                    <a16:creationId xmlns:a16="http://schemas.microsoft.com/office/drawing/2014/main" id="{852AED48-CD26-4CEA-BCF4-3E420294C0CE}"/>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3" name="Freeform 7">
                <a:extLst>
                  <a:ext uri="{FF2B5EF4-FFF2-40B4-BE49-F238E27FC236}">
                    <a16:creationId xmlns:a16="http://schemas.microsoft.com/office/drawing/2014/main" id="{953083B8-2C57-4427-A05E-0E15493C64AF}"/>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09662BA1-B1E9-4448-836E-0D463CEA0417}"/>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9" name="graph_2">
              <a:extLst>
                <a:ext uri="{FF2B5EF4-FFF2-40B4-BE49-F238E27FC236}">
                  <a16:creationId xmlns:a16="http://schemas.microsoft.com/office/drawing/2014/main" id="{59066B88-B0BB-466F-AF61-38EB0858E4CC}"/>
                </a:ext>
              </a:extLst>
            </p:cNvPr>
            <p:cNvSpPr>
              <a:spLocks noChangeAspect="1" noEditPoints="1"/>
            </p:cNvSpPr>
            <p:nvPr/>
          </p:nvSpPr>
          <p:spPr bwMode="auto">
            <a:xfrm>
              <a:off x="3249526" y="1812311"/>
              <a:ext cx="630282" cy="369563"/>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4587F856-B6BB-4086-9926-1D3C30BCACC9}"/>
              </a:ext>
            </a:extLst>
          </p:cNvPr>
          <p:cNvGrpSpPr/>
          <p:nvPr/>
        </p:nvGrpSpPr>
        <p:grpSpPr>
          <a:xfrm>
            <a:off x="10451977" y="3074520"/>
            <a:ext cx="709886" cy="328404"/>
            <a:chOff x="5860132" y="2158825"/>
            <a:chExt cx="1089660" cy="504093"/>
          </a:xfrm>
        </p:grpSpPr>
        <p:cxnSp>
          <p:nvCxnSpPr>
            <p:cNvPr id="156" name="Straight Connector 155">
              <a:extLst>
                <a:ext uri="{FF2B5EF4-FFF2-40B4-BE49-F238E27FC236}">
                  <a16:creationId xmlns:a16="http://schemas.microsoft.com/office/drawing/2014/main" id="{C2517B97-A98F-498F-B584-41C5618DEC3E}"/>
                </a:ext>
              </a:extLst>
            </p:cNvPr>
            <p:cNvCxnSpPr>
              <a:cxnSpLocks/>
            </p:cNvCxnSpPr>
            <p:nvPr/>
          </p:nvCxnSpPr>
          <p:spPr>
            <a:xfrm flipH="1">
              <a:off x="6243265" y="2367990"/>
              <a:ext cx="72065" cy="10209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34E6CAA-9A1F-432A-8679-D7FF8AC9C2B7}"/>
                </a:ext>
              </a:extLst>
            </p:cNvPr>
            <p:cNvCxnSpPr>
              <a:cxnSpLocks/>
            </p:cNvCxnSpPr>
            <p:nvPr/>
          </p:nvCxnSpPr>
          <p:spPr>
            <a:xfrm>
              <a:off x="6012060" y="2403641"/>
              <a:ext cx="127230" cy="6643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4C16F16C-D529-476B-9F10-DD05778B9CB3}"/>
                </a:ext>
              </a:extLst>
            </p:cNvPr>
            <p:cNvCxnSpPr>
              <a:cxnSpLocks/>
            </p:cNvCxnSpPr>
            <p:nvPr/>
          </p:nvCxnSpPr>
          <p:spPr>
            <a:xfrm>
              <a:off x="6457245" y="2367990"/>
              <a:ext cx="179480" cy="5080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B6AD017-DABF-4AEB-B5BD-193814421122}"/>
                </a:ext>
              </a:extLst>
            </p:cNvPr>
            <p:cNvCxnSpPr>
              <a:cxnSpLocks/>
            </p:cNvCxnSpPr>
            <p:nvPr/>
          </p:nvCxnSpPr>
          <p:spPr>
            <a:xfrm flipV="1">
              <a:off x="6757516" y="2300856"/>
              <a:ext cx="81437" cy="11794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0" name="Freeform: Shape 442">
              <a:extLst>
                <a:ext uri="{FF2B5EF4-FFF2-40B4-BE49-F238E27FC236}">
                  <a16:creationId xmlns:a16="http://schemas.microsoft.com/office/drawing/2014/main" id="{081E3DFC-2731-40E9-9F0C-C2E32D88B20B}"/>
                </a:ext>
              </a:extLst>
            </p:cNvPr>
            <p:cNvSpPr>
              <a:spLocks/>
            </p:cNvSpPr>
            <p:nvPr/>
          </p:nvSpPr>
          <p:spPr bwMode="auto">
            <a:xfrm>
              <a:off x="6059392" y="247008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Shape 442">
              <a:extLst>
                <a:ext uri="{FF2B5EF4-FFF2-40B4-BE49-F238E27FC236}">
                  <a16:creationId xmlns:a16="http://schemas.microsoft.com/office/drawing/2014/main" id="{4FFB6F18-ABA1-4580-AC84-6489565E1F24}"/>
                </a:ext>
              </a:extLst>
            </p:cNvPr>
            <p:cNvSpPr>
              <a:spLocks/>
            </p:cNvSpPr>
            <p:nvPr/>
          </p:nvSpPr>
          <p:spPr bwMode="auto">
            <a:xfrm>
              <a:off x="5860132" y="226161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Shape 442">
              <a:extLst>
                <a:ext uri="{FF2B5EF4-FFF2-40B4-BE49-F238E27FC236}">
                  <a16:creationId xmlns:a16="http://schemas.microsoft.com/office/drawing/2014/main" id="{60D5145A-4FA5-4FB0-90E7-EFC3D632E06E}"/>
                </a:ext>
              </a:extLst>
            </p:cNvPr>
            <p:cNvSpPr>
              <a:spLocks/>
            </p:cNvSpPr>
            <p:nvPr/>
          </p:nvSpPr>
          <p:spPr bwMode="auto">
            <a:xfrm>
              <a:off x="6295674" y="2225959"/>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Shape 442">
              <a:extLst>
                <a:ext uri="{FF2B5EF4-FFF2-40B4-BE49-F238E27FC236}">
                  <a16:creationId xmlns:a16="http://schemas.microsoft.com/office/drawing/2014/main" id="{1D0AC7B5-0FBE-4565-B1D1-AA022B8952A9}"/>
                </a:ext>
              </a:extLst>
            </p:cNvPr>
            <p:cNvSpPr>
              <a:spLocks/>
            </p:cNvSpPr>
            <p:nvPr/>
          </p:nvSpPr>
          <p:spPr bwMode="auto">
            <a:xfrm>
              <a:off x="6571977" y="2418797"/>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Shape 442">
              <a:extLst>
                <a:ext uri="{FF2B5EF4-FFF2-40B4-BE49-F238E27FC236}">
                  <a16:creationId xmlns:a16="http://schemas.microsoft.com/office/drawing/2014/main" id="{80BF586A-D5CE-4851-BBAE-084D23FAE588}"/>
                </a:ext>
              </a:extLst>
            </p:cNvPr>
            <p:cNvSpPr>
              <a:spLocks/>
            </p:cNvSpPr>
            <p:nvPr/>
          </p:nvSpPr>
          <p:spPr bwMode="auto">
            <a:xfrm>
              <a:off x="6720751" y="2158825"/>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65" name="Group 164">
            <a:extLst>
              <a:ext uri="{FF2B5EF4-FFF2-40B4-BE49-F238E27FC236}">
                <a16:creationId xmlns:a16="http://schemas.microsoft.com/office/drawing/2014/main" id="{BF27DBB2-5A5C-4226-B7DA-B83ED47A5F88}"/>
              </a:ext>
            </a:extLst>
          </p:cNvPr>
          <p:cNvGrpSpPr/>
          <p:nvPr/>
        </p:nvGrpSpPr>
        <p:grpSpPr>
          <a:xfrm>
            <a:off x="1103000" y="3060159"/>
            <a:ext cx="577520" cy="357126"/>
            <a:chOff x="5498099" y="2427768"/>
            <a:chExt cx="1014280" cy="627208"/>
          </a:xfrm>
        </p:grpSpPr>
        <p:sp useBgFill="1">
          <p:nvSpPr>
            <p:cNvPr id="166" name="Freeform 66">
              <a:extLst>
                <a:ext uri="{FF2B5EF4-FFF2-40B4-BE49-F238E27FC236}">
                  <a16:creationId xmlns:a16="http://schemas.microsoft.com/office/drawing/2014/main" id="{6E0DF6C2-0D3F-453E-88D8-D7BA7458F63F}"/>
                </a:ext>
              </a:extLst>
            </p:cNvPr>
            <p:cNvSpPr>
              <a:spLocks noChangeArrowheads="1"/>
            </p:cNvSpPr>
            <p:nvPr/>
          </p:nvSpPr>
          <p:spPr bwMode="auto">
            <a:xfrm>
              <a:off x="5498099" y="2427768"/>
              <a:ext cx="1014280" cy="627208"/>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67" name="Line 73">
              <a:extLst>
                <a:ext uri="{FF2B5EF4-FFF2-40B4-BE49-F238E27FC236}">
                  <a16:creationId xmlns:a16="http://schemas.microsoft.com/office/drawing/2014/main" id="{D60F3D33-D5BE-491C-AD16-9DCE6CD83668}"/>
                </a:ext>
              </a:extLst>
            </p:cNvPr>
            <p:cNvSpPr>
              <a:spLocks noChangeShapeType="1"/>
            </p:cNvSpPr>
            <p:nvPr/>
          </p:nvSpPr>
          <p:spPr bwMode="auto">
            <a:xfrm>
              <a:off x="5618946" y="2903011"/>
              <a:ext cx="14091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68" name="Freeform 5">
              <a:extLst>
                <a:ext uri="{FF2B5EF4-FFF2-40B4-BE49-F238E27FC236}">
                  <a16:creationId xmlns:a16="http://schemas.microsoft.com/office/drawing/2014/main" id="{01FD60E9-BC6E-40EA-9EAE-2CA1BB3AECE1}"/>
                </a:ext>
              </a:extLst>
            </p:cNvPr>
            <p:cNvSpPr>
              <a:spLocks noEditPoints="1"/>
            </p:cNvSpPr>
            <p:nvPr/>
          </p:nvSpPr>
          <p:spPr bwMode="auto">
            <a:xfrm>
              <a:off x="6049280"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69" name="Freeform 5">
              <a:extLst>
                <a:ext uri="{FF2B5EF4-FFF2-40B4-BE49-F238E27FC236}">
                  <a16:creationId xmlns:a16="http://schemas.microsoft.com/office/drawing/2014/main" id="{414BBD13-4C97-4732-A7E3-CAA8B08582CD}"/>
                </a:ext>
              </a:extLst>
            </p:cNvPr>
            <p:cNvSpPr>
              <a:spLocks noEditPoints="1"/>
            </p:cNvSpPr>
            <p:nvPr/>
          </p:nvSpPr>
          <p:spPr bwMode="auto">
            <a:xfrm>
              <a:off x="6177056"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0" name="Freeform 5">
              <a:extLst>
                <a:ext uri="{FF2B5EF4-FFF2-40B4-BE49-F238E27FC236}">
                  <a16:creationId xmlns:a16="http://schemas.microsoft.com/office/drawing/2014/main" id="{312F7EC9-B0A2-4DBC-9B5F-DE42A1CE8DDF}"/>
                </a:ext>
              </a:extLst>
            </p:cNvPr>
            <p:cNvSpPr>
              <a:spLocks noEditPoints="1"/>
            </p:cNvSpPr>
            <p:nvPr/>
          </p:nvSpPr>
          <p:spPr bwMode="auto">
            <a:xfrm>
              <a:off x="6304832"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1" name="Freeform 5">
              <a:extLst>
                <a:ext uri="{FF2B5EF4-FFF2-40B4-BE49-F238E27FC236}">
                  <a16:creationId xmlns:a16="http://schemas.microsoft.com/office/drawing/2014/main" id="{B1FCDC49-E429-4710-8A84-F49D7BB9A643}"/>
                </a:ext>
              </a:extLst>
            </p:cNvPr>
            <p:cNvSpPr>
              <a:spLocks noEditPoints="1"/>
            </p:cNvSpPr>
            <p:nvPr/>
          </p:nvSpPr>
          <p:spPr bwMode="auto">
            <a:xfrm>
              <a:off x="6049280"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2" name="Freeform 5">
              <a:extLst>
                <a:ext uri="{FF2B5EF4-FFF2-40B4-BE49-F238E27FC236}">
                  <a16:creationId xmlns:a16="http://schemas.microsoft.com/office/drawing/2014/main" id="{21007388-E309-4CE8-8A02-11DFAD2A12EA}"/>
                </a:ext>
              </a:extLst>
            </p:cNvPr>
            <p:cNvSpPr>
              <a:spLocks noEditPoints="1"/>
            </p:cNvSpPr>
            <p:nvPr/>
          </p:nvSpPr>
          <p:spPr bwMode="auto">
            <a:xfrm>
              <a:off x="6177056"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3" name="Freeform 5">
              <a:extLst>
                <a:ext uri="{FF2B5EF4-FFF2-40B4-BE49-F238E27FC236}">
                  <a16:creationId xmlns:a16="http://schemas.microsoft.com/office/drawing/2014/main" id="{76E2C78B-39EB-46E4-B526-F41E9DFE2B8D}"/>
                </a:ext>
              </a:extLst>
            </p:cNvPr>
            <p:cNvSpPr>
              <a:spLocks noEditPoints="1"/>
            </p:cNvSpPr>
            <p:nvPr/>
          </p:nvSpPr>
          <p:spPr bwMode="auto">
            <a:xfrm>
              <a:off x="6304832"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4" name="Freeform 5">
              <a:extLst>
                <a:ext uri="{FF2B5EF4-FFF2-40B4-BE49-F238E27FC236}">
                  <a16:creationId xmlns:a16="http://schemas.microsoft.com/office/drawing/2014/main" id="{510959B1-5015-4262-A5AC-6A28645BCC99}"/>
                </a:ext>
              </a:extLst>
            </p:cNvPr>
            <p:cNvSpPr>
              <a:spLocks noEditPoints="1"/>
            </p:cNvSpPr>
            <p:nvPr/>
          </p:nvSpPr>
          <p:spPr bwMode="auto">
            <a:xfrm>
              <a:off x="6049280"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5" name="Freeform 5">
              <a:extLst>
                <a:ext uri="{FF2B5EF4-FFF2-40B4-BE49-F238E27FC236}">
                  <a16:creationId xmlns:a16="http://schemas.microsoft.com/office/drawing/2014/main" id="{CFA37B6F-404B-4A2F-B784-44F053088A68}"/>
                </a:ext>
              </a:extLst>
            </p:cNvPr>
            <p:cNvSpPr>
              <a:spLocks noEditPoints="1"/>
            </p:cNvSpPr>
            <p:nvPr/>
          </p:nvSpPr>
          <p:spPr bwMode="auto">
            <a:xfrm>
              <a:off x="6177056"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6" name="Freeform 5">
              <a:extLst>
                <a:ext uri="{FF2B5EF4-FFF2-40B4-BE49-F238E27FC236}">
                  <a16:creationId xmlns:a16="http://schemas.microsoft.com/office/drawing/2014/main" id="{939A081A-A020-477A-ACCC-2F423D0AEAA1}"/>
                </a:ext>
              </a:extLst>
            </p:cNvPr>
            <p:cNvSpPr>
              <a:spLocks noEditPoints="1"/>
            </p:cNvSpPr>
            <p:nvPr/>
          </p:nvSpPr>
          <p:spPr bwMode="auto">
            <a:xfrm>
              <a:off x="6304832"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useBgFill="1">
          <p:nvSpPr>
            <p:cNvPr id="177" name="Line 74">
              <a:extLst>
                <a:ext uri="{FF2B5EF4-FFF2-40B4-BE49-F238E27FC236}">
                  <a16:creationId xmlns:a16="http://schemas.microsoft.com/office/drawing/2014/main" id="{A98C757E-90AC-4E68-8F3A-9D516F26DEDD}"/>
                </a:ext>
              </a:extLst>
            </p:cNvPr>
            <p:cNvSpPr>
              <a:spLocks noChangeShapeType="1"/>
            </p:cNvSpPr>
            <p:nvPr/>
          </p:nvSpPr>
          <p:spPr bwMode="auto">
            <a:xfrm>
              <a:off x="5618946" y="2961032"/>
              <a:ext cx="21275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78" name="Freeform 75">
              <a:extLst>
                <a:ext uri="{FF2B5EF4-FFF2-40B4-BE49-F238E27FC236}">
                  <a16:creationId xmlns:a16="http://schemas.microsoft.com/office/drawing/2014/main" id="{ACBD63A2-F5E4-4C39-A103-0253F3FA7189}"/>
                </a:ext>
              </a:extLst>
            </p:cNvPr>
            <p:cNvSpPr>
              <a:spLocks noChangeArrowheads="1"/>
            </p:cNvSpPr>
            <p:nvPr/>
          </p:nvSpPr>
          <p:spPr bwMode="auto">
            <a:xfrm>
              <a:off x="5605128" y="2524472"/>
              <a:ext cx="298408" cy="298408"/>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79" name="Partial Circle 178">
              <a:extLst>
                <a:ext uri="{FF2B5EF4-FFF2-40B4-BE49-F238E27FC236}">
                  <a16:creationId xmlns:a16="http://schemas.microsoft.com/office/drawing/2014/main" id="{03C3E927-DC8D-4605-9C1A-CAEDD2373DCD}"/>
                </a:ext>
              </a:extLst>
            </p:cNvPr>
            <p:cNvSpPr/>
            <p:nvPr/>
          </p:nvSpPr>
          <p:spPr bwMode="auto">
            <a:xfrm>
              <a:off x="5605127" y="2524472"/>
              <a:ext cx="298407" cy="298408"/>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0" name="Partial Circle 179">
              <a:extLst>
                <a:ext uri="{FF2B5EF4-FFF2-40B4-BE49-F238E27FC236}">
                  <a16:creationId xmlns:a16="http://schemas.microsoft.com/office/drawing/2014/main" id="{3815E15A-4A9F-4018-8BE6-D8919031BF9E}"/>
                </a:ext>
              </a:extLst>
            </p:cNvPr>
            <p:cNvSpPr/>
            <p:nvPr/>
          </p:nvSpPr>
          <p:spPr bwMode="auto">
            <a:xfrm>
              <a:off x="5605127" y="2524472"/>
              <a:ext cx="298407" cy="298408"/>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41" name="Freeform 3">
            <a:extLst>
              <a:ext uri="{FF2B5EF4-FFF2-40B4-BE49-F238E27FC236}">
                <a16:creationId xmlns:a16="http://schemas.microsoft.com/office/drawing/2014/main" id="{2F702463-E6A4-4CCB-AA58-DF6ECE71CABB}"/>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Freeform 177">
            <a:extLst>
              <a:ext uri="{FF2B5EF4-FFF2-40B4-BE49-F238E27FC236}">
                <a16:creationId xmlns:a16="http://schemas.microsoft.com/office/drawing/2014/main" id="{BB06AC64-F295-4B6D-A0D5-2C8861FE850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Freeform 179">
            <a:extLst>
              <a:ext uri="{FF2B5EF4-FFF2-40B4-BE49-F238E27FC236}">
                <a16:creationId xmlns:a16="http://schemas.microsoft.com/office/drawing/2014/main" id="{A15200E1-27BB-4773-B32C-38A70BC0919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181">
            <a:extLst>
              <a:ext uri="{FF2B5EF4-FFF2-40B4-BE49-F238E27FC236}">
                <a16:creationId xmlns:a16="http://schemas.microsoft.com/office/drawing/2014/main" id="{119E7465-C695-4EC3-95E5-5DA6B1042F4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Freeform 183">
            <a:extLst>
              <a:ext uri="{FF2B5EF4-FFF2-40B4-BE49-F238E27FC236}">
                <a16:creationId xmlns:a16="http://schemas.microsoft.com/office/drawing/2014/main" id="{8061E0BD-E372-449A-82AE-72127251122D}"/>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251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0"/>
                                        </p:tgtEl>
                                        <p:attrNameLst>
                                          <p:attrName>style.visibility</p:attrName>
                                        </p:attrNameLst>
                                      </p:cBhvr>
                                      <p:to>
                                        <p:strVal val="visible"/>
                                      </p:to>
                                    </p:set>
                                    <p:animEffect transition="in" filter="fade">
                                      <p:cBhvr>
                                        <p:cTn id="13" dur="500"/>
                                        <p:tgtEl>
                                          <p:spTgt spid="1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animEffect transition="in" filter="fade">
                                      <p:cBhvr>
                                        <p:cTn id="19" dur="500"/>
                                        <p:tgtEl>
                                          <p:spTgt spid="4">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87"/>
                                        </p:tgtEl>
                                        <p:attrNameLst>
                                          <p:attrName>style.opacity</p:attrName>
                                        </p:attrNameLst>
                                      </p:cBhvr>
                                      <p:to>
                                        <p:strVal val="0.1"/>
                                      </p:to>
                                    </p:set>
                                    <p:animEffect filter="image" prLst="opacity: 0.1">
                                      <p:cBhvr rctx="IE">
                                        <p:cTn id="36" dur="indefinite"/>
                                        <p:tgtEl>
                                          <p:spTgt spid="87"/>
                                        </p:tgtEl>
                                      </p:cBhvr>
                                    </p:animEffect>
                                  </p:childTnLst>
                                </p:cTn>
                              </p:par>
                              <p:par>
                                <p:cTn id="37" presetID="9" presetClass="emph" presetSubtype="0" nodeType="withEffect">
                                  <p:stCondLst>
                                    <p:cond delay="0"/>
                                  </p:stCondLst>
                                  <p:childTnLst>
                                    <p:set>
                                      <p:cBhvr>
                                        <p:cTn id="38" dur="indefinite"/>
                                        <p:tgtEl>
                                          <p:spTgt spid="113"/>
                                        </p:tgtEl>
                                        <p:attrNameLst>
                                          <p:attrName>style.opacity</p:attrName>
                                        </p:attrNameLst>
                                      </p:cBhvr>
                                      <p:to>
                                        <p:strVal val="0.1"/>
                                      </p:to>
                                    </p:set>
                                    <p:animEffect filter="image" prLst="opacity: 0.1">
                                      <p:cBhvr rctx="IE">
                                        <p:cTn id="39" dur="indefinite"/>
                                        <p:tgtEl>
                                          <p:spTgt spid="113"/>
                                        </p:tgtEl>
                                      </p:cBhvr>
                                    </p:animEffect>
                                  </p:childTnLst>
                                </p:cTn>
                              </p:par>
                              <p:par>
                                <p:cTn id="40" presetID="9" presetClass="emph" presetSubtype="0" grpId="1" nodeType="withEffect">
                                  <p:stCondLst>
                                    <p:cond delay="0"/>
                                  </p:stCondLst>
                                  <p:childTnLst>
                                    <p:set>
                                      <p:cBhvr>
                                        <p:cTn id="41" dur="indefinite"/>
                                        <p:tgtEl>
                                          <p:spTgt spid="130"/>
                                        </p:tgtEl>
                                        <p:attrNameLst>
                                          <p:attrName>style.opacity</p:attrName>
                                        </p:attrNameLst>
                                      </p:cBhvr>
                                      <p:to>
                                        <p:strVal val="0.1"/>
                                      </p:to>
                                    </p:set>
                                    <p:animEffect filter="image" prLst="opacity: 0.1">
                                      <p:cBhvr rctx="IE">
                                        <p:cTn id="42" dur="indefinite"/>
                                        <p:tgtEl>
                                          <p:spTgt spid="130"/>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4">
                                            <p:txEl>
                                              <p:pRg st="0" end="0"/>
                                            </p:txEl>
                                          </p:spTgt>
                                        </p:tgtEl>
                                        <p:attrNameLst>
                                          <p:attrName>style.opacity</p:attrName>
                                        </p:attrNameLst>
                                      </p:cBhvr>
                                      <p:to>
                                        <p:strVal val="0.1"/>
                                      </p:to>
                                    </p:set>
                                    <p:animEffect filter="image" prLst="opacity: 0.1">
                                      <p:cBhvr rctx="IE">
                                        <p:cTn id="48" dur="indefinite"/>
                                        <p:tgtEl>
                                          <p:spTgt spid="4">
                                            <p:txEl>
                                              <p:pRg st="0" end="0"/>
                                            </p:txEl>
                                          </p:spTgt>
                                        </p:tgtEl>
                                      </p:cBhvr>
                                    </p:animEffect>
                                  </p:childTnLst>
                                </p:cTn>
                              </p:par>
                              <p:par>
                                <p:cTn id="49" presetID="9" presetClass="emph" presetSubtype="0" grpId="1" nodeType="withEffect">
                                  <p:stCondLst>
                                    <p:cond delay="0"/>
                                  </p:stCondLst>
                                  <p:childTnLst>
                                    <p:set>
                                      <p:cBhvr>
                                        <p:cTn id="50" dur="indefinite"/>
                                        <p:tgtEl>
                                          <p:spTgt spid="45"/>
                                        </p:tgtEl>
                                        <p:attrNameLst>
                                          <p:attrName>style.opacity</p:attrName>
                                        </p:attrNameLst>
                                      </p:cBhvr>
                                      <p:to>
                                        <p:strVal val="0.1"/>
                                      </p:to>
                                    </p:set>
                                    <p:animEffect filter="image" prLst="opacity: 0.1">
                                      <p:cBhvr rctx="IE">
                                        <p:cTn id="51" dur="indefinite"/>
                                        <p:tgtEl>
                                          <p:spTgt spid="45"/>
                                        </p:tgtEl>
                                      </p:cBhvr>
                                    </p:animEffect>
                                  </p:childTnLst>
                                </p:cTn>
                              </p:par>
                              <p:par>
                                <p:cTn id="52" presetID="9" presetClass="emph" presetSubtype="0" grpId="1" nodeType="withEffect">
                                  <p:stCondLst>
                                    <p:cond delay="0"/>
                                  </p:stCondLst>
                                  <p:childTnLst>
                                    <p:set>
                                      <p:cBhvr>
                                        <p:cTn id="53" dur="indefinite"/>
                                        <p:tgtEl>
                                          <p:spTgt spid="49"/>
                                        </p:tgtEl>
                                        <p:attrNameLst>
                                          <p:attrName>style.opacity</p:attrName>
                                        </p:attrNameLst>
                                      </p:cBhvr>
                                      <p:to>
                                        <p:strVal val="0.1"/>
                                      </p:to>
                                    </p:set>
                                    <p:animEffect filter="image" prLst="opacity: 0.1">
                                      <p:cBhvr rctx="IE">
                                        <p:cTn id="54" dur="indefinite"/>
                                        <p:tgtEl>
                                          <p:spTgt spid="49"/>
                                        </p:tgtEl>
                                      </p:cBhvr>
                                    </p:animEffect>
                                  </p:childTnLst>
                                </p:cTn>
                              </p:par>
                              <p:par>
                                <p:cTn id="55" presetID="9" presetClass="emph" presetSubtype="0" grpId="1" nodeType="withEffect">
                                  <p:stCondLst>
                                    <p:cond delay="0"/>
                                  </p:stCondLst>
                                  <p:childTnLst>
                                    <p:set>
                                      <p:cBhvr>
                                        <p:cTn id="56" dur="indefinite"/>
                                        <p:tgtEl>
                                          <p:spTgt spid="24">
                                            <p:txEl>
                                              <p:pRg st="0" end="0"/>
                                            </p:txEl>
                                          </p:spTgt>
                                        </p:tgtEl>
                                        <p:attrNameLst>
                                          <p:attrName>style.opacity</p:attrName>
                                        </p:attrNameLst>
                                      </p:cBhvr>
                                      <p:to>
                                        <p:strVal val="0.1"/>
                                      </p:to>
                                    </p:set>
                                    <p:animEffect filter="image" prLst="opacity: 0.1">
                                      <p:cBhvr rctx="IE">
                                        <p:cTn id="57" dur="indefinite"/>
                                        <p:tgtEl>
                                          <p:spTgt spid="24">
                                            <p:txEl>
                                              <p:pRg st="0" end="0"/>
                                            </p:txEl>
                                          </p:spTgt>
                                        </p:tgtEl>
                                      </p:cBhvr>
                                    </p:animEffect>
                                  </p:childTnLst>
                                </p:cTn>
                              </p:par>
                              <p:par>
                                <p:cTn id="58" presetID="9" presetClass="emph" presetSubtype="0" nodeType="withEffect">
                                  <p:stCondLst>
                                    <p:cond delay="0"/>
                                  </p:stCondLst>
                                  <p:childTnLst>
                                    <p:set>
                                      <p:cBhvr>
                                        <p:cTn id="59" dur="indefinite"/>
                                        <p:tgtEl>
                                          <p:spTgt spid="165"/>
                                        </p:tgtEl>
                                        <p:attrNameLst>
                                          <p:attrName>style.opacity</p:attrName>
                                        </p:attrNameLst>
                                      </p:cBhvr>
                                      <p:to>
                                        <p:strVal val="0.1"/>
                                      </p:to>
                                    </p:set>
                                    <p:animEffect filter="image" prLst="opacity: 0.1">
                                      <p:cBhvr rctx="IE">
                                        <p:cTn id="60" dur="indefinite"/>
                                        <p:tgtEl>
                                          <p:spTgt spid="16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09"/>
                                        </p:tgtEl>
                                        <p:attrNameLst>
                                          <p:attrName>style.visibility</p:attrName>
                                        </p:attrNameLst>
                                      </p:cBhvr>
                                      <p:to>
                                        <p:strVal val="visible"/>
                                      </p:to>
                                    </p:set>
                                    <p:animEffect transition="in" filter="fade">
                                      <p:cBhvr>
                                        <p:cTn id="63" dur="500"/>
                                        <p:tgtEl>
                                          <p:spTgt spid="109"/>
                                        </p:tgtEl>
                                      </p:cBhvr>
                                    </p:animEffect>
                                  </p:childTnLst>
                                </p:cTn>
                              </p:par>
                              <p:par>
                                <p:cTn id="64" presetID="10" presetClass="entr" presetSubtype="0" fill="hold" nodeType="withEffect">
                                  <p:stCondLst>
                                    <p:cond delay="0"/>
                                  </p:stCondLst>
                                  <p:childTnLst>
                                    <p:set>
                                      <p:cBhvr>
                                        <p:cTn id="65" dur="1" fill="hold">
                                          <p:stCondLst>
                                            <p:cond delay="0"/>
                                          </p:stCondLst>
                                        </p:cTn>
                                        <p:tgtEl>
                                          <p:spTgt spid="121"/>
                                        </p:tgtEl>
                                        <p:attrNameLst>
                                          <p:attrName>style.visibility</p:attrName>
                                        </p:attrNameLst>
                                      </p:cBhvr>
                                      <p:to>
                                        <p:strVal val="visible"/>
                                      </p:to>
                                    </p:set>
                                    <p:animEffect transition="in" filter="fade">
                                      <p:cBhvr>
                                        <p:cTn id="66" dur="500"/>
                                        <p:tgtEl>
                                          <p:spTgt spid="1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31"/>
                                        </p:tgtEl>
                                        <p:attrNameLst>
                                          <p:attrName>style.visibility</p:attrName>
                                        </p:attrNameLst>
                                      </p:cBhvr>
                                      <p:to>
                                        <p:strVal val="visible"/>
                                      </p:to>
                                    </p:set>
                                    <p:animEffect transition="in" filter="fade">
                                      <p:cBhvr>
                                        <p:cTn id="69" dur="500"/>
                                        <p:tgtEl>
                                          <p:spTgt spid="13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xEl>
                                              <p:pRg st="0" end="0"/>
                                            </p:txEl>
                                          </p:spTgt>
                                        </p:tgtEl>
                                        <p:attrNameLst>
                                          <p:attrName>style.visibility</p:attrName>
                                        </p:attrNameLst>
                                      </p:cBhvr>
                                      <p:to>
                                        <p:strVal val="visible"/>
                                      </p:to>
                                    </p:set>
                                    <p:animEffect transition="in" filter="fade">
                                      <p:cBhvr>
                                        <p:cTn id="72" dur="500"/>
                                        <p:tgtEl>
                                          <p:spTgt spid="8">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xEl>
                                              <p:pRg st="0" end="0"/>
                                            </p:txEl>
                                          </p:spTgt>
                                        </p:tgtEl>
                                        <p:attrNameLst>
                                          <p:attrName>style.visibility</p:attrName>
                                        </p:attrNameLst>
                                      </p:cBhvr>
                                      <p:to>
                                        <p:strVal val="visible"/>
                                      </p:to>
                                    </p:set>
                                    <p:animEffect transition="in" filter="fade">
                                      <p:cBhvr>
                                        <p:cTn id="75" dur="500"/>
                                        <p:tgtEl>
                                          <p:spTgt spid="5">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fade">
                                      <p:cBhvr>
                                        <p:cTn id="78" dur="500"/>
                                        <p:tgtEl>
                                          <p:spTgt spid="4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0"/>
                                        </p:tgtEl>
                                        <p:attrNameLst>
                                          <p:attrName>style.visibility</p:attrName>
                                        </p:attrNameLst>
                                      </p:cBhvr>
                                      <p:to>
                                        <p:strVal val="visible"/>
                                      </p:to>
                                    </p:set>
                                    <p:animEffect transition="in" filter="fade">
                                      <p:cBhvr>
                                        <p:cTn id="81" dur="500"/>
                                        <p:tgtEl>
                                          <p:spTgt spid="5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5">
                                            <p:txEl>
                                              <p:pRg st="0" end="0"/>
                                            </p:txEl>
                                          </p:spTgt>
                                        </p:tgtEl>
                                        <p:attrNameLst>
                                          <p:attrName>style.visibility</p:attrName>
                                        </p:attrNameLst>
                                      </p:cBhvr>
                                      <p:to>
                                        <p:strVal val="visible"/>
                                      </p:to>
                                    </p:set>
                                    <p:animEffect transition="in" filter="fade">
                                      <p:cBhvr>
                                        <p:cTn id="84" dur="500"/>
                                        <p:tgtEl>
                                          <p:spTgt spid="25">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17"/>
                                        </p:tgtEl>
                                        <p:attrNameLst>
                                          <p:attrName>style.visibility</p:attrName>
                                        </p:attrNameLst>
                                      </p:cBhvr>
                                      <p:to>
                                        <p:strVal val="visible"/>
                                      </p:to>
                                    </p:set>
                                    <p:animEffect transition="in" filter="fade">
                                      <p:cBhvr>
                                        <p:cTn id="87" dur="500"/>
                                        <p:tgtEl>
                                          <p:spTgt spid="117"/>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09"/>
                                        </p:tgtEl>
                                        <p:attrNameLst>
                                          <p:attrName>style.opacity</p:attrName>
                                        </p:attrNameLst>
                                      </p:cBhvr>
                                      <p:to>
                                        <p:strVal val="0.1"/>
                                      </p:to>
                                    </p:set>
                                    <p:animEffect filter="image" prLst="opacity: 0.1">
                                      <p:cBhvr rctx="IE">
                                        <p:cTn id="92" dur="indefinite"/>
                                        <p:tgtEl>
                                          <p:spTgt spid="109"/>
                                        </p:tgtEl>
                                      </p:cBhvr>
                                    </p:animEffect>
                                  </p:childTnLst>
                                </p:cTn>
                              </p:par>
                              <p:par>
                                <p:cTn id="93" presetID="9" presetClass="emph" presetSubtype="0" nodeType="withEffect">
                                  <p:stCondLst>
                                    <p:cond delay="0"/>
                                  </p:stCondLst>
                                  <p:childTnLst>
                                    <p:set>
                                      <p:cBhvr>
                                        <p:cTn id="94" dur="indefinite"/>
                                        <p:tgtEl>
                                          <p:spTgt spid="121"/>
                                        </p:tgtEl>
                                        <p:attrNameLst>
                                          <p:attrName>style.opacity</p:attrName>
                                        </p:attrNameLst>
                                      </p:cBhvr>
                                      <p:to>
                                        <p:strVal val="0.1"/>
                                      </p:to>
                                    </p:set>
                                    <p:animEffect filter="image" prLst="opacity: 0.1">
                                      <p:cBhvr rctx="IE">
                                        <p:cTn id="95" dur="indefinite"/>
                                        <p:tgtEl>
                                          <p:spTgt spid="121"/>
                                        </p:tgtEl>
                                      </p:cBhvr>
                                    </p:animEffect>
                                  </p:childTnLst>
                                </p:cTn>
                              </p:par>
                              <p:par>
                                <p:cTn id="96" presetID="9" presetClass="emph" presetSubtype="0" grpId="1" nodeType="withEffect">
                                  <p:stCondLst>
                                    <p:cond delay="0"/>
                                  </p:stCondLst>
                                  <p:childTnLst>
                                    <p:set>
                                      <p:cBhvr>
                                        <p:cTn id="97" dur="indefinite"/>
                                        <p:tgtEl>
                                          <p:spTgt spid="131"/>
                                        </p:tgtEl>
                                        <p:attrNameLst>
                                          <p:attrName>style.opacity</p:attrName>
                                        </p:attrNameLst>
                                      </p:cBhvr>
                                      <p:to>
                                        <p:strVal val="0.1"/>
                                      </p:to>
                                    </p:set>
                                    <p:animEffect filter="image" prLst="opacity: 0.1">
                                      <p:cBhvr rctx="IE">
                                        <p:cTn id="98" dur="indefinite"/>
                                        <p:tgtEl>
                                          <p:spTgt spid="131"/>
                                        </p:tgtEl>
                                      </p:cBhvr>
                                    </p:animEffect>
                                  </p:childTnLst>
                                </p:cTn>
                              </p:par>
                              <p:par>
                                <p:cTn id="99" presetID="9" presetClass="emph" presetSubtype="0" grpId="1" nodeType="withEffect">
                                  <p:stCondLst>
                                    <p:cond delay="0"/>
                                  </p:stCondLst>
                                  <p:childTnLst>
                                    <p:set>
                                      <p:cBhvr>
                                        <p:cTn id="100" dur="indefinite"/>
                                        <p:tgtEl>
                                          <p:spTgt spid="8">
                                            <p:txEl>
                                              <p:pRg st="0" end="0"/>
                                            </p:txEl>
                                          </p:spTgt>
                                        </p:tgtEl>
                                        <p:attrNameLst>
                                          <p:attrName>style.opacity</p:attrName>
                                        </p:attrNameLst>
                                      </p:cBhvr>
                                      <p:to>
                                        <p:strVal val="0.1"/>
                                      </p:to>
                                    </p:set>
                                    <p:animEffect filter="image" prLst="opacity: 0.1">
                                      <p:cBhvr rctx="IE">
                                        <p:cTn id="101" dur="indefinite"/>
                                        <p:tgtEl>
                                          <p:spTgt spid="8">
                                            <p:txEl>
                                              <p:pRg st="0" end="0"/>
                                            </p:txEl>
                                          </p:spTgt>
                                        </p:tgtEl>
                                      </p:cBhvr>
                                    </p:animEffect>
                                  </p:childTnLst>
                                </p:cTn>
                              </p:par>
                              <p:par>
                                <p:cTn id="102" presetID="9" presetClass="emph" presetSubtype="0" grpId="1" nodeType="withEffect">
                                  <p:stCondLst>
                                    <p:cond delay="0"/>
                                  </p:stCondLst>
                                  <p:childTnLst>
                                    <p:set>
                                      <p:cBhvr>
                                        <p:cTn id="103" dur="indefinite"/>
                                        <p:tgtEl>
                                          <p:spTgt spid="5">
                                            <p:txEl>
                                              <p:pRg st="0" end="0"/>
                                            </p:txEl>
                                          </p:spTgt>
                                        </p:tgtEl>
                                        <p:attrNameLst>
                                          <p:attrName>style.opacity</p:attrName>
                                        </p:attrNameLst>
                                      </p:cBhvr>
                                      <p:to>
                                        <p:strVal val="0.1"/>
                                      </p:to>
                                    </p:set>
                                    <p:animEffect filter="image" prLst="opacity: 0.1">
                                      <p:cBhvr rctx="IE">
                                        <p:cTn id="104" dur="indefinite"/>
                                        <p:tgtEl>
                                          <p:spTgt spid="5">
                                            <p:txEl>
                                              <p:pRg st="0" end="0"/>
                                            </p:txEl>
                                          </p:spTgt>
                                        </p:tgtEl>
                                      </p:cBhvr>
                                    </p:animEffect>
                                  </p:childTnLst>
                                </p:cTn>
                              </p:par>
                              <p:par>
                                <p:cTn id="105" presetID="9" presetClass="emph" presetSubtype="0" grpId="1" nodeType="withEffect">
                                  <p:stCondLst>
                                    <p:cond delay="0"/>
                                  </p:stCondLst>
                                  <p:childTnLst>
                                    <p:set>
                                      <p:cBhvr>
                                        <p:cTn id="106" dur="indefinite"/>
                                        <p:tgtEl>
                                          <p:spTgt spid="46"/>
                                        </p:tgtEl>
                                        <p:attrNameLst>
                                          <p:attrName>style.opacity</p:attrName>
                                        </p:attrNameLst>
                                      </p:cBhvr>
                                      <p:to>
                                        <p:strVal val="0.1"/>
                                      </p:to>
                                    </p:set>
                                    <p:animEffect filter="image" prLst="opacity: 0.1">
                                      <p:cBhvr rctx="IE">
                                        <p:cTn id="107" dur="indefinite"/>
                                        <p:tgtEl>
                                          <p:spTgt spid="46"/>
                                        </p:tgtEl>
                                      </p:cBhvr>
                                    </p:animEffect>
                                  </p:childTnLst>
                                </p:cTn>
                              </p:par>
                              <p:par>
                                <p:cTn id="108" presetID="9" presetClass="emph" presetSubtype="0" grpId="1" nodeType="withEffect">
                                  <p:stCondLst>
                                    <p:cond delay="0"/>
                                  </p:stCondLst>
                                  <p:childTnLst>
                                    <p:set>
                                      <p:cBhvr>
                                        <p:cTn id="109" dur="indefinite"/>
                                        <p:tgtEl>
                                          <p:spTgt spid="50"/>
                                        </p:tgtEl>
                                        <p:attrNameLst>
                                          <p:attrName>style.opacity</p:attrName>
                                        </p:attrNameLst>
                                      </p:cBhvr>
                                      <p:to>
                                        <p:strVal val="0.1"/>
                                      </p:to>
                                    </p:set>
                                    <p:animEffect filter="image" prLst="opacity: 0.1">
                                      <p:cBhvr rctx="IE">
                                        <p:cTn id="110" dur="indefinite"/>
                                        <p:tgtEl>
                                          <p:spTgt spid="50"/>
                                        </p:tgtEl>
                                      </p:cBhvr>
                                    </p:animEffect>
                                  </p:childTnLst>
                                </p:cTn>
                              </p:par>
                              <p:par>
                                <p:cTn id="111" presetID="9" presetClass="emph" presetSubtype="0" grpId="1" nodeType="withEffect">
                                  <p:stCondLst>
                                    <p:cond delay="0"/>
                                  </p:stCondLst>
                                  <p:childTnLst>
                                    <p:set>
                                      <p:cBhvr>
                                        <p:cTn id="112" dur="indefinite"/>
                                        <p:tgtEl>
                                          <p:spTgt spid="25">
                                            <p:txEl>
                                              <p:pRg st="0" end="0"/>
                                            </p:txEl>
                                          </p:spTgt>
                                        </p:tgtEl>
                                        <p:attrNameLst>
                                          <p:attrName>style.opacity</p:attrName>
                                        </p:attrNameLst>
                                      </p:cBhvr>
                                      <p:to>
                                        <p:strVal val="0.1"/>
                                      </p:to>
                                    </p:set>
                                    <p:animEffect filter="image" prLst="opacity: 0.1">
                                      <p:cBhvr rctx="IE">
                                        <p:cTn id="113" dur="indefinite"/>
                                        <p:tgtEl>
                                          <p:spTgt spid="25">
                                            <p:txEl>
                                              <p:pRg st="0" end="0"/>
                                            </p:txEl>
                                          </p:spTgt>
                                        </p:tgtEl>
                                      </p:cBhvr>
                                    </p:animEffect>
                                  </p:childTnLst>
                                </p:cTn>
                              </p:par>
                              <p:par>
                                <p:cTn id="114" presetID="9" presetClass="emph" presetSubtype="0" nodeType="withEffect">
                                  <p:stCondLst>
                                    <p:cond delay="0"/>
                                  </p:stCondLst>
                                  <p:childTnLst>
                                    <p:set>
                                      <p:cBhvr>
                                        <p:cTn id="115" dur="indefinite"/>
                                        <p:tgtEl>
                                          <p:spTgt spid="117"/>
                                        </p:tgtEl>
                                        <p:attrNameLst>
                                          <p:attrName>style.opacity</p:attrName>
                                        </p:attrNameLst>
                                      </p:cBhvr>
                                      <p:to>
                                        <p:strVal val="0.1"/>
                                      </p:to>
                                    </p:set>
                                    <p:animEffect filter="image" prLst="opacity: 0.1">
                                      <p:cBhvr rctx="IE">
                                        <p:cTn id="116" dur="indefinite"/>
                                        <p:tgtEl>
                                          <p:spTgt spid="117"/>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10"/>
                                        </p:tgtEl>
                                        <p:attrNameLst>
                                          <p:attrName>style.visibility</p:attrName>
                                        </p:attrNameLst>
                                      </p:cBhvr>
                                      <p:to>
                                        <p:strVal val="visible"/>
                                      </p:to>
                                    </p:set>
                                    <p:animEffect transition="in" filter="fade">
                                      <p:cBhvr>
                                        <p:cTn id="119" dur="500"/>
                                        <p:tgtEl>
                                          <p:spTgt spid="110"/>
                                        </p:tgtEl>
                                      </p:cBhvr>
                                    </p:animEffect>
                                  </p:childTnLst>
                                </p:cTn>
                              </p:par>
                              <p:par>
                                <p:cTn id="120" presetID="10" presetClass="entr" presetSubtype="0" fill="hold" nodeType="withEffect">
                                  <p:stCondLst>
                                    <p:cond delay="0"/>
                                  </p:stCondLst>
                                  <p:childTnLst>
                                    <p:set>
                                      <p:cBhvr>
                                        <p:cTn id="121" dur="1" fill="hold">
                                          <p:stCondLst>
                                            <p:cond delay="0"/>
                                          </p:stCondLst>
                                        </p:cTn>
                                        <p:tgtEl>
                                          <p:spTgt spid="122"/>
                                        </p:tgtEl>
                                        <p:attrNameLst>
                                          <p:attrName>style.visibility</p:attrName>
                                        </p:attrNameLst>
                                      </p:cBhvr>
                                      <p:to>
                                        <p:strVal val="visible"/>
                                      </p:to>
                                    </p:set>
                                    <p:animEffect transition="in" filter="fade">
                                      <p:cBhvr>
                                        <p:cTn id="122" dur="500"/>
                                        <p:tgtEl>
                                          <p:spTgt spid="122"/>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32"/>
                                        </p:tgtEl>
                                        <p:attrNameLst>
                                          <p:attrName>style.visibility</p:attrName>
                                        </p:attrNameLst>
                                      </p:cBhvr>
                                      <p:to>
                                        <p:strVal val="visible"/>
                                      </p:to>
                                    </p:set>
                                    <p:animEffect transition="in" filter="fade">
                                      <p:cBhvr>
                                        <p:cTn id="125" dur="500"/>
                                        <p:tgtEl>
                                          <p:spTgt spid="13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9">
                                            <p:txEl>
                                              <p:pRg st="0" end="0"/>
                                            </p:txEl>
                                          </p:spTgt>
                                        </p:tgtEl>
                                        <p:attrNameLst>
                                          <p:attrName>style.visibility</p:attrName>
                                        </p:attrNameLst>
                                      </p:cBhvr>
                                      <p:to>
                                        <p:strVal val="visible"/>
                                      </p:to>
                                    </p:set>
                                    <p:animEffect transition="in" filter="fade">
                                      <p:cBhvr>
                                        <p:cTn id="128" dur="500"/>
                                        <p:tgtEl>
                                          <p:spTgt spid="9">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6">
                                            <p:txEl>
                                              <p:pRg st="0" end="0"/>
                                            </p:txEl>
                                          </p:spTgt>
                                        </p:tgtEl>
                                        <p:attrNameLst>
                                          <p:attrName>style.visibility</p:attrName>
                                        </p:attrNameLst>
                                      </p:cBhvr>
                                      <p:to>
                                        <p:strVal val="visible"/>
                                      </p:to>
                                    </p:set>
                                    <p:animEffect transition="in" filter="fade">
                                      <p:cBhvr>
                                        <p:cTn id="131" dur="500"/>
                                        <p:tgtEl>
                                          <p:spTgt spid="6">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51"/>
                                        </p:tgtEl>
                                        <p:attrNameLst>
                                          <p:attrName>style.visibility</p:attrName>
                                        </p:attrNameLst>
                                      </p:cBhvr>
                                      <p:to>
                                        <p:strVal val="visible"/>
                                      </p:to>
                                    </p:set>
                                    <p:animEffect transition="in" filter="fade">
                                      <p:cBhvr>
                                        <p:cTn id="134" dur="500"/>
                                        <p:tgtEl>
                                          <p:spTgt spid="51"/>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54"/>
                                        </p:tgtEl>
                                        <p:attrNameLst>
                                          <p:attrName>style.visibility</p:attrName>
                                        </p:attrNameLst>
                                      </p:cBhvr>
                                      <p:to>
                                        <p:strVal val="visible"/>
                                      </p:to>
                                    </p:set>
                                    <p:animEffect transition="in" filter="fade">
                                      <p:cBhvr>
                                        <p:cTn id="137" dur="500"/>
                                        <p:tgtEl>
                                          <p:spTgt spid="54"/>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6">
                                            <p:txEl>
                                              <p:pRg st="0" end="0"/>
                                            </p:txEl>
                                          </p:spTgt>
                                        </p:tgtEl>
                                        <p:attrNameLst>
                                          <p:attrName>style.visibility</p:attrName>
                                        </p:attrNameLst>
                                      </p:cBhvr>
                                      <p:to>
                                        <p:strVal val="visible"/>
                                      </p:to>
                                    </p:set>
                                    <p:animEffect transition="in" filter="fade">
                                      <p:cBhvr>
                                        <p:cTn id="140" dur="500"/>
                                        <p:tgtEl>
                                          <p:spTgt spid="26">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86"/>
                                        </p:tgtEl>
                                        <p:attrNameLst>
                                          <p:attrName>style.visibility</p:attrName>
                                        </p:attrNameLst>
                                      </p:cBhvr>
                                      <p:to>
                                        <p:strVal val="visible"/>
                                      </p:to>
                                    </p:set>
                                    <p:animEffect transition="in" filter="fade">
                                      <p:cBhvr>
                                        <p:cTn id="143" dur="500"/>
                                        <p:tgtEl>
                                          <p:spTgt spid="86"/>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10"/>
                                        </p:tgtEl>
                                        <p:attrNameLst>
                                          <p:attrName>style.opacity</p:attrName>
                                        </p:attrNameLst>
                                      </p:cBhvr>
                                      <p:to>
                                        <p:strVal val="0.1"/>
                                      </p:to>
                                    </p:set>
                                    <p:animEffect filter="image" prLst="opacity: 0.1">
                                      <p:cBhvr rctx="IE">
                                        <p:cTn id="148" dur="indefinite"/>
                                        <p:tgtEl>
                                          <p:spTgt spid="110"/>
                                        </p:tgtEl>
                                      </p:cBhvr>
                                    </p:animEffect>
                                  </p:childTnLst>
                                </p:cTn>
                              </p:par>
                              <p:par>
                                <p:cTn id="149" presetID="9" presetClass="emph" presetSubtype="0" nodeType="withEffect">
                                  <p:stCondLst>
                                    <p:cond delay="0"/>
                                  </p:stCondLst>
                                  <p:childTnLst>
                                    <p:set>
                                      <p:cBhvr>
                                        <p:cTn id="150" dur="indefinite"/>
                                        <p:tgtEl>
                                          <p:spTgt spid="122"/>
                                        </p:tgtEl>
                                        <p:attrNameLst>
                                          <p:attrName>style.opacity</p:attrName>
                                        </p:attrNameLst>
                                      </p:cBhvr>
                                      <p:to>
                                        <p:strVal val="0.1"/>
                                      </p:to>
                                    </p:set>
                                    <p:animEffect filter="image" prLst="opacity: 0.1">
                                      <p:cBhvr rctx="IE">
                                        <p:cTn id="151" dur="indefinite"/>
                                        <p:tgtEl>
                                          <p:spTgt spid="122"/>
                                        </p:tgtEl>
                                      </p:cBhvr>
                                    </p:animEffect>
                                  </p:childTnLst>
                                </p:cTn>
                              </p:par>
                              <p:par>
                                <p:cTn id="152" presetID="9" presetClass="emph" presetSubtype="0" grpId="1" nodeType="withEffect">
                                  <p:stCondLst>
                                    <p:cond delay="0"/>
                                  </p:stCondLst>
                                  <p:childTnLst>
                                    <p:set>
                                      <p:cBhvr>
                                        <p:cTn id="153" dur="indefinite"/>
                                        <p:tgtEl>
                                          <p:spTgt spid="132"/>
                                        </p:tgtEl>
                                        <p:attrNameLst>
                                          <p:attrName>style.opacity</p:attrName>
                                        </p:attrNameLst>
                                      </p:cBhvr>
                                      <p:to>
                                        <p:strVal val="0.1"/>
                                      </p:to>
                                    </p:set>
                                    <p:animEffect filter="image" prLst="opacity: 0.1">
                                      <p:cBhvr rctx="IE">
                                        <p:cTn id="154" dur="indefinite"/>
                                        <p:tgtEl>
                                          <p:spTgt spid="132"/>
                                        </p:tgtEl>
                                      </p:cBhvr>
                                    </p:animEffect>
                                  </p:childTnLst>
                                </p:cTn>
                              </p:par>
                              <p:par>
                                <p:cTn id="155" presetID="9" presetClass="emph" presetSubtype="0" grpId="1" nodeType="withEffect">
                                  <p:stCondLst>
                                    <p:cond delay="0"/>
                                  </p:stCondLst>
                                  <p:childTnLst>
                                    <p:set>
                                      <p:cBhvr>
                                        <p:cTn id="156" dur="indefinite"/>
                                        <p:tgtEl>
                                          <p:spTgt spid="9">
                                            <p:txEl>
                                              <p:pRg st="0" end="0"/>
                                            </p:txEl>
                                          </p:spTgt>
                                        </p:tgtEl>
                                        <p:attrNameLst>
                                          <p:attrName>style.opacity</p:attrName>
                                        </p:attrNameLst>
                                      </p:cBhvr>
                                      <p:to>
                                        <p:strVal val="0.1"/>
                                      </p:to>
                                    </p:set>
                                    <p:animEffect filter="image" prLst="opacity: 0.1">
                                      <p:cBhvr rctx="IE">
                                        <p:cTn id="157" dur="indefinite"/>
                                        <p:tgtEl>
                                          <p:spTgt spid="9">
                                            <p:txEl>
                                              <p:pRg st="0" end="0"/>
                                            </p:txEl>
                                          </p:spTgt>
                                        </p:tgtEl>
                                      </p:cBhvr>
                                    </p:animEffect>
                                  </p:childTnLst>
                                </p:cTn>
                              </p:par>
                              <p:par>
                                <p:cTn id="158" presetID="9" presetClass="emph" presetSubtype="0" grpId="1" nodeType="withEffect">
                                  <p:stCondLst>
                                    <p:cond delay="0"/>
                                  </p:stCondLst>
                                  <p:childTnLst>
                                    <p:set>
                                      <p:cBhvr>
                                        <p:cTn id="159" dur="indefinite"/>
                                        <p:tgtEl>
                                          <p:spTgt spid="6">
                                            <p:txEl>
                                              <p:pRg st="0" end="0"/>
                                            </p:txEl>
                                          </p:spTgt>
                                        </p:tgtEl>
                                        <p:attrNameLst>
                                          <p:attrName>style.opacity</p:attrName>
                                        </p:attrNameLst>
                                      </p:cBhvr>
                                      <p:to>
                                        <p:strVal val="0.1"/>
                                      </p:to>
                                    </p:set>
                                    <p:animEffect filter="image" prLst="opacity: 0.1">
                                      <p:cBhvr rctx="IE">
                                        <p:cTn id="160" dur="indefinite"/>
                                        <p:tgtEl>
                                          <p:spTgt spid="6">
                                            <p:txEl>
                                              <p:pRg st="0" end="0"/>
                                            </p:txEl>
                                          </p:spTgt>
                                        </p:tgtEl>
                                      </p:cBhvr>
                                    </p:animEffect>
                                  </p:childTnLst>
                                </p:cTn>
                              </p:par>
                              <p:par>
                                <p:cTn id="161" presetID="9" presetClass="emph" presetSubtype="0" grpId="1" nodeType="withEffect">
                                  <p:stCondLst>
                                    <p:cond delay="0"/>
                                  </p:stCondLst>
                                  <p:childTnLst>
                                    <p:set>
                                      <p:cBhvr>
                                        <p:cTn id="162" dur="indefinite"/>
                                        <p:tgtEl>
                                          <p:spTgt spid="51"/>
                                        </p:tgtEl>
                                        <p:attrNameLst>
                                          <p:attrName>style.opacity</p:attrName>
                                        </p:attrNameLst>
                                      </p:cBhvr>
                                      <p:to>
                                        <p:strVal val="0.1"/>
                                      </p:to>
                                    </p:set>
                                    <p:animEffect filter="image" prLst="opacity: 0.1">
                                      <p:cBhvr rctx="IE">
                                        <p:cTn id="163" dur="indefinite"/>
                                        <p:tgtEl>
                                          <p:spTgt spid="51"/>
                                        </p:tgtEl>
                                      </p:cBhvr>
                                    </p:animEffect>
                                  </p:childTnLst>
                                </p:cTn>
                              </p:par>
                              <p:par>
                                <p:cTn id="164" presetID="9" presetClass="emph" presetSubtype="0" grpId="1" nodeType="withEffect">
                                  <p:stCondLst>
                                    <p:cond delay="0"/>
                                  </p:stCondLst>
                                  <p:childTnLst>
                                    <p:set>
                                      <p:cBhvr>
                                        <p:cTn id="165" dur="indefinite"/>
                                        <p:tgtEl>
                                          <p:spTgt spid="54"/>
                                        </p:tgtEl>
                                        <p:attrNameLst>
                                          <p:attrName>style.opacity</p:attrName>
                                        </p:attrNameLst>
                                      </p:cBhvr>
                                      <p:to>
                                        <p:strVal val="0.1"/>
                                      </p:to>
                                    </p:set>
                                    <p:animEffect filter="image" prLst="opacity: 0.1">
                                      <p:cBhvr rctx="IE">
                                        <p:cTn id="166" dur="indefinite"/>
                                        <p:tgtEl>
                                          <p:spTgt spid="54"/>
                                        </p:tgtEl>
                                      </p:cBhvr>
                                    </p:animEffect>
                                  </p:childTnLst>
                                </p:cTn>
                              </p:par>
                              <p:par>
                                <p:cTn id="167" presetID="9" presetClass="emph" presetSubtype="0" grpId="1" nodeType="withEffect">
                                  <p:stCondLst>
                                    <p:cond delay="0"/>
                                  </p:stCondLst>
                                  <p:childTnLst>
                                    <p:set>
                                      <p:cBhvr>
                                        <p:cTn id="168" dur="indefinite"/>
                                        <p:tgtEl>
                                          <p:spTgt spid="26">
                                            <p:txEl>
                                              <p:pRg st="0" end="0"/>
                                            </p:txEl>
                                          </p:spTgt>
                                        </p:tgtEl>
                                        <p:attrNameLst>
                                          <p:attrName>style.opacity</p:attrName>
                                        </p:attrNameLst>
                                      </p:cBhvr>
                                      <p:to>
                                        <p:strVal val="0.1"/>
                                      </p:to>
                                    </p:set>
                                    <p:animEffect filter="image" prLst="opacity: 0.1">
                                      <p:cBhvr rctx="IE">
                                        <p:cTn id="169" dur="indefinite"/>
                                        <p:tgtEl>
                                          <p:spTgt spid="26">
                                            <p:txEl>
                                              <p:pRg st="0" end="0"/>
                                            </p:txEl>
                                          </p:spTgt>
                                        </p:tgtEl>
                                      </p:cBhvr>
                                    </p:animEffect>
                                  </p:childTnLst>
                                </p:cTn>
                              </p:par>
                              <p:par>
                                <p:cTn id="170" presetID="9" presetClass="emph" presetSubtype="0" nodeType="withEffect">
                                  <p:stCondLst>
                                    <p:cond delay="0"/>
                                  </p:stCondLst>
                                  <p:childTnLst>
                                    <p:set>
                                      <p:cBhvr>
                                        <p:cTn id="171" dur="indefinite"/>
                                        <p:tgtEl>
                                          <p:spTgt spid="86"/>
                                        </p:tgtEl>
                                        <p:attrNameLst>
                                          <p:attrName>style.opacity</p:attrName>
                                        </p:attrNameLst>
                                      </p:cBhvr>
                                      <p:to>
                                        <p:strVal val="0.1"/>
                                      </p:to>
                                    </p:set>
                                    <p:animEffect filter="image" prLst="opacity: 0.1">
                                      <p:cBhvr rctx="IE">
                                        <p:cTn id="172" dur="indefinite"/>
                                        <p:tgtEl>
                                          <p:spTgt spid="86"/>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11"/>
                                        </p:tgtEl>
                                        <p:attrNameLst>
                                          <p:attrName>style.visibility</p:attrName>
                                        </p:attrNameLst>
                                      </p:cBhvr>
                                      <p:to>
                                        <p:strVal val="visible"/>
                                      </p:to>
                                    </p:set>
                                    <p:animEffect transition="in" filter="fade">
                                      <p:cBhvr>
                                        <p:cTn id="175" dur="500"/>
                                        <p:tgtEl>
                                          <p:spTgt spid="111"/>
                                        </p:tgtEl>
                                      </p:cBhvr>
                                    </p:animEffect>
                                  </p:childTnLst>
                                </p:cTn>
                              </p:par>
                              <p:par>
                                <p:cTn id="176" presetID="10" presetClass="entr" presetSubtype="0" fill="hold" nodeType="withEffect">
                                  <p:stCondLst>
                                    <p:cond delay="0"/>
                                  </p:stCondLst>
                                  <p:childTnLst>
                                    <p:set>
                                      <p:cBhvr>
                                        <p:cTn id="177" dur="1" fill="hold">
                                          <p:stCondLst>
                                            <p:cond delay="0"/>
                                          </p:stCondLst>
                                        </p:cTn>
                                        <p:tgtEl>
                                          <p:spTgt spid="123"/>
                                        </p:tgtEl>
                                        <p:attrNameLst>
                                          <p:attrName>style.visibility</p:attrName>
                                        </p:attrNameLst>
                                      </p:cBhvr>
                                      <p:to>
                                        <p:strVal val="visible"/>
                                      </p:to>
                                    </p:set>
                                    <p:animEffect transition="in" filter="fade">
                                      <p:cBhvr>
                                        <p:cTn id="178" dur="500"/>
                                        <p:tgtEl>
                                          <p:spTgt spid="123"/>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33"/>
                                        </p:tgtEl>
                                        <p:attrNameLst>
                                          <p:attrName>style.visibility</p:attrName>
                                        </p:attrNameLst>
                                      </p:cBhvr>
                                      <p:to>
                                        <p:strVal val="visible"/>
                                      </p:to>
                                    </p:set>
                                    <p:animEffect transition="in" filter="fade">
                                      <p:cBhvr>
                                        <p:cTn id="181" dur="500"/>
                                        <p:tgtEl>
                                          <p:spTgt spid="133"/>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0">
                                            <p:txEl>
                                              <p:pRg st="0" end="0"/>
                                            </p:txEl>
                                          </p:spTgt>
                                        </p:tgtEl>
                                        <p:attrNameLst>
                                          <p:attrName>style.visibility</p:attrName>
                                        </p:attrNameLst>
                                      </p:cBhvr>
                                      <p:to>
                                        <p:strVal val="visible"/>
                                      </p:to>
                                    </p:set>
                                    <p:animEffect transition="in" filter="fade">
                                      <p:cBhvr>
                                        <p:cTn id="184" dur="500"/>
                                        <p:tgtEl>
                                          <p:spTgt spid="10">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1">
                                            <p:txEl>
                                              <p:pRg st="0" end="0"/>
                                            </p:txEl>
                                          </p:spTgt>
                                        </p:tgtEl>
                                        <p:attrNameLst>
                                          <p:attrName>style.visibility</p:attrName>
                                        </p:attrNameLst>
                                      </p:cBhvr>
                                      <p:to>
                                        <p:strVal val="visible"/>
                                      </p:to>
                                    </p:set>
                                    <p:animEffect transition="in" filter="fade">
                                      <p:cBhvr>
                                        <p:cTn id="187" dur="500"/>
                                        <p:tgtEl>
                                          <p:spTgt spid="11">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47"/>
                                        </p:tgtEl>
                                        <p:attrNameLst>
                                          <p:attrName>style.visibility</p:attrName>
                                        </p:attrNameLst>
                                      </p:cBhvr>
                                      <p:to>
                                        <p:strVal val="visible"/>
                                      </p:to>
                                    </p:set>
                                    <p:animEffect transition="in" filter="fade">
                                      <p:cBhvr>
                                        <p:cTn id="190" dur="500"/>
                                        <p:tgtEl>
                                          <p:spTgt spid="47"/>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52"/>
                                        </p:tgtEl>
                                        <p:attrNameLst>
                                          <p:attrName>style.visibility</p:attrName>
                                        </p:attrNameLst>
                                      </p:cBhvr>
                                      <p:to>
                                        <p:strVal val="visible"/>
                                      </p:to>
                                    </p:set>
                                    <p:animEffect transition="in" filter="fade">
                                      <p:cBhvr>
                                        <p:cTn id="193" dur="500"/>
                                        <p:tgtEl>
                                          <p:spTgt spid="52"/>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7">
                                            <p:txEl>
                                              <p:pRg st="0" end="0"/>
                                            </p:txEl>
                                          </p:spTgt>
                                        </p:tgtEl>
                                        <p:attrNameLst>
                                          <p:attrName>style.visibility</p:attrName>
                                        </p:attrNameLst>
                                      </p:cBhvr>
                                      <p:to>
                                        <p:strVal val="visible"/>
                                      </p:to>
                                    </p:set>
                                    <p:animEffect transition="in" filter="fade">
                                      <p:cBhvr>
                                        <p:cTn id="196" dur="500"/>
                                        <p:tgtEl>
                                          <p:spTgt spid="27">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02"/>
                                        </p:tgtEl>
                                        <p:attrNameLst>
                                          <p:attrName>style.visibility</p:attrName>
                                        </p:attrNameLst>
                                      </p:cBhvr>
                                      <p:to>
                                        <p:strVal val="visible"/>
                                      </p:to>
                                    </p:set>
                                    <p:animEffect transition="in" filter="fade">
                                      <p:cBhvr>
                                        <p:cTn id="199" dur="500"/>
                                        <p:tgtEl>
                                          <p:spTgt spid="102"/>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11"/>
                                        </p:tgtEl>
                                        <p:attrNameLst>
                                          <p:attrName>style.opacity</p:attrName>
                                        </p:attrNameLst>
                                      </p:cBhvr>
                                      <p:to>
                                        <p:strVal val="0.1"/>
                                      </p:to>
                                    </p:set>
                                    <p:animEffect filter="image" prLst="opacity: 0.1">
                                      <p:cBhvr rctx="IE">
                                        <p:cTn id="204" dur="indefinite"/>
                                        <p:tgtEl>
                                          <p:spTgt spid="111"/>
                                        </p:tgtEl>
                                      </p:cBhvr>
                                    </p:animEffect>
                                  </p:childTnLst>
                                </p:cTn>
                              </p:par>
                              <p:par>
                                <p:cTn id="205" presetID="9" presetClass="emph" presetSubtype="0" nodeType="withEffect">
                                  <p:stCondLst>
                                    <p:cond delay="0"/>
                                  </p:stCondLst>
                                  <p:childTnLst>
                                    <p:set>
                                      <p:cBhvr>
                                        <p:cTn id="206" dur="indefinite"/>
                                        <p:tgtEl>
                                          <p:spTgt spid="123"/>
                                        </p:tgtEl>
                                        <p:attrNameLst>
                                          <p:attrName>style.opacity</p:attrName>
                                        </p:attrNameLst>
                                      </p:cBhvr>
                                      <p:to>
                                        <p:strVal val="0.1"/>
                                      </p:to>
                                    </p:set>
                                    <p:animEffect filter="image" prLst="opacity: 0.1">
                                      <p:cBhvr rctx="IE">
                                        <p:cTn id="207" dur="indefinite"/>
                                        <p:tgtEl>
                                          <p:spTgt spid="123"/>
                                        </p:tgtEl>
                                      </p:cBhvr>
                                    </p:animEffect>
                                  </p:childTnLst>
                                </p:cTn>
                              </p:par>
                              <p:par>
                                <p:cTn id="208" presetID="9" presetClass="emph" presetSubtype="0" grpId="1" nodeType="withEffect">
                                  <p:stCondLst>
                                    <p:cond delay="0"/>
                                  </p:stCondLst>
                                  <p:childTnLst>
                                    <p:set>
                                      <p:cBhvr>
                                        <p:cTn id="209" dur="indefinite"/>
                                        <p:tgtEl>
                                          <p:spTgt spid="133"/>
                                        </p:tgtEl>
                                        <p:attrNameLst>
                                          <p:attrName>style.opacity</p:attrName>
                                        </p:attrNameLst>
                                      </p:cBhvr>
                                      <p:to>
                                        <p:strVal val="0.1"/>
                                      </p:to>
                                    </p:set>
                                    <p:animEffect filter="image" prLst="opacity: 0.1">
                                      <p:cBhvr rctx="IE">
                                        <p:cTn id="210" dur="indefinite"/>
                                        <p:tgtEl>
                                          <p:spTgt spid="133"/>
                                        </p:tgtEl>
                                      </p:cBhvr>
                                    </p:animEffect>
                                  </p:childTnLst>
                                </p:cTn>
                              </p:par>
                              <p:par>
                                <p:cTn id="211" presetID="9" presetClass="emph" presetSubtype="0" grpId="1" nodeType="withEffect">
                                  <p:stCondLst>
                                    <p:cond delay="0"/>
                                  </p:stCondLst>
                                  <p:childTnLst>
                                    <p:set>
                                      <p:cBhvr>
                                        <p:cTn id="212" dur="indefinite"/>
                                        <p:tgtEl>
                                          <p:spTgt spid="10">
                                            <p:txEl>
                                              <p:pRg st="0" end="0"/>
                                            </p:txEl>
                                          </p:spTgt>
                                        </p:tgtEl>
                                        <p:attrNameLst>
                                          <p:attrName>style.opacity</p:attrName>
                                        </p:attrNameLst>
                                      </p:cBhvr>
                                      <p:to>
                                        <p:strVal val="0.1"/>
                                      </p:to>
                                    </p:set>
                                    <p:animEffect filter="image" prLst="opacity: 0.1">
                                      <p:cBhvr rctx="IE">
                                        <p:cTn id="213" dur="indefinite"/>
                                        <p:tgtEl>
                                          <p:spTgt spid="10">
                                            <p:txEl>
                                              <p:pRg st="0" end="0"/>
                                            </p:txEl>
                                          </p:spTgt>
                                        </p:tgtEl>
                                      </p:cBhvr>
                                    </p:animEffect>
                                  </p:childTnLst>
                                </p:cTn>
                              </p:par>
                              <p:par>
                                <p:cTn id="214" presetID="9" presetClass="emph" presetSubtype="0" grpId="1" nodeType="withEffect">
                                  <p:stCondLst>
                                    <p:cond delay="0"/>
                                  </p:stCondLst>
                                  <p:childTnLst>
                                    <p:set>
                                      <p:cBhvr>
                                        <p:cTn id="215" dur="indefinite"/>
                                        <p:tgtEl>
                                          <p:spTgt spid="11">
                                            <p:txEl>
                                              <p:pRg st="0" end="0"/>
                                            </p:txEl>
                                          </p:spTgt>
                                        </p:tgtEl>
                                        <p:attrNameLst>
                                          <p:attrName>style.opacity</p:attrName>
                                        </p:attrNameLst>
                                      </p:cBhvr>
                                      <p:to>
                                        <p:strVal val="0.1"/>
                                      </p:to>
                                    </p:set>
                                    <p:animEffect filter="image" prLst="opacity: 0.1">
                                      <p:cBhvr rctx="IE">
                                        <p:cTn id="216" dur="indefinite"/>
                                        <p:tgtEl>
                                          <p:spTgt spid="11">
                                            <p:txEl>
                                              <p:pRg st="0" end="0"/>
                                            </p:txEl>
                                          </p:spTgt>
                                        </p:tgtEl>
                                      </p:cBhvr>
                                    </p:animEffect>
                                  </p:childTnLst>
                                </p:cTn>
                              </p:par>
                              <p:par>
                                <p:cTn id="217" presetID="9" presetClass="emph" presetSubtype="0" grpId="1" nodeType="withEffect">
                                  <p:stCondLst>
                                    <p:cond delay="0"/>
                                  </p:stCondLst>
                                  <p:childTnLst>
                                    <p:set>
                                      <p:cBhvr>
                                        <p:cTn id="218" dur="indefinite"/>
                                        <p:tgtEl>
                                          <p:spTgt spid="47"/>
                                        </p:tgtEl>
                                        <p:attrNameLst>
                                          <p:attrName>style.opacity</p:attrName>
                                        </p:attrNameLst>
                                      </p:cBhvr>
                                      <p:to>
                                        <p:strVal val="0.1"/>
                                      </p:to>
                                    </p:set>
                                    <p:animEffect filter="image" prLst="opacity: 0.1">
                                      <p:cBhvr rctx="IE">
                                        <p:cTn id="219" dur="indefinite"/>
                                        <p:tgtEl>
                                          <p:spTgt spid="47"/>
                                        </p:tgtEl>
                                      </p:cBhvr>
                                    </p:animEffect>
                                  </p:childTnLst>
                                </p:cTn>
                              </p:par>
                              <p:par>
                                <p:cTn id="220" presetID="9" presetClass="emph" presetSubtype="0" grpId="1" nodeType="withEffect">
                                  <p:stCondLst>
                                    <p:cond delay="0"/>
                                  </p:stCondLst>
                                  <p:childTnLst>
                                    <p:set>
                                      <p:cBhvr>
                                        <p:cTn id="221" dur="indefinite"/>
                                        <p:tgtEl>
                                          <p:spTgt spid="52"/>
                                        </p:tgtEl>
                                        <p:attrNameLst>
                                          <p:attrName>style.opacity</p:attrName>
                                        </p:attrNameLst>
                                      </p:cBhvr>
                                      <p:to>
                                        <p:strVal val="0.1"/>
                                      </p:to>
                                    </p:set>
                                    <p:animEffect filter="image" prLst="opacity: 0.1">
                                      <p:cBhvr rctx="IE">
                                        <p:cTn id="222" dur="indefinite"/>
                                        <p:tgtEl>
                                          <p:spTgt spid="52"/>
                                        </p:tgtEl>
                                      </p:cBhvr>
                                    </p:animEffect>
                                  </p:childTnLst>
                                </p:cTn>
                              </p:par>
                              <p:par>
                                <p:cTn id="223" presetID="9" presetClass="emph" presetSubtype="0" grpId="1" nodeType="withEffect">
                                  <p:stCondLst>
                                    <p:cond delay="0"/>
                                  </p:stCondLst>
                                  <p:childTnLst>
                                    <p:set>
                                      <p:cBhvr>
                                        <p:cTn id="224" dur="indefinite"/>
                                        <p:tgtEl>
                                          <p:spTgt spid="27">
                                            <p:txEl>
                                              <p:pRg st="0" end="0"/>
                                            </p:txEl>
                                          </p:spTgt>
                                        </p:tgtEl>
                                        <p:attrNameLst>
                                          <p:attrName>style.opacity</p:attrName>
                                        </p:attrNameLst>
                                      </p:cBhvr>
                                      <p:to>
                                        <p:strVal val="0.1"/>
                                      </p:to>
                                    </p:set>
                                    <p:animEffect filter="image" prLst="opacity: 0.1">
                                      <p:cBhvr rctx="IE">
                                        <p:cTn id="225" dur="indefinite"/>
                                        <p:tgtEl>
                                          <p:spTgt spid="27">
                                            <p:txEl>
                                              <p:pRg st="0" end="0"/>
                                            </p:txEl>
                                          </p:spTgt>
                                        </p:tgtEl>
                                      </p:cBhvr>
                                    </p:animEffect>
                                  </p:childTnLst>
                                </p:cTn>
                              </p:par>
                              <p:par>
                                <p:cTn id="226" presetID="9" presetClass="emph" presetSubtype="0" nodeType="withEffect">
                                  <p:stCondLst>
                                    <p:cond delay="0"/>
                                  </p:stCondLst>
                                  <p:childTnLst>
                                    <p:set>
                                      <p:cBhvr>
                                        <p:cTn id="227" dur="indefinite"/>
                                        <p:tgtEl>
                                          <p:spTgt spid="102"/>
                                        </p:tgtEl>
                                        <p:attrNameLst>
                                          <p:attrName>style.opacity</p:attrName>
                                        </p:attrNameLst>
                                      </p:cBhvr>
                                      <p:to>
                                        <p:strVal val="0.1"/>
                                      </p:to>
                                    </p:set>
                                    <p:animEffect filter="image" prLst="opacity: 0.1">
                                      <p:cBhvr rctx="IE">
                                        <p:cTn id="228" dur="indefinite"/>
                                        <p:tgtEl>
                                          <p:spTgt spid="102"/>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12"/>
                                        </p:tgtEl>
                                        <p:attrNameLst>
                                          <p:attrName>style.visibility</p:attrName>
                                        </p:attrNameLst>
                                      </p:cBhvr>
                                      <p:to>
                                        <p:strVal val="visible"/>
                                      </p:to>
                                    </p:set>
                                    <p:animEffect transition="in" filter="fade">
                                      <p:cBhvr>
                                        <p:cTn id="231" dur="500"/>
                                        <p:tgtEl>
                                          <p:spTgt spid="112"/>
                                        </p:tgtEl>
                                      </p:cBhvr>
                                    </p:animEffect>
                                  </p:childTnLst>
                                </p:cTn>
                              </p:par>
                              <p:par>
                                <p:cTn id="232" presetID="10" presetClass="entr" presetSubtype="0" fill="hold" nodeType="withEffect">
                                  <p:stCondLst>
                                    <p:cond delay="0"/>
                                  </p:stCondLst>
                                  <p:childTnLst>
                                    <p:set>
                                      <p:cBhvr>
                                        <p:cTn id="233" dur="1" fill="hold">
                                          <p:stCondLst>
                                            <p:cond delay="0"/>
                                          </p:stCondLst>
                                        </p:cTn>
                                        <p:tgtEl>
                                          <p:spTgt spid="124"/>
                                        </p:tgtEl>
                                        <p:attrNameLst>
                                          <p:attrName>style.visibility</p:attrName>
                                        </p:attrNameLst>
                                      </p:cBhvr>
                                      <p:to>
                                        <p:strVal val="visible"/>
                                      </p:to>
                                    </p:set>
                                    <p:animEffect transition="in" filter="fade">
                                      <p:cBhvr>
                                        <p:cTn id="234" dur="500"/>
                                        <p:tgtEl>
                                          <p:spTgt spid="124"/>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34"/>
                                        </p:tgtEl>
                                        <p:attrNameLst>
                                          <p:attrName>style.visibility</p:attrName>
                                        </p:attrNameLst>
                                      </p:cBhvr>
                                      <p:to>
                                        <p:strVal val="visible"/>
                                      </p:to>
                                    </p:set>
                                    <p:animEffect transition="in" filter="fade">
                                      <p:cBhvr>
                                        <p:cTn id="237" dur="500"/>
                                        <p:tgtEl>
                                          <p:spTgt spid="134"/>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2">
                                            <p:txEl>
                                              <p:pRg st="0" end="0"/>
                                            </p:txEl>
                                          </p:spTgt>
                                        </p:tgtEl>
                                        <p:attrNameLst>
                                          <p:attrName>style.visibility</p:attrName>
                                        </p:attrNameLst>
                                      </p:cBhvr>
                                      <p:to>
                                        <p:strVal val="visible"/>
                                      </p:to>
                                    </p:set>
                                    <p:animEffect transition="in" filter="fade">
                                      <p:cBhvr>
                                        <p:cTn id="240" dur="500"/>
                                        <p:tgtEl>
                                          <p:spTgt spid="12">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3">
                                            <p:txEl>
                                              <p:pRg st="0" end="0"/>
                                            </p:txEl>
                                          </p:spTgt>
                                        </p:tgtEl>
                                        <p:attrNameLst>
                                          <p:attrName>style.visibility</p:attrName>
                                        </p:attrNameLst>
                                      </p:cBhvr>
                                      <p:to>
                                        <p:strVal val="visible"/>
                                      </p:to>
                                    </p:set>
                                    <p:animEffect transition="in" filter="fade">
                                      <p:cBhvr>
                                        <p:cTn id="243" dur="500"/>
                                        <p:tgtEl>
                                          <p:spTgt spid="13">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48"/>
                                        </p:tgtEl>
                                        <p:attrNameLst>
                                          <p:attrName>style.visibility</p:attrName>
                                        </p:attrNameLst>
                                      </p:cBhvr>
                                      <p:to>
                                        <p:strVal val="visible"/>
                                      </p:to>
                                    </p:set>
                                    <p:animEffect transition="in" filter="fade">
                                      <p:cBhvr>
                                        <p:cTn id="246" dur="500"/>
                                        <p:tgtEl>
                                          <p:spTgt spid="48"/>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53"/>
                                        </p:tgtEl>
                                        <p:attrNameLst>
                                          <p:attrName>style.visibility</p:attrName>
                                        </p:attrNameLst>
                                      </p:cBhvr>
                                      <p:to>
                                        <p:strVal val="visible"/>
                                      </p:to>
                                    </p:set>
                                    <p:animEffect transition="in" filter="fade">
                                      <p:cBhvr>
                                        <p:cTn id="249" dur="500"/>
                                        <p:tgtEl>
                                          <p:spTgt spid="53"/>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8">
                                            <p:txEl>
                                              <p:pRg st="0" end="0"/>
                                            </p:txEl>
                                          </p:spTgt>
                                        </p:tgtEl>
                                        <p:attrNameLst>
                                          <p:attrName>style.visibility</p:attrName>
                                        </p:attrNameLst>
                                      </p:cBhvr>
                                      <p:to>
                                        <p:strVal val="visible"/>
                                      </p:to>
                                    </p:set>
                                    <p:animEffect transition="in" filter="fade">
                                      <p:cBhvr>
                                        <p:cTn id="252" dur="500"/>
                                        <p:tgtEl>
                                          <p:spTgt spid="28">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55"/>
                                        </p:tgtEl>
                                        <p:attrNameLst>
                                          <p:attrName>style.visibility</p:attrName>
                                        </p:attrNameLst>
                                      </p:cBhvr>
                                      <p:to>
                                        <p:strVal val="visible"/>
                                      </p:to>
                                    </p:set>
                                    <p:animEffect transition="in" filter="fade">
                                      <p:cBhvr>
                                        <p:cTn id="255" dur="500"/>
                                        <p:tgtEl>
                                          <p:spTgt spid="155"/>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87"/>
                                        </p:tgtEl>
                                        <p:attrNameLst>
                                          <p:attrName>style.opacity</p:attrName>
                                        </p:attrNameLst>
                                      </p:cBhvr>
                                      <p:to>
                                        <p:strVal val="1"/>
                                      </p:to>
                                    </p:set>
                                    <p:animEffect filter="image" prLst="opacity: 1">
                                      <p:cBhvr rctx="IE">
                                        <p:cTn id="260" dur="indefinite"/>
                                        <p:tgtEl>
                                          <p:spTgt spid="87"/>
                                        </p:tgtEl>
                                      </p:cBhvr>
                                    </p:animEffect>
                                  </p:childTnLst>
                                </p:cTn>
                              </p:par>
                              <p:par>
                                <p:cTn id="261" presetID="9" presetClass="emph" presetSubtype="0" grpId="2" nodeType="withEffect">
                                  <p:stCondLst>
                                    <p:cond delay="0"/>
                                  </p:stCondLst>
                                  <p:childTnLst>
                                    <p:set>
                                      <p:cBhvr>
                                        <p:cTn id="262" dur="indefinite"/>
                                        <p:tgtEl>
                                          <p:spTgt spid="109"/>
                                        </p:tgtEl>
                                        <p:attrNameLst>
                                          <p:attrName>style.opacity</p:attrName>
                                        </p:attrNameLst>
                                      </p:cBhvr>
                                      <p:to>
                                        <p:strVal val="1"/>
                                      </p:to>
                                    </p:set>
                                    <p:animEffect filter="image" prLst="opacity: 1">
                                      <p:cBhvr rctx="IE">
                                        <p:cTn id="263" dur="indefinite"/>
                                        <p:tgtEl>
                                          <p:spTgt spid="109"/>
                                        </p:tgtEl>
                                      </p:cBhvr>
                                    </p:animEffect>
                                  </p:childTnLst>
                                </p:cTn>
                              </p:par>
                              <p:par>
                                <p:cTn id="264" presetID="9" presetClass="emph" presetSubtype="0" grpId="2" nodeType="withEffect">
                                  <p:stCondLst>
                                    <p:cond delay="0"/>
                                  </p:stCondLst>
                                  <p:childTnLst>
                                    <p:set>
                                      <p:cBhvr>
                                        <p:cTn id="265" dur="indefinite"/>
                                        <p:tgtEl>
                                          <p:spTgt spid="110"/>
                                        </p:tgtEl>
                                        <p:attrNameLst>
                                          <p:attrName>style.opacity</p:attrName>
                                        </p:attrNameLst>
                                      </p:cBhvr>
                                      <p:to>
                                        <p:strVal val="1"/>
                                      </p:to>
                                    </p:set>
                                    <p:animEffect filter="image" prLst="opacity: 1">
                                      <p:cBhvr rctx="IE">
                                        <p:cTn id="266" dur="indefinite"/>
                                        <p:tgtEl>
                                          <p:spTgt spid="110"/>
                                        </p:tgtEl>
                                      </p:cBhvr>
                                    </p:animEffect>
                                  </p:childTnLst>
                                </p:cTn>
                              </p:par>
                              <p:par>
                                <p:cTn id="267" presetID="9" presetClass="emph" presetSubtype="0" grpId="2" nodeType="withEffect">
                                  <p:stCondLst>
                                    <p:cond delay="0"/>
                                  </p:stCondLst>
                                  <p:childTnLst>
                                    <p:set>
                                      <p:cBhvr>
                                        <p:cTn id="268" dur="indefinite"/>
                                        <p:tgtEl>
                                          <p:spTgt spid="111"/>
                                        </p:tgtEl>
                                        <p:attrNameLst>
                                          <p:attrName>style.opacity</p:attrName>
                                        </p:attrNameLst>
                                      </p:cBhvr>
                                      <p:to>
                                        <p:strVal val="1"/>
                                      </p:to>
                                    </p:set>
                                    <p:animEffect filter="image" prLst="opacity: 1">
                                      <p:cBhvr rctx="IE">
                                        <p:cTn id="269" dur="indefinite"/>
                                        <p:tgtEl>
                                          <p:spTgt spid="111"/>
                                        </p:tgtEl>
                                      </p:cBhvr>
                                    </p:animEffect>
                                  </p:childTnLst>
                                </p:cTn>
                              </p:par>
                              <p:par>
                                <p:cTn id="270" presetID="9" presetClass="emph" presetSubtype="0" nodeType="withEffect">
                                  <p:stCondLst>
                                    <p:cond delay="0"/>
                                  </p:stCondLst>
                                  <p:childTnLst>
                                    <p:set>
                                      <p:cBhvr>
                                        <p:cTn id="271" dur="indefinite"/>
                                        <p:tgtEl>
                                          <p:spTgt spid="113"/>
                                        </p:tgtEl>
                                        <p:attrNameLst>
                                          <p:attrName>style.opacity</p:attrName>
                                        </p:attrNameLst>
                                      </p:cBhvr>
                                      <p:to>
                                        <p:strVal val="1"/>
                                      </p:to>
                                    </p:set>
                                    <p:animEffect filter="image" prLst="opacity: 1">
                                      <p:cBhvr rctx="IE">
                                        <p:cTn id="272" dur="indefinite"/>
                                        <p:tgtEl>
                                          <p:spTgt spid="113"/>
                                        </p:tgtEl>
                                      </p:cBhvr>
                                    </p:animEffect>
                                  </p:childTnLst>
                                </p:cTn>
                              </p:par>
                              <p:par>
                                <p:cTn id="273" presetID="9" presetClass="emph" presetSubtype="0" nodeType="withEffect">
                                  <p:stCondLst>
                                    <p:cond delay="0"/>
                                  </p:stCondLst>
                                  <p:childTnLst>
                                    <p:set>
                                      <p:cBhvr>
                                        <p:cTn id="274" dur="indefinite"/>
                                        <p:tgtEl>
                                          <p:spTgt spid="121"/>
                                        </p:tgtEl>
                                        <p:attrNameLst>
                                          <p:attrName>style.opacity</p:attrName>
                                        </p:attrNameLst>
                                      </p:cBhvr>
                                      <p:to>
                                        <p:strVal val="1"/>
                                      </p:to>
                                    </p:set>
                                    <p:animEffect filter="image" prLst="opacity: 1">
                                      <p:cBhvr rctx="IE">
                                        <p:cTn id="275" dur="indefinite"/>
                                        <p:tgtEl>
                                          <p:spTgt spid="121"/>
                                        </p:tgtEl>
                                      </p:cBhvr>
                                    </p:animEffect>
                                  </p:childTnLst>
                                </p:cTn>
                              </p:par>
                              <p:par>
                                <p:cTn id="276" presetID="9" presetClass="emph" presetSubtype="0" nodeType="withEffect">
                                  <p:stCondLst>
                                    <p:cond delay="0"/>
                                  </p:stCondLst>
                                  <p:childTnLst>
                                    <p:set>
                                      <p:cBhvr>
                                        <p:cTn id="277" dur="indefinite"/>
                                        <p:tgtEl>
                                          <p:spTgt spid="122"/>
                                        </p:tgtEl>
                                        <p:attrNameLst>
                                          <p:attrName>style.opacity</p:attrName>
                                        </p:attrNameLst>
                                      </p:cBhvr>
                                      <p:to>
                                        <p:strVal val="1"/>
                                      </p:to>
                                    </p:set>
                                    <p:animEffect filter="image" prLst="opacity: 1">
                                      <p:cBhvr rctx="IE">
                                        <p:cTn id="278" dur="indefinite"/>
                                        <p:tgtEl>
                                          <p:spTgt spid="122"/>
                                        </p:tgtEl>
                                      </p:cBhvr>
                                    </p:animEffect>
                                  </p:childTnLst>
                                </p:cTn>
                              </p:par>
                              <p:par>
                                <p:cTn id="279" presetID="9" presetClass="emph" presetSubtype="0" nodeType="withEffect">
                                  <p:stCondLst>
                                    <p:cond delay="0"/>
                                  </p:stCondLst>
                                  <p:childTnLst>
                                    <p:set>
                                      <p:cBhvr>
                                        <p:cTn id="280" dur="indefinite"/>
                                        <p:tgtEl>
                                          <p:spTgt spid="123"/>
                                        </p:tgtEl>
                                        <p:attrNameLst>
                                          <p:attrName>style.opacity</p:attrName>
                                        </p:attrNameLst>
                                      </p:cBhvr>
                                      <p:to>
                                        <p:strVal val="1"/>
                                      </p:to>
                                    </p:set>
                                    <p:animEffect filter="image" prLst="opacity: 1">
                                      <p:cBhvr rctx="IE">
                                        <p:cTn id="281" dur="indefinite"/>
                                        <p:tgtEl>
                                          <p:spTgt spid="123"/>
                                        </p:tgtEl>
                                      </p:cBhvr>
                                    </p:animEffect>
                                  </p:childTnLst>
                                </p:cTn>
                              </p:par>
                              <p:par>
                                <p:cTn id="282" presetID="9" presetClass="emph" presetSubtype="0" grpId="2" nodeType="withEffect">
                                  <p:stCondLst>
                                    <p:cond delay="0"/>
                                  </p:stCondLst>
                                  <p:childTnLst>
                                    <p:set>
                                      <p:cBhvr>
                                        <p:cTn id="283" dur="indefinite"/>
                                        <p:tgtEl>
                                          <p:spTgt spid="130"/>
                                        </p:tgtEl>
                                        <p:attrNameLst>
                                          <p:attrName>style.opacity</p:attrName>
                                        </p:attrNameLst>
                                      </p:cBhvr>
                                      <p:to>
                                        <p:strVal val="1"/>
                                      </p:to>
                                    </p:set>
                                    <p:animEffect filter="image" prLst="opacity: 1">
                                      <p:cBhvr rctx="IE">
                                        <p:cTn id="284" dur="indefinite"/>
                                        <p:tgtEl>
                                          <p:spTgt spid="130"/>
                                        </p:tgtEl>
                                      </p:cBhvr>
                                    </p:animEffect>
                                  </p:childTnLst>
                                </p:cTn>
                              </p:par>
                              <p:par>
                                <p:cTn id="285" presetID="9" presetClass="emph" presetSubtype="0" grpId="2" nodeType="withEffect">
                                  <p:stCondLst>
                                    <p:cond delay="0"/>
                                  </p:stCondLst>
                                  <p:childTnLst>
                                    <p:set>
                                      <p:cBhvr>
                                        <p:cTn id="286" dur="indefinite"/>
                                        <p:tgtEl>
                                          <p:spTgt spid="131"/>
                                        </p:tgtEl>
                                        <p:attrNameLst>
                                          <p:attrName>style.opacity</p:attrName>
                                        </p:attrNameLst>
                                      </p:cBhvr>
                                      <p:to>
                                        <p:strVal val="1"/>
                                      </p:to>
                                    </p:set>
                                    <p:animEffect filter="image" prLst="opacity: 1">
                                      <p:cBhvr rctx="IE">
                                        <p:cTn id="287" dur="indefinite"/>
                                        <p:tgtEl>
                                          <p:spTgt spid="131"/>
                                        </p:tgtEl>
                                      </p:cBhvr>
                                    </p:animEffect>
                                  </p:childTnLst>
                                </p:cTn>
                              </p:par>
                              <p:par>
                                <p:cTn id="288" presetID="9" presetClass="emph" presetSubtype="0" grpId="2" nodeType="withEffect">
                                  <p:stCondLst>
                                    <p:cond delay="0"/>
                                  </p:stCondLst>
                                  <p:childTnLst>
                                    <p:set>
                                      <p:cBhvr>
                                        <p:cTn id="289" dur="indefinite"/>
                                        <p:tgtEl>
                                          <p:spTgt spid="132"/>
                                        </p:tgtEl>
                                        <p:attrNameLst>
                                          <p:attrName>style.opacity</p:attrName>
                                        </p:attrNameLst>
                                      </p:cBhvr>
                                      <p:to>
                                        <p:strVal val="1"/>
                                      </p:to>
                                    </p:set>
                                    <p:animEffect filter="image" prLst="opacity: 1">
                                      <p:cBhvr rctx="IE">
                                        <p:cTn id="290" dur="indefinite"/>
                                        <p:tgtEl>
                                          <p:spTgt spid="132"/>
                                        </p:tgtEl>
                                      </p:cBhvr>
                                    </p:animEffect>
                                  </p:childTnLst>
                                </p:cTn>
                              </p:par>
                              <p:par>
                                <p:cTn id="291" presetID="9" presetClass="emph" presetSubtype="0" grpId="2" nodeType="withEffect">
                                  <p:stCondLst>
                                    <p:cond delay="0"/>
                                  </p:stCondLst>
                                  <p:childTnLst>
                                    <p:set>
                                      <p:cBhvr>
                                        <p:cTn id="292" dur="indefinite"/>
                                        <p:tgtEl>
                                          <p:spTgt spid="133"/>
                                        </p:tgtEl>
                                        <p:attrNameLst>
                                          <p:attrName>style.opacity</p:attrName>
                                        </p:attrNameLst>
                                      </p:cBhvr>
                                      <p:to>
                                        <p:strVal val="1"/>
                                      </p:to>
                                    </p:set>
                                    <p:animEffect filter="image" prLst="opacity: 1">
                                      <p:cBhvr rctx="IE">
                                        <p:cTn id="293" dur="indefinite"/>
                                        <p:tgtEl>
                                          <p:spTgt spid="133"/>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8">
                                            <p:txEl>
                                              <p:pRg st="0" end="0"/>
                                            </p:txEl>
                                          </p:spTgt>
                                        </p:tgtEl>
                                        <p:attrNameLst>
                                          <p:attrName>style.opacity</p:attrName>
                                        </p:attrNameLst>
                                      </p:cBhvr>
                                      <p:to>
                                        <p:strVal val="1"/>
                                      </p:to>
                                    </p:set>
                                    <p:animEffect filter="image" prLst="opacity: 1">
                                      <p:cBhvr rctx="IE">
                                        <p:cTn id="299" dur="indefinite"/>
                                        <p:tgtEl>
                                          <p:spTgt spid="8">
                                            <p:txEl>
                                              <p:pRg st="0" end="0"/>
                                            </p:txEl>
                                          </p:spTgt>
                                        </p:tgtEl>
                                      </p:cBhvr>
                                    </p:animEffect>
                                  </p:childTnLst>
                                </p:cTn>
                              </p:par>
                              <p:par>
                                <p:cTn id="300" presetID="9" presetClass="emph" presetSubtype="0" grpId="2" nodeType="withEffect">
                                  <p:stCondLst>
                                    <p:cond delay="0"/>
                                  </p:stCondLst>
                                  <p:childTnLst>
                                    <p:set>
                                      <p:cBhvr>
                                        <p:cTn id="301" dur="indefinite"/>
                                        <p:tgtEl>
                                          <p:spTgt spid="9">
                                            <p:txEl>
                                              <p:pRg st="0" end="0"/>
                                            </p:txEl>
                                          </p:spTgt>
                                        </p:tgtEl>
                                        <p:attrNameLst>
                                          <p:attrName>style.opacity</p:attrName>
                                        </p:attrNameLst>
                                      </p:cBhvr>
                                      <p:to>
                                        <p:strVal val="1"/>
                                      </p:to>
                                    </p:set>
                                    <p:animEffect filter="image" prLst="opacity: 1">
                                      <p:cBhvr rctx="IE">
                                        <p:cTn id="302" dur="indefinite"/>
                                        <p:tgtEl>
                                          <p:spTgt spid="9">
                                            <p:txEl>
                                              <p:pRg st="0" end="0"/>
                                            </p:txEl>
                                          </p:spTgt>
                                        </p:tgtEl>
                                      </p:cBhvr>
                                    </p:animEffect>
                                  </p:childTnLst>
                                </p:cTn>
                              </p:par>
                              <p:par>
                                <p:cTn id="303" presetID="9" presetClass="emph" presetSubtype="0" grpId="2" nodeType="withEffect">
                                  <p:stCondLst>
                                    <p:cond delay="0"/>
                                  </p:stCondLst>
                                  <p:childTnLst>
                                    <p:set>
                                      <p:cBhvr>
                                        <p:cTn id="304" dur="indefinite"/>
                                        <p:tgtEl>
                                          <p:spTgt spid="10">
                                            <p:txEl>
                                              <p:pRg st="0" end="0"/>
                                            </p:txEl>
                                          </p:spTgt>
                                        </p:tgtEl>
                                        <p:attrNameLst>
                                          <p:attrName>style.opacity</p:attrName>
                                        </p:attrNameLst>
                                      </p:cBhvr>
                                      <p:to>
                                        <p:strVal val="1"/>
                                      </p:to>
                                    </p:set>
                                    <p:animEffect filter="image" prLst="opacity: 1">
                                      <p:cBhvr rctx="IE">
                                        <p:cTn id="305" dur="indefinite"/>
                                        <p:tgtEl>
                                          <p:spTgt spid="10">
                                            <p:txEl>
                                              <p:pRg st="0" end="0"/>
                                            </p:txEl>
                                          </p:spTgt>
                                        </p:tgtEl>
                                      </p:cBhvr>
                                    </p:animEffect>
                                  </p:childTnLst>
                                </p:cTn>
                              </p:par>
                              <p:par>
                                <p:cTn id="306" presetID="9" presetClass="emph" presetSubtype="0" grpId="2" nodeType="withEffect">
                                  <p:stCondLst>
                                    <p:cond delay="0"/>
                                  </p:stCondLst>
                                  <p:childTnLst>
                                    <p:set>
                                      <p:cBhvr>
                                        <p:cTn id="307" dur="indefinite"/>
                                        <p:tgtEl>
                                          <p:spTgt spid="4">
                                            <p:txEl>
                                              <p:pRg st="0" end="0"/>
                                            </p:txEl>
                                          </p:spTgt>
                                        </p:tgtEl>
                                        <p:attrNameLst>
                                          <p:attrName>style.opacity</p:attrName>
                                        </p:attrNameLst>
                                      </p:cBhvr>
                                      <p:to>
                                        <p:strVal val="1"/>
                                      </p:to>
                                    </p:set>
                                    <p:animEffect filter="image" prLst="opacity: 1">
                                      <p:cBhvr rctx="IE">
                                        <p:cTn id="308" dur="indefinite"/>
                                        <p:tgtEl>
                                          <p:spTgt spid="4">
                                            <p:txEl>
                                              <p:pRg st="0" end="0"/>
                                            </p:txEl>
                                          </p:spTgt>
                                        </p:tgtEl>
                                      </p:cBhvr>
                                    </p:animEffect>
                                  </p:childTnLst>
                                </p:cTn>
                              </p:par>
                              <p:par>
                                <p:cTn id="309" presetID="9" presetClass="emph" presetSubtype="0" grpId="2" nodeType="withEffect">
                                  <p:stCondLst>
                                    <p:cond delay="0"/>
                                  </p:stCondLst>
                                  <p:childTnLst>
                                    <p:set>
                                      <p:cBhvr>
                                        <p:cTn id="310" dur="indefinite"/>
                                        <p:tgtEl>
                                          <p:spTgt spid="5">
                                            <p:txEl>
                                              <p:pRg st="0" end="0"/>
                                            </p:txEl>
                                          </p:spTgt>
                                        </p:tgtEl>
                                        <p:attrNameLst>
                                          <p:attrName>style.opacity</p:attrName>
                                        </p:attrNameLst>
                                      </p:cBhvr>
                                      <p:to>
                                        <p:strVal val="1"/>
                                      </p:to>
                                    </p:set>
                                    <p:animEffect filter="image" prLst="opacity: 1">
                                      <p:cBhvr rctx="IE">
                                        <p:cTn id="311" dur="indefinite"/>
                                        <p:tgtEl>
                                          <p:spTgt spid="5">
                                            <p:txEl>
                                              <p:pRg st="0" end="0"/>
                                            </p:txEl>
                                          </p:spTgt>
                                        </p:tgtEl>
                                      </p:cBhvr>
                                    </p:animEffect>
                                  </p:childTnLst>
                                </p:cTn>
                              </p:par>
                              <p:par>
                                <p:cTn id="312" presetID="9" presetClass="emph" presetSubtype="0" grpId="2" nodeType="withEffect">
                                  <p:stCondLst>
                                    <p:cond delay="0"/>
                                  </p:stCondLst>
                                  <p:childTnLst>
                                    <p:set>
                                      <p:cBhvr>
                                        <p:cTn id="313" dur="indefinite"/>
                                        <p:tgtEl>
                                          <p:spTgt spid="6">
                                            <p:txEl>
                                              <p:pRg st="0" end="0"/>
                                            </p:txEl>
                                          </p:spTgt>
                                        </p:tgtEl>
                                        <p:attrNameLst>
                                          <p:attrName>style.opacity</p:attrName>
                                        </p:attrNameLst>
                                      </p:cBhvr>
                                      <p:to>
                                        <p:strVal val="1"/>
                                      </p:to>
                                    </p:set>
                                    <p:animEffect filter="image" prLst="opacity: 1">
                                      <p:cBhvr rctx="IE">
                                        <p:cTn id="314" dur="indefinite"/>
                                        <p:tgtEl>
                                          <p:spTgt spid="6">
                                            <p:txEl>
                                              <p:pRg st="0" end="0"/>
                                            </p:txEl>
                                          </p:spTgt>
                                        </p:tgtEl>
                                      </p:cBhvr>
                                    </p:animEffect>
                                  </p:childTnLst>
                                </p:cTn>
                              </p:par>
                              <p:par>
                                <p:cTn id="315" presetID="9" presetClass="emph" presetSubtype="0" grpId="2" nodeType="withEffect">
                                  <p:stCondLst>
                                    <p:cond delay="0"/>
                                  </p:stCondLst>
                                  <p:childTnLst>
                                    <p:set>
                                      <p:cBhvr>
                                        <p:cTn id="316" dur="indefinite"/>
                                        <p:tgtEl>
                                          <p:spTgt spid="11">
                                            <p:txEl>
                                              <p:pRg st="0" end="0"/>
                                            </p:txEl>
                                          </p:spTgt>
                                        </p:tgtEl>
                                        <p:attrNameLst>
                                          <p:attrName>style.opacity</p:attrName>
                                        </p:attrNameLst>
                                      </p:cBhvr>
                                      <p:to>
                                        <p:strVal val="1"/>
                                      </p:to>
                                    </p:set>
                                    <p:animEffect filter="image" prLst="opacity: 1">
                                      <p:cBhvr rctx="IE">
                                        <p:cTn id="317" dur="indefinite"/>
                                        <p:tgtEl>
                                          <p:spTgt spid="11">
                                            <p:txEl>
                                              <p:pRg st="0" end="0"/>
                                            </p:txEl>
                                          </p:spTgt>
                                        </p:tgtEl>
                                      </p:cBhvr>
                                    </p:animEffect>
                                  </p:childTnLst>
                                </p:cTn>
                              </p:par>
                              <p:par>
                                <p:cTn id="318" presetID="9" presetClass="emph" presetSubtype="0" grpId="2" nodeType="withEffect">
                                  <p:stCondLst>
                                    <p:cond delay="0"/>
                                  </p:stCondLst>
                                  <p:childTnLst>
                                    <p:set>
                                      <p:cBhvr>
                                        <p:cTn id="319" dur="indefinite"/>
                                        <p:tgtEl>
                                          <p:spTgt spid="45"/>
                                        </p:tgtEl>
                                        <p:attrNameLst>
                                          <p:attrName>style.opacity</p:attrName>
                                        </p:attrNameLst>
                                      </p:cBhvr>
                                      <p:to>
                                        <p:strVal val="1"/>
                                      </p:to>
                                    </p:set>
                                    <p:animEffect filter="image" prLst="opacity: 1">
                                      <p:cBhvr rctx="IE">
                                        <p:cTn id="320" dur="indefinite"/>
                                        <p:tgtEl>
                                          <p:spTgt spid="45"/>
                                        </p:tgtEl>
                                      </p:cBhvr>
                                    </p:animEffect>
                                  </p:childTnLst>
                                </p:cTn>
                              </p:par>
                              <p:par>
                                <p:cTn id="321" presetID="9" presetClass="emph" presetSubtype="0" grpId="2" nodeType="withEffect">
                                  <p:stCondLst>
                                    <p:cond delay="0"/>
                                  </p:stCondLst>
                                  <p:childTnLst>
                                    <p:set>
                                      <p:cBhvr>
                                        <p:cTn id="322" dur="indefinite"/>
                                        <p:tgtEl>
                                          <p:spTgt spid="46"/>
                                        </p:tgtEl>
                                        <p:attrNameLst>
                                          <p:attrName>style.opacity</p:attrName>
                                        </p:attrNameLst>
                                      </p:cBhvr>
                                      <p:to>
                                        <p:strVal val="1"/>
                                      </p:to>
                                    </p:set>
                                    <p:animEffect filter="image" prLst="opacity: 1">
                                      <p:cBhvr rctx="IE">
                                        <p:cTn id="323" dur="indefinite"/>
                                        <p:tgtEl>
                                          <p:spTgt spid="46"/>
                                        </p:tgtEl>
                                      </p:cBhvr>
                                    </p:animEffect>
                                  </p:childTnLst>
                                </p:cTn>
                              </p:par>
                              <p:par>
                                <p:cTn id="324" presetID="9" presetClass="emph" presetSubtype="0" grpId="2" nodeType="withEffect">
                                  <p:stCondLst>
                                    <p:cond delay="0"/>
                                  </p:stCondLst>
                                  <p:childTnLst>
                                    <p:set>
                                      <p:cBhvr>
                                        <p:cTn id="325" dur="indefinite"/>
                                        <p:tgtEl>
                                          <p:spTgt spid="47"/>
                                        </p:tgtEl>
                                        <p:attrNameLst>
                                          <p:attrName>style.opacity</p:attrName>
                                        </p:attrNameLst>
                                      </p:cBhvr>
                                      <p:to>
                                        <p:strVal val="1"/>
                                      </p:to>
                                    </p:set>
                                    <p:animEffect filter="image" prLst="opacity: 1">
                                      <p:cBhvr rctx="IE">
                                        <p:cTn id="326" dur="indefinite"/>
                                        <p:tgtEl>
                                          <p:spTgt spid="47"/>
                                        </p:tgtEl>
                                      </p:cBhvr>
                                    </p:animEffect>
                                  </p:childTnLst>
                                </p:cTn>
                              </p:par>
                              <p:par>
                                <p:cTn id="327" presetID="9" presetClass="emph" presetSubtype="0" grpId="2" nodeType="withEffect">
                                  <p:stCondLst>
                                    <p:cond delay="0"/>
                                  </p:stCondLst>
                                  <p:childTnLst>
                                    <p:set>
                                      <p:cBhvr>
                                        <p:cTn id="328" dur="indefinite"/>
                                        <p:tgtEl>
                                          <p:spTgt spid="49"/>
                                        </p:tgtEl>
                                        <p:attrNameLst>
                                          <p:attrName>style.opacity</p:attrName>
                                        </p:attrNameLst>
                                      </p:cBhvr>
                                      <p:to>
                                        <p:strVal val="1"/>
                                      </p:to>
                                    </p:set>
                                    <p:animEffect filter="image" prLst="opacity: 1">
                                      <p:cBhvr rctx="IE">
                                        <p:cTn id="329" dur="indefinite"/>
                                        <p:tgtEl>
                                          <p:spTgt spid="49"/>
                                        </p:tgtEl>
                                      </p:cBhvr>
                                    </p:animEffect>
                                  </p:childTnLst>
                                </p:cTn>
                              </p:par>
                              <p:par>
                                <p:cTn id="330" presetID="9" presetClass="emph" presetSubtype="0" grpId="2" nodeType="withEffect">
                                  <p:stCondLst>
                                    <p:cond delay="0"/>
                                  </p:stCondLst>
                                  <p:childTnLst>
                                    <p:set>
                                      <p:cBhvr>
                                        <p:cTn id="331" dur="indefinite"/>
                                        <p:tgtEl>
                                          <p:spTgt spid="50"/>
                                        </p:tgtEl>
                                        <p:attrNameLst>
                                          <p:attrName>style.opacity</p:attrName>
                                        </p:attrNameLst>
                                      </p:cBhvr>
                                      <p:to>
                                        <p:strVal val="1"/>
                                      </p:to>
                                    </p:set>
                                    <p:animEffect filter="image" prLst="opacity: 1">
                                      <p:cBhvr rctx="IE">
                                        <p:cTn id="332" dur="indefinite"/>
                                        <p:tgtEl>
                                          <p:spTgt spid="50"/>
                                        </p:tgtEl>
                                      </p:cBhvr>
                                    </p:animEffect>
                                  </p:childTnLst>
                                </p:cTn>
                              </p:par>
                              <p:par>
                                <p:cTn id="333" presetID="9" presetClass="emph" presetSubtype="0" grpId="2" nodeType="withEffect">
                                  <p:stCondLst>
                                    <p:cond delay="0"/>
                                  </p:stCondLst>
                                  <p:childTnLst>
                                    <p:set>
                                      <p:cBhvr>
                                        <p:cTn id="334" dur="indefinite"/>
                                        <p:tgtEl>
                                          <p:spTgt spid="51"/>
                                        </p:tgtEl>
                                        <p:attrNameLst>
                                          <p:attrName>style.opacity</p:attrName>
                                        </p:attrNameLst>
                                      </p:cBhvr>
                                      <p:to>
                                        <p:strVal val="1"/>
                                      </p:to>
                                    </p:set>
                                    <p:animEffect filter="image" prLst="opacity: 1">
                                      <p:cBhvr rctx="IE">
                                        <p:cTn id="335" dur="indefinite"/>
                                        <p:tgtEl>
                                          <p:spTgt spid="51"/>
                                        </p:tgtEl>
                                      </p:cBhvr>
                                    </p:animEffect>
                                  </p:childTnLst>
                                </p:cTn>
                              </p:par>
                              <p:par>
                                <p:cTn id="336" presetID="9" presetClass="emph" presetSubtype="0" grpId="2" nodeType="withEffect">
                                  <p:stCondLst>
                                    <p:cond delay="0"/>
                                  </p:stCondLst>
                                  <p:childTnLst>
                                    <p:set>
                                      <p:cBhvr>
                                        <p:cTn id="337" dur="indefinite"/>
                                        <p:tgtEl>
                                          <p:spTgt spid="52"/>
                                        </p:tgtEl>
                                        <p:attrNameLst>
                                          <p:attrName>style.opacity</p:attrName>
                                        </p:attrNameLst>
                                      </p:cBhvr>
                                      <p:to>
                                        <p:strVal val="1"/>
                                      </p:to>
                                    </p:set>
                                    <p:animEffect filter="image" prLst="opacity: 1">
                                      <p:cBhvr rctx="IE">
                                        <p:cTn id="338" dur="indefinite"/>
                                        <p:tgtEl>
                                          <p:spTgt spid="52"/>
                                        </p:tgtEl>
                                      </p:cBhvr>
                                    </p:animEffect>
                                  </p:childTnLst>
                                </p:cTn>
                              </p:par>
                              <p:par>
                                <p:cTn id="339" presetID="9" presetClass="emph" presetSubtype="0" grpId="2" nodeType="withEffect">
                                  <p:stCondLst>
                                    <p:cond delay="0"/>
                                  </p:stCondLst>
                                  <p:childTnLst>
                                    <p:set>
                                      <p:cBhvr>
                                        <p:cTn id="340" dur="indefinite"/>
                                        <p:tgtEl>
                                          <p:spTgt spid="54"/>
                                        </p:tgtEl>
                                        <p:attrNameLst>
                                          <p:attrName>style.opacity</p:attrName>
                                        </p:attrNameLst>
                                      </p:cBhvr>
                                      <p:to>
                                        <p:strVal val="1"/>
                                      </p:to>
                                    </p:set>
                                    <p:animEffect filter="image" prLst="opacity: 1">
                                      <p:cBhvr rctx="IE">
                                        <p:cTn id="341" dur="indefinite"/>
                                        <p:tgtEl>
                                          <p:spTgt spid="54"/>
                                        </p:tgtEl>
                                      </p:cBhvr>
                                    </p:animEffect>
                                  </p:childTnLst>
                                </p:cTn>
                              </p:par>
                              <p:par>
                                <p:cTn id="342" presetID="9" presetClass="emph" presetSubtype="0" grpId="2" nodeType="withEffect">
                                  <p:stCondLst>
                                    <p:cond delay="0"/>
                                  </p:stCondLst>
                                  <p:childTnLst>
                                    <p:set>
                                      <p:cBhvr>
                                        <p:cTn id="343" dur="indefinite"/>
                                        <p:tgtEl>
                                          <p:spTgt spid="24">
                                            <p:txEl>
                                              <p:pRg st="0" end="0"/>
                                            </p:txEl>
                                          </p:spTgt>
                                        </p:tgtEl>
                                        <p:attrNameLst>
                                          <p:attrName>style.opacity</p:attrName>
                                        </p:attrNameLst>
                                      </p:cBhvr>
                                      <p:to>
                                        <p:strVal val="1"/>
                                      </p:to>
                                    </p:set>
                                    <p:animEffect filter="image" prLst="opacity: 1">
                                      <p:cBhvr rctx="IE">
                                        <p:cTn id="344" dur="indefinite"/>
                                        <p:tgtEl>
                                          <p:spTgt spid="24">
                                            <p:txEl>
                                              <p:pRg st="0" end="0"/>
                                            </p:txEl>
                                          </p:spTgt>
                                        </p:tgtEl>
                                      </p:cBhvr>
                                    </p:animEffect>
                                  </p:childTnLst>
                                </p:cTn>
                              </p:par>
                              <p:par>
                                <p:cTn id="345" presetID="9" presetClass="emph" presetSubtype="0" grpId="2" nodeType="withEffect">
                                  <p:stCondLst>
                                    <p:cond delay="0"/>
                                  </p:stCondLst>
                                  <p:childTnLst>
                                    <p:set>
                                      <p:cBhvr>
                                        <p:cTn id="346" dur="indefinite"/>
                                        <p:tgtEl>
                                          <p:spTgt spid="25">
                                            <p:txEl>
                                              <p:pRg st="0" end="0"/>
                                            </p:txEl>
                                          </p:spTgt>
                                        </p:tgtEl>
                                        <p:attrNameLst>
                                          <p:attrName>style.opacity</p:attrName>
                                        </p:attrNameLst>
                                      </p:cBhvr>
                                      <p:to>
                                        <p:strVal val="1"/>
                                      </p:to>
                                    </p:set>
                                    <p:animEffect filter="image" prLst="opacity: 1">
                                      <p:cBhvr rctx="IE">
                                        <p:cTn id="347" dur="indefinite"/>
                                        <p:tgtEl>
                                          <p:spTgt spid="25">
                                            <p:txEl>
                                              <p:pRg st="0" end="0"/>
                                            </p:txEl>
                                          </p:spTgt>
                                        </p:tgtEl>
                                      </p:cBhvr>
                                    </p:animEffect>
                                  </p:childTnLst>
                                </p:cTn>
                              </p:par>
                              <p:par>
                                <p:cTn id="348" presetID="9" presetClass="emph" presetSubtype="0" grpId="2" nodeType="withEffect">
                                  <p:stCondLst>
                                    <p:cond delay="0"/>
                                  </p:stCondLst>
                                  <p:childTnLst>
                                    <p:set>
                                      <p:cBhvr>
                                        <p:cTn id="349" dur="indefinite"/>
                                        <p:tgtEl>
                                          <p:spTgt spid="26">
                                            <p:txEl>
                                              <p:pRg st="0" end="0"/>
                                            </p:txEl>
                                          </p:spTgt>
                                        </p:tgtEl>
                                        <p:attrNameLst>
                                          <p:attrName>style.opacity</p:attrName>
                                        </p:attrNameLst>
                                      </p:cBhvr>
                                      <p:to>
                                        <p:strVal val="1"/>
                                      </p:to>
                                    </p:set>
                                    <p:animEffect filter="image" prLst="opacity: 1">
                                      <p:cBhvr rctx="IE">
                                        <p:cTn id="350" dur="indefinite"/>
                                        <p:tgtEl>
                                          <p:spTgt spid="26">
                                            <p:txEl>
                                              <p:pRg st="0" end="0"/>
                                            </p:txEl>
                                          </p:spTgt>
                                        </p:tgtEl>
                                      </p:cBhvr>
                                    </p:animEffect>
                                  </p:childTnLst>
                                </p:cTn>
                              </p:par>
                              <p:par>
                                <p:cTn id="351" presetID="9" presetClass="emph" presetSubtype="0" grpId="2" nodeType="withEffect">
                                  <p:stCondLst>
                                    <p:cond delay="0"/>
                                  </p:stCondLst>
                                  <p:childTnLst>
                                    <p:set>
                                      <p:cBhvr>
                                        <p:cTn id="352" dur="indefinite"/>
                                        <p:tgtEl>
                                          <p:spTgt spid="27">
                                            <p:txEl>
                                              <p:pRg st="0" end="0"/>
                                            </p:txEl>
                                          </p:spTgt>
                                        </p:tgtEl>
                                        <p:attrNameLst>
                                          <p:attrName>style.opacity</p:attrName>
                                        </p:attrNameLst>
                                      </p:cBhvr>
                                      <p:to>
                                        <p:strVal val="1"/>
                                      </p:to>
                                    </p:set>
                                    <p:animEffect filter="image" prLst="opacity: 1">
                                      <p:cBhvr rctx="IE">
                                        <p:cTn id="353" dur="indefinite"/>
                                        <p:tgtEl>
                                          <p:spTgt spid="27">
                                            <p:txEl>
                                              <p:pRg st="0" end="0"/>
                                            </p:txEl>
                                          </p:spTgt>
                                        </p:tgtEl>
                                      </p:cBhvr>
                                    </p:animEffect>
                                  </p:childTnLst>
                                </p:cTn>
                              </p:par>
                              <p:par>
                                <p:cTn id="354" presetID="9" presetClass="emph" presetSubtype="0" nodeType="withEffect">
                                  <p:stCondLst>
                                    <p:cond delay="0"/>
                                  </p:stCondLst>
                                  <p:childTnLst>
                                    <p:set>
                                      <p:cBhvr>
                                        <p:cTn id="355" dur="indefinite"/>
                                        <p:tgtEl>
                                          <p:spTgt spid="86"/>
                                        </p:tgtEl>
                                        <p:attrNameLst>
                                          <p:attrName>style.opacity</p:attrName>
                                        </p:attrNameLst>
                                      </p:cBhvr>
                                      <p:to>
                                        <p:strVal val="1"/>
                                      </p:to>
                                    </p:set>
                                    <p:animEffect filter="image" prLst="opacity: 1">
                                      <p:cBhvr rctx="IE">
                                        <p:cTn id="356" dur="indefinite"/>
                                        <p:tgtEl>
                                          <p:spTgt spid="86"/>
                                        </p:tgtEl>
                                      </p:cBhvr>
                                    </p:animEffect>
                                  </p:childTnLst>
                                </p:cTn>
                              </p:par>
                              <p:par>
                                <p:cTn id="357" presetID="9" presetClass="emph" presetSubtype="0" nodeType="withEffect">
                                  <p:stCondLst>
                                    <p:cond delay="0"/>
                                  </p:stCondLst>
                                  <p:childTnLst>
                                    <p:set>
                                      <p:cBhvr>
                                        <p:cTn id="358" dur="indefinite"/>
                                        <p:tgtEl>
                                          <p:spTgt spid="102"/>
                                        </p:tgtEl>
                                        <p:attrNameLst>
                                          <p:attrName>style.opacity</p:attrName>
                                        </p:attrNameLst>
                                      </p:cBhvr>
                                      <p:to>
                                        <p:strVal val="1"/>
                                      </p:to>
                                    </p:set>
                                    <p:animEffect filter="image" prLst="opacity: 1">
                                      <p:cBhvr rctx="IE">
                                        <p:cTn id="359" dur="indefinite"/>
                                        <p:tgtEl>
                                          <p:spTgt spid="102"/>
                                        </p:tgtEl>
                                      </p:cBhvr>
                                    </p:animEffect>
                                  </p:childTnLst>
                                </p:cTn>
                              </p:par>
                              <p:par>
                                <p:cTn id="360" presetID="9" presetClass="emph" presetSubtype="0" nodeType="withEffect">
                                  <p:stCondLst>
                                    <p:cond delay="0"/>
                                  </p:stCondLst>
                                  <p:childTnLst>
                                    <p:set>
                                      <p:cBhvr>
                                        <p:cTn id="361" dur="indefinite"/>
                                        <p:tgtEl>
                                          <p:spTgt spid="117"/>
                                        </p:tgtEl>
                                        <p:attrNameLst>
                                          <p:attrName>style.opacity</p:attrName>
                                        </p:attrNameLst>
                                      </p:cBhvr>
                                      <p:to>
                                        <p:strVal val="1"/>
                                      </p:to>
                                    </p:set>
                                    <p:animEffect filter="image" prLst="opacity: 1">
                                      <p:cBhvr rctx="IE">
                                        <p:cTn id="362" dur="indefinite"/>
                                        <p:tgtEl>
                                          <p:spTgt spid="117"/>
                                        </p:tgtEl>
                                      </p:cBhvr>
                                    </p:animEffect>
                                  </p:childTnLst>
                                </p:cTn>
                              </p:par>
                              <p:par>
                                <p:cTn id="363" presetID="9" presetClass="emph" presetSubtype="0" nodeType="withEffect">
                                  <p:stCondLst>
                                    <p:cond delay="0"/>
                                  </p:stCondLst>
                                  <p:childTnLst>
                                    <p:set>
                                      <p:cBhvr>
                                        <p:cTn id="364" dur="indefinite"/>
                                        <p:tgtEl>
                                          <p:spTgt spid="165"/>
                                        </p:tgtEl>
                                        <p:attrNameLst>
                                          <p:attrName>style.opacity</p:attrName>
                                        </p:attrNameLst>
                                      </p:cBhvr>
                                      <p:to>
                                        <p:strVal val="1"/>
                                      </p:to>
                                    </p:set>
                                    <p:animEffect filter="image" prLst="opacity: 1">
                                      <p:cBhvr rctx="IE">
                                        <p:cTn id="365" dur="indefinite"/>
                                        <p:tgtEl>
                                          <p:spTgt spid="165"/>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41"/>
                                        </p:tgtEl>
                                        <p:attrNameLst>
                                          <p:attrName>style.visibility</p:attrName>
                                        </p:attrNameLst>
                                      </p:cBhvr>
                                      <p:to>
                                        <p:strVal val="visible"/>
                                      </p:to>
                                    </p:set>
                                    <p:animEffect transition="in" filter="fade">
                                      <p:cBhvr>
                                        <p:cTn id="368" dur="500"/>
                                        <p:tgtEl>
                                          <p:spTgt spid="141"/>
                                        </p:tgtEl>
                                      </p:cBhvr>
                                    </p:animEffect>
                                  </p:childTnLst>
                                </p:cTn>
                              </p:par>
                              <p:par>
                                <p:cTn id="369" presetID="9" presetClass="emph" presetSubtype="0" grpId="1" nodeType="withEffect">
                                  <p:stCondLst>
                                    <p:cond delay="0"/>
                                  </p:stCondLst>
                                  <p:childTnLst>
                                    <p:set>
                                      <p:cBhvr>
                                        <p:cTn id="370" dur="indefinite"/>
                                        <p:tgtEl>
                                          <p:spTgt spid="141"/>
                                        </p:tgtEl>
                                        <p:attrNameLst>
                                          <p:attrName>style.opacity</p:attrName>
                                        </p:attrNameLst>
                                      </p:cBhvr>
                                      <p:to>
                                        <p:strVal val="0.1"/>
                                      </p:to>
                                    </p:set>
                                    <p:animEffect filter="image" prLst="opacity: 0.1">
                                      <p:cBhvr rctx="IE">
                                        <p:cTn id="371" dur="indefinite"/>
                                        <p:tgtEl>
                                          <p:spTgt spid="141"/>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42"/>
                                        </p:tgtEl>
                                        <p:attrNameLst>
                                          <p:attrName>style.visibility</p:attrName>
                                        </p:attrNameLst>
                                      </p:cBhvr>
                                      <p:to>
                                        <p:strVal val="visible"/>
                                      </p:to>
                                    </p:set>
                                    <p:animEffect transition="in" filter="fade">
                                      <p:cBhvr>
                                        <p:cTn id="374" dur="500"/>
                                        <p:tgtEl>
                                          <p:spTgt spid="142"/>
                                        </p:tgtEl>
                                      </p:cBhvr>
                                    </p:animEffect>
                                  </p:childTnLst>
                                </p:cTn>
                              </p:par>
                              <p:par>
                                <p:cTn id="375" presetID="9" presetClass="emph" presetSubtype="0" grpId="1" nodeType="withEffect">
                                  <p:stCondLst>
                                    <p:cond delay="0"/>
                                  </p:stCondLst>
                                  <p:childTnLst>
                                    <p:set>
                                      <p:cBhvr>
                                        <p:cTn id="376" dur="indefinite"/>
                                        <p:tgtEl>
                                          <p:spTgt spid="142"/>
                                        </p:tgtEl>
                                        <p:attrNameLst>
                                          <p:attrName>style.opacity</p:attrName>
                                        </p:attrNameLst>
                                      </p:cBhvr>
                                      <p:to>
                                        <p:strVal val="0.1"/>
                                      </p:to>
                                    </p:set>
                                    <p:animEffect filter="image" prLst="opacity: 0.1">
                                      <p:cBhvr rctx="IE">
                                        <p:cTn id="377" dur="indefinite"/>
                                        <p:tgtEl>
                                          <p:spTgt spid="142"/>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43"/>
                                        </p:tgtEl>
                                        <p:attrNameLst>
                                          <p:attrName>style.visibility</p:attrName>
                                        </p:attrNameLst>
                                      </p:cBhvr>
                                      <p:to>
                                        <p:strVal val="visible"/>
                                      </p:to>
                                    </p:set>
                                    <p:animEffect transition="in" filter="fade">
                                      <p:cBhvr>
                                        <p:cTn id="380" dur="500"/>
                                        <p:tgtEl>
                                          <p:spTgt spid="143"/>
                                        </p:tgtEl>
                                      </p:cBhvr>
                                    </p:animEffect>
                                  </p:childTnLst>
                                </p:cTn>
                              </p:par>
                              <p:par>
                                <p:cTn id="381" presetID="9" presetClass="emph" presetSubtype="0" grpId="1" nodeType="withEffect">
                                  <p:stCondLst>
                                    <p:cond delay="0"/>
                                  </p:stCondLst>
                                  <p:childTnLst>
                                    <p:set>
                                      <p:cBhvr>
                                        <p:cTn id="382" dur="indefinite"/>
                                        <p:tgtEl>
                                          <p:spTgt spid="143"/>
                                        </p:tgtEl>
                                        <p:attrNameLst>
                                          <p:attrName>style.opacity</p:attrName>
                                        </p:attrNameLst>
                                      </p:cBhvr>
                                      <p:to>
                                        <p:strVal val="0.1"/>
                                      </p:to>
                                    </p:set>
                                    <p:animEffect filter="image" prLst="opacity: 0.1">
                                      <p:cBhvr rctx="IE">
                                        <p:cTn id="383" dur="indefinite"/>
                                        <p:tgtEl>
                                          <p:spTgt spid="143"/>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44"/>
                                        </p:tgtEl>
                                        <p:attrNameLst>
                                          <p:attrName>style.visibility</p:attrName>
                                        </p:attrNameLst>
                                      </p:cBhvr>
                                      <p:to>
                                        <p:strVal val="visible"/>
                                      </p:to>
                                    </p:set>
                                    <p:animEffect transition="in" filter="fade">
                                      <p:cBhvr>
                                        <p:cTn id="386" dur="500"/>
                                        <p:tgtEl>
                                          <p:spTgt spid="144"/>
                                        </p:tgtEl>
                                      </p:cBhvr>
                                    </p:animEffect>
                                  </p:childTnLst>
                                </p:cTn>
                              </p:par>
                              <p:par>
                                <p:cTn id="387" presetID="9" presetClass="emph" presetSubtype="0" grpId="1" nodeType="withEffect">
                                  <p:stCondLst>
                                    <p:cond delay="0"/>
                                  </p:stCondLst>
                                  <p:childTnLst>
                                    <p:set>
                                      <p:cBhvr>
                                        <p:cTn id="388" dur="indefinite"/>
                                        <p:tgtEl>
                                          <p:spTgt spid="144"/>
                                        </p:tgtEl>
                                        <p:attrNameLst>
                                          <p:attrName>style.opacity</p:attrName>
                                        </p:attrNameLst>
                                      </p:cBhvr>
                                      <p:to>
                                        <p:strVal val="0.1"/>
                                      </p:to>
                                    </p:set>
                                    <p:animEffect filter="image" prLst="opacity: 0.1">
                                      <p:cBhvr rctx="IE">
                                        <p:cTn id="389" dur="indefinite"/>
                                        <p:tgtEl>
                                          <p:spTgt spid="144"/>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45"/>
                                        </p:tgtEl>
                                        <p:attrNameLst>
                                          <p:attrName>style.visibility</p:attrName>
                                        </p:attrNameLst>
                                      </p:cBhvr>
                                      <p:to>
                                        <p:strVal val="visible"/>
                                      </p:to>
                                    </p:set>
                                    <p:animEffect transition="in" filter="fade">
                                      <p:cBhvr>
                                        <p:cTn id="392" dur="500"/>
                                        <p:tgtEl>
                                          <p:spTgt spid="145"/>
                                        </p:tgtEl>
                                      </p:cBhvr>
                                    </p:animEffect>
                                  </p:childTnLst>
                                </p:cTn>
                              </p:par>
                              <p:par>
                                <p:cTn id="393" presetID="9" presetClass="emph" presetSubtype="0" grpId="2" nodeType="withEffect">
                                  <p:stCondLst>
                                    <p:cond delay="0"/>
                                  </p:stCondLst>
                                  <p:childTnLst>
                                    <p:set>
                                      <p:cBhvr>
                                        <p:cTn id="394" dur="indefinite"/>
                                        <p:tgtEl>
                                          <p:spTgt spid="141"/>
                                        </p:tgtEl>
                                        <p:attrNameLst>
                                          <p:attrName>style.opacity</p:attrName>
                                        </p:attrNameLst>
                                      </p:cBhvr>
                                      <p:to>
                                        <p:strVal val="1"/>
                                      </p:to>
                                    </p:set>
                                    <p:animEffect filter="image" prLst="opacity: 1">
                                      <p:cBhvr rctx="IE">
                                        <p:cTn id="395" dur="indefinite"/>
                                        <p:tgtEl>
                                          <p:spTgt spid="141"/>
                                        </p:tgtEl>
                                      </p:cBhvr>
                                    </p:animEffect>
                                  </p:childTnLst>
                                </p:cTn>
                              </p:par>
                              <p:par>
                                <p:cTn id="396" presetID="9" presetClass="emph" presetSubtype="0" grpId="2" nodeType="withEffect">
                                  <p:stCondLst>
                                    <p:cond delay="0"/>
                                  </p:stCondLst>
                                  <p:childTnLst>
                                    <p:set>
                                      <p:cBhvr>
                                        <p:cTn id="397" dur="indefinite"/>
                                        <p:tgtEl>
                                          <p:spTgt spid="142"/>
                                        </p:tgtEl>
                                        <p:attrNameLst>
                                          <p:attrName>style.opacity</p:attrName>
                                        </p:attrNameLst>
                                      </p:cBhvr>
                                      <p:to>
                                        <p:strVal val="1"/>
                                      </p:to>
                                    </p:set>
                                    <p:animEffect filter="image" prLst="opacity: 1">
                                      <p:cBhvr rctx="IE">
                                        <p:cTn id="398" dur="indefinite"/>
                                        <p:tgtEl>
                                          <p:spTgt spid="142"/>
                                        </p:tgtEl>
                                      </p:cBhvr>
                                    </p:animEffect>
                                  </p:childTnLst>
                                </p:cTn>
                              </p:par>
                              <p:par>
                                <p:cTn id="399" presetID="9" presetClass="emph" presetSubtype="0" grpId="2" nodeType="withEffect">
                                  <p:stCondLst>
                                    <p:cond delay="0"/>
                                  </p:stCondLst>
                                  <p:childTnLst>
                                    <p:set>
                                      <p:cBhvr>
                                        <p:cTn id="400" dur="indefinite"/>
                                        <p:tgtEl>
                                          <p:spTgt spid="143"/>
                                        </p:tgtEl>
                                        <p:attrNameLst>
                                          <p:attrName>style.opacity</p:attrName>
                                        </p:attrNameLst>
                                      </p:cBhvr>
                                      <p:to>
                                        <p:strVal val="1"/>
                                      </p:to>
                                    </p:set>
                                    <p:animEffect filter="image" prLst="opacity: 1">
                                      <p:cBhvr rctx="IE">
                                        <p:cTn id="401" dur="indefinite"/>
                                        <p:tgtEl>
                                          <p:spTgt spid="143"/>
                                        </p:tgtEl>
                                      </p:cBhvr>
                                    </p:animEffect>
                                  </p:childTnLst>
                                </p:cTn>
                              </p:par>
                              <p:par>
                                <p:cTn id="402" presetID="9" presetClass="emph" presetSubtype="0" grpId="2" nodeType="withEffect">
                                  <p:stCondLst>
                                    <p:cond delay="0"/>
                                  </p:stCondLst>
                                  <p:childTnLst>
                                    <p:set>
                                      <p:cBhvr>
                                        <p:cTn id="403" dur="indefinite"/>
                                        <p:tgtEl>
                                          <p:spTgt spid="144"/>
                                        </p:tgtEl>
                                        <p:attrNameLst>
                                          <p:attrName>style.opacity</p:attrName>
                                        </p:attrNameLst>
                                      </p:cBhvr>
                                      <p:to>
                                        <p:strVal val="1"/>
                                      </p:to>
                                    </p:set>
                                    <p:animEffect filter="image" prLst="opacity: 1">
                                      <p:cBhvr rctx="IE">
                                        <p:cTn id="404" dur="indefinite"/>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7" grpId="1" animBg="1"/>
      <p:bldP spid="87" grpId="2" animBg="1"/>
      <p:bldP spid="109" grpId="0" animBg="1"/>
      <p:bldP spid="109" grpId="1" animBg="1"/>
      <p:bldP spid="109" grpId="2" animBg="1"/>
      <p:bldP spid="110" grpId="0" animBg="1"/>
      <p:bldP spid="110" grpId="1" animBg="1"/>
      <p:bldP spid="110" grpId="2" animBg="1"/>
      <p:bldP spid="111" grpId="0" animBg="1"/>
      <p:bldP spid="111" grpId="1" animBg="1"/>
      <p:bldP spid="111" grpId="2" animBg="1"/>
      <p:bldP spid="112" grpId="0" animBg="1"/>
      <p:bldP spid="130" grpId="0" animBg="1"/>
      <p:bldP spid="130" grpId="1" animBg="1"/>
      <p:bldP spid="130" grpId="2" animBg="1"/>
      <p:bldP spid="131" grpId="0" animBg="1"/>
      <p:bldP spid="131" grpId="1" animBg="1"/>
      <p:bldP spid="131" grpId="2" animBg="1"/>
      <p:bldP spid="132" grpId="0" animBg="1"/>
      <p:bldP spid="132" grpId="1" animBg="1"/>
      <p:bldP spid="132" grpId="2" animBg="1"/>
      <p:bldP spid="133" grpId="0" animBg="1"/>
      <p:bldP spid="133" grpId="1" animBg="1"/>
      <p:bldP spid="133" grpId="2" animBg="1"/>
      <p:bldP spid="134" grpId="0" animBg="1"/>
      <p:bldP spid="7" grpId="0" build="p"/>
      <p:bldP spid="7" grpId="1" build="p"/>
      <p:bldP spid="7" grpId="2" build="p"/>
      <p:bldP spid="8" grpId="0" build="p"/>
      <p:bldP spid="8" grpId="1" build="p"/>
      <p:bldP spid="8" grpId="2" build="p"/>
      <p:bldP spid="9" grpId="0" build="p"/>
      <p:bldP spid="9" grpId="1" build="p"/>
      <p:bldP spid="9" grpId="2" build="p"/>
      <p:bldP spid="10" grpId="0" build="p"/>
      <p:bldP spid="10" grpId="1" build="p"/>
      <p:bldP spid="10" grpId="2" build="p"/>
      <p:bldP spid="12" grpId="0" build="p"/>
      <p:bldP spid="4" grpId="0" build="p"/>
      <p:bldP spid="4" grpId="1" build="p"/>
      <p:bldP spid="4" grpId="2" build="p"/>
      <p:bldP spid="5" grpId="0" build="p"/>
      <p:bldP spid="5" grpId="1" build="p"/>
      <p:bldP spid="5" grpId="2" build="p"/>
      <p:bldP spid="6" grpId="0" build="p"/>
      <p:bldP spid="6" grpId="1" build="p"/>
      <p:bldP spid="6" grpId="2" build="p"/>
      <p:bldP spid="11" grpId="0" build="p"/>
      <p:bldP spid="11" grpId="1" build="p"/>
      <p:bldP spid="11" grpId="2" build="p"/>
      <p:bldP spid="13" grpId="0" build="p"/>
      <p:bldP spid="45" grpId="0"/>
      <p:bldP spid="45" grpId="1"/>
      <p:bldP spid="45" grpId="2"/>
      <p:bldP spid="46" grpId="0"/>
      <p:bldP spid="46" grpId="1"/>
      <p:bldP spid="46" grpId="2"/>
      <p:bldP spid="47" grpId="0"/>
      <p:bldP spid="47" grpId="1"/>
      <p:bldP spid="47" grpId="2"/>
      <p:bldP spid="48" grpId="0"/>
      <p:bldP spid="49" grpId="0"/>
      <p:bldP spid="49" grpId="1"/>
      <p:bldP spid="49" grpId="2"/>
      <p:bldP spid="50" grpId="0"/>
      <p:bldP spid="50" grpId="1"/>
      <p:bldP spid="50" grpId="2"/>
      <p:bldP spid="51" grpId="0"/>
      <p:bldP spid="51" grpId="1"/>
      <p:bldP spid="51" grpId="2"/>
      <p:bldP spid="52" grpId="0"/>
      <p:bldP spid="52" grpId="1"/>
      <p:bldP spid="52" grpId="2"/>
      <p:bldP spid="53" grpId="0"/>
      <p:bldP spid="54" grpId="0"/>
      <p:bldP spid="54" grpId="1"/>
      <p:bldP spid="54"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P spid="141" grpId="0" animBg="1"/>
      <p:bldP spid="141" grpId="1" animBg="1"/>
      <p:bldP spid="141" grpId="2" animBg="1"/>
      <p:bldP spid="142" grpId="0" animBg="1"/>
      <p:bldP spid="142" grpId="1" animBg="1"/>
      <p:bldP spid="142" grpId="2" animBg="1"/>
      <p:bldP spid="143" grpId="0" animBg="1"/>
      <p:bldP spid="143" grpId="1" animBg="1"/>
      <p:bldP spid="143" grpId="2" animBg="1"/>
      <p:bldP spid="144" grpId="0" animBg="1"/>
      <p:bldP spid="144" grpId="1" animBg="1"/>
      <p:bldP spid="144" grpId="2" animBg="1"/>
      <p:bldP spid="14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50" name="Rectangle 149">
            <a:extLst>
              <a:ext uri="{FF2B5EF4-FFF2-40B4-BE49-F238E27FC236}">
                <a16:creationId xmlns:a16="http://schemas.microsoft.com/office/drawing/2014/main" id="{0392D18A-98DA-094B-B62C-031CE914F5CC}"/>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1" name="Rectangle 150">
            <a:extLst>
              <a:ext uri="{FF2B5EF4-FFF2-40B4-BE49-F238E27FC236}">
                <a16:creationId xmlns:a16="http://schemas.microsoft.com/office/drawing/2014/main" id="{A536A2DE-BC85-7744-A882-4EF87B285C1B}"/>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2" name="Rectangle 151">
            <a:extLst>
              <a:ext uri="{FF2B5EF4-FFF2-40B4-BE49-F238E27FC236}">
                <a16:creationId xmlns:a16="http://schemas.microsoft.com/office/drawing/2014/main" id="{B4C0EE29-C80E-3D46-AF8D-6086079FA94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3" name="Rectangle 152">
            <a:extLst>
              <a:ext uri="{FF2B5EF4-FFF2-40B4-BE49-F238E27FC236}">
                <a16:creationId xmlns:a16="http://schemas.microsoft.com/office/drawing/2014/main" id="{3E7CB7EC-AAD5-724E-9BB4-7F8917FA7E1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4" name="Rectangle 153">
            <a:extLst>
              <a:ext uri="{FF2B5EF4-FFF2-40B4-BE49-F238E27FC236}">
                <a16:creationId xmlns:a16="http://schemas.microsoft.com/office/drawing/2014/main" id="{127772F1-D9FF-6342-970A-32EEC192FA8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55" name="Shape 770">
            <a:extLst>
              <a:ext uri="{FF2B5EF4-FFF2-40B4-BE49-F238E27FC236}">
                <a16:creationId xmlns:a16="http://schemas.microsoft.com/office/drawing/2014/main" id="{1C8BD9CF-4908-5645-BD08-9E32F64BF69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6" name="Shape 770">
            <a:extLst>
              <a:ext uri="{FF2B5EF4-FFF2-40B4-BE49-F238E27FC236}">
                <a16:creationId xmlns:a16="http://schemas.microsoft.com/office/drawing/2014/main" id="{103D37E2-0056-6240-8BB8-E530F60F89A6}"/>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7" name="Shape 770">
            <a:extLst>
              <a:ext uri="{FF2B5EF4-FFF2-40B4-BE49-F238E27FC236}">
                <a16:creationId xmlns:a16="http://schemas.microsoft.com/office/drawing/2014/main" id="{20D8CBDF-DF0F-F240-A5BB-691CCA49F168}"/>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8" name="Shape 770">
            <a:extLst>
              <a:ext uri="{FF2B5EF4-FFF2-40B4-BE49-F238E27FC236}">
                <a16:creationId xmlns:a16="http://schemas.microsoft.com/office/drawing/2014/main" id="{1D4142E9-A998-5C4C-88FC-CD5FA9D7558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9" name="Shape 770">
            <a:extLst>
              <a:ext uri="{FF2B5EF4-FFF2-40B4-BE49-F238E27FC236}">
                <a16:creationId xmlns:a16="http://schemas.microsoft.com/office/drawing/2014/main" id="{F76DB70D-7465-5E42-99B6-330A1402060C}"/>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60" name="Freeform 3">
            <a:extLst>
              <a:ext uri="{FF2B5EF4-FFF2-40B4-BE49-F238E27FC236}">
                <a16:creationId xmlns:a16="http://schemas.microsoft.com/office/drawing/2014/main" id="{E4C8C9A5-2CBA-3447-9323-5D022F91C4E5}"/>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177">
            <a:extLst>
              <a:ext uri="{FF2B5EF4-FFF2-40B4-BE49-F238E27FC236}">
                <a16:creationId xmlns:a16="http://schemas.microsoft.com/office/drawing/2014/main" id="{5E5421F6-F363-814E-B420-DF2CE6E7FE8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179">
            <a:extLst>
              <a:ext uri="{FF2B5EF4-FFF2-40B4-BE49-F238E27FC236}">
                <a16:creationId xmlns:a16="http://schemas.microsoft.com/office/drawing/2014/main" id="{36DD2914-829C-4E43-9B85-807E6842B06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181">
            <a:extLst>
              <a:ext uri="{FF2B5EF4-FFF2-40B4-BE49-F238E27FC236}">
                <a16:creationId xmlns:a16="http://schemas.microsoft.com/office/drawing/2014/main" id="{0B71541A-E4D5-BB43-A819-58D53FC9150D}"/>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183">
            <a:extLst>
              <a:ext uri="{FF2B5EF4-FFF2-40B4-BE49-F238E27FC236}">
                <a16:creationId xmlns:a16="http://schemas.microsoft.com/office/drawing/2014/main" id="{18AC587F-6597-A742-B258-B05C624F68A1}"/>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Shape 57">
            <a:extLst>
              <a:ext uri="{FF2B5EF4-FFF2-40B4-BE49-F238E27FC236}">
                <a16:creationId xmlns:a16="http://schemas.microsoft.com/office/drawing/2014/main" id="{98770D33-D1DF-D049-B023-ACE2B9CEC1CE}"/>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6" name="Freeform: Shape 56">
            <a:extLst>
              <a:ext uri="{FF2B5EF4-FFF2-40B4-BE49-F238E27FC236}">
                <a16:creationId xmlns:a16="http://schemas.microsoft.com/office/drawing/2014/main" id="{D1D1888D-BBDC-FC4D-A9AC-A805A41E394E}"/>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7" name="Freeform: Shape 55">
            <a:extLst>
              <a:ext uri="{FF2B5EF4-FFF2-40B4-BE49-F238E27FC236}">
                <a16:creationId xmlns:a16="http://schemas.microsoft.com/office/drawing/2014/main" id="{A5859484-505A-1641-BF2E-3B413684038F}"/>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Freeform: Shape 54">
            <a:extLst>
              <a:ext uri="{FF2B5EF4-FFF2-40B4-BE49-F238E27FC236}">
                <a16:creationId xmlns:a16="http://schemas.microsoft.com/office/drawing/2014/main" id="{E21075BC-20E6-624D-B48B-A713A14AEE47}"/>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9" name="Freeform: Shape 53">
            <a:extLst>
              <a:ext uri="{FF2B5EF4-FFF2-40B4-BE49-F238E27FC236}">
                <a16:creationId xmlns:a16="http://schemas.microsoft.com/office/drawing/2014/main" id="{8B732B1C-9EF1-8F4C-B5D6-832E6D06814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B28EBEDE-A40E-4235-8ECC-57993EFFE1B7}"/>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dirty="0">
                <a:sym typeface="Source Sans Pro"/>
              </a:rPr>
              <a:t>Digital oil field/</a:t>
            </a:r>
            <a:br>
              <a:rPr lang="en-US" dirty="0">
                <a:sym typeface="Source Sans Pro"/>
              </a:rPr>
            </a:br>
            <a:r>
              <a:rPr lang="en-US" dirty="0">
                <a:sym typeface="Source Sans Pro"/>
              </a:rPr>
              <a:t>oil production</a:t>
            </a:r>
          </a:p>
        </p:txBody>
      </p:sp>
      <p:sp>
        <p:nvSpPr>
          <p:cNvPr id="9" name="Text Placeholder 8">
            <a:extLst>
              <a:ext uri="{FF2B5EF4-FFF2-40B4-BE49-F238E27FC236}">
                <a16:creationId xmlns:a16="http://schemas.microsoft.com/office/drawing/2014/main" id="{3B7429EA-DCBA-4A87-93CC-6841CAF88556}"/>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dirty="0">
                <a:sym typeface="Source Sans Pro"/>
              </a:rPr>
              <a:t>Industrial</a:t>
            </a:r>
            <a:br>
              <a:rPr lang="en-US" dirty="0">
                <a:sym typeface="Source Sans Pro"/>
              </a:rPr>
            </a:br>
            <a:r>
              <a:rPr lang="en-US" dirty="0">
                <a:sym typeface="Source Sans Pro"/>
              </a:rPr>
              <a:t>IoT</a:t>
            </a:r>
          </a:p>
        </p:txBody>
      </p:sp>
      <p:sp>
        <p:nvSpPr>
          <p:cNvPr id="10" name="Text Placeholder 9">
            <a:extLst>
              <a:ext uri="{FF2B5EF4-FFF2-40B4-BE49-F238E27FC236}">
                <a16:creationId xmlns:a16="http://schemas.microsoft.com/office/drawing/2014/main" id="{1B8BED94-302D-4397-9AE5-126675A97CDD}"/>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dirty="0">
                <a:sym typeface="Source Sans Pro"/>
              </a:rPr>
              <a:t>Supply-chain optimization</a:t>
            </a:r>
          </a:p>
        </p:txBody>
      </p:sp>
      <p:sp>
        <p:nvSpPr>
          <p:cNvPr id="11" name="Text Placeholder 10">
            <a:extLst>
              <a:ext uri="{FF2B5EF4-FFF2-40B4-BE49-F238E27FC236}">
                <a16:creationId xmlns:a16="http://schemas.microsoft.com/office/drawing/2014/main" id="{AEE0B1AF-C5CF-4C08-913C-C48014ACC7C5}"/>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dirty="0">
                <a:sym typeface="Source Sans Pro"/>
              </a:rPr>
              <a:t>Safety and</a:t>
            </a:r>
            <a:br>
              <a:rPr lang="en-US" dirty="0">
                <a:sym typeface="Source Sans Pro"/>
              </a:rPr>
            </a:br>
            <a:r>
              <a:rPr lang="en-US" dirty="0">
                <a:sym typeface="Source Sans Pro"/>
              </a:rPr>
              <a:t>security </a:t>
            </a:r>
          </a:p>
        </p:txBody>
      </p:sp>
      <p:sp>
        <p:nvSpPr>
          <p:cNvPr id="12" name="Text Placeholder 11">
            <a:extLst>
              <a:ext uri="{FF2B5EF4-FFF2-40B4-BE49-F238E27FC236}">
                <a16:creationId xmlns:a16="http://schemas.microsoft.com/office/drawing/2014/main" id="{FFEE5602-C5A6-48C4-8ED5-6AE217369FA8}"/>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dirty="0">
                <a:sym typeface="Source Sans Pro"/>
              </a:rPr>
              <a:t>Sales and marketing </a:t>
            </a:r>
            <a:br>
              <a:rPr lang="en-US" dirty="0">
                <a:sym typeface="Source Sans Pro"/>
              </a:rPr>
            </a:br>
            <a:r>
              <a:rPr lang="en-US" dirty="0">
                <a:sym typeface="Source Sans Pro"/>
              </a:rPr>
              <a:t>analytics</a:t>
            </a:r>
          </a:p>
        </p:txBody>
      </p:sp>
      <p:sp>
        <p:nvSpPr>
          <p:cNvPr id="4" name="Text Placeholder 3">
            <a:extLst>
              <a:ext uri="{FF2B5EF4-FFF2-40B4-BE49-F238E27FC236}">
                <a16:creationId xmlns:a16="http://schemas.microsoft.com/office/drawing/2014/main" id="{53E75DDE-2FF7-4B1D-9596-951E2ECC002C}"/>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revenue</a:t>
            </a:r>
            <a:br>
              <a:rPr lang="en-US" b="0" dirty="0">
                <a:latin typeface="+mj-lt"/>
                <a:sym typeface="Source Sans Pro"/>
              </a:rPr>
            </a:br>
            <a:r>
              <a:rPr lang="en-US" b="0" dirty="0">
                <a:latin typeface="+mj-lt"/>
                <a:sym typeface="Source Sans Pro"/>
              </a:rPr>
              <a:t>growth</a:t>
            </a:r>
          </a:p>
        </p:txBody>
      </p:sp>
      <p:sp>
        <p:nvSpPr>
          <p:cNvPr id="5" name="Text Placeholder 4">
            <a:extLst>
              <a:ext uri="{FF2B5EF4-FFF2-40B4-BE49-F238E27FC236}">
                <a16:creationId xmlns:a16="http://schemas.microsoft.com/office/drawing/2014/main" id="{223B4CFE-F824-4E86-8F1A-661E77253E22}"/>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DAEB286A-9CDF-4521-96D0-C7DB268DBEB6}"/>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Optimizing supply-chain with machine learning</a:t>
            </a:r>
          </a:p>
        </p:txBody>
      </p:sp>
      <p:sp>
        <p:nvSpPr>
          <p:cNvPr id="7" name="Text Placeholder 6">
            <a:extLst>
              <a:ext uri="{FF2B5EF4-FFF2-40B4-BE49-F238E27FC236}">
                <a16:creationId xmlns:a16="http://schemas.microsoft.com/office/drawing/2014/main" id="{2FD0FE96-1E1E-431C-86BC-587023FA726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 analytics transforms safety and security</a:t>
            </a:r>
          </a:p>
        </p:txBody>
      </p:sp>
      <p:sp>
        <p:nvSpPr>
          <p:cNvPr id="13" name="Text Placeholder 12">
            <a:extLst>
              <a:ext uri="{FF2B5EF4-FFF2-40B4-BE49-F238E27FC236}">
                <a16:creationId xmlns:a16="http://schemas.microsoft.com/office/drawing/2014/main" id="{54BBC750-D375-45BC-8D77-3D0BE2807FD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14" name="Text Placeholder 13">
            <a:extLst>
              <a:ext uri="{FF2B5EF4-FFF2-40B4-BE49-F238E27FC236}">
                <a16:creationId xmlns:a16="http://schemas.microsoft.com/office/drawing/2014/main" id="{EE3E51A9-6C80-4990-83FE-4FEE92AD442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eld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sse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6BE63BF-D94F-4BEA-91E3-BAD54F08A15D}"/>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AVs imag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Inventory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21D624F-CC65-403A-8CFE-40267506181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por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tail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Grid produ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finery tuning parameter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7045E676-91BB-45D2-8507-1B004C27BD1D}"/>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mpetitive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F67683E2-C446-4409-9DD8-26EBA9579FA1}"/>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Production optimization</a:t>
            </a:r>
          </a:p>
          <a:p>
            <a:pPr>
              <a:lnSpc>
                <a:spcPct val="90000"/>
              </a:lnSpc>
              <a:spcAft>
                <a:spcPts val="0"/>
              </a:spcAft>
            </a:pPr>
            <a:r>
              <a:rPr lang="en-US" dirty="0">
                <a:sym typeface="Source Sans Pro Light"/>
              </a:rPr>
              <a:t>Integrate exploration</a:t>
            </a:r>
            <a:br>
              <a:rPr lang="en-US" dirty="0">
                <a:sym typeface="Source Sans Pro Light"/>
              </a:rPr>
            </a:br>
            <a:r>
              <a:rPr lang="en-US" dirty="0">
                <a:sym typeface="Source Sans Pro Light"/>
              </a:rPr>
              <a:t>and seismic data</a:t>
            </a:r>
          </a:p>
          <a:p>
            <a:pPr>
              <a:lnSpc>
                <a:spcPct val="90000"/>
              </a:lnSpc>
              <a:spcAft>
                <a:spcPts val="0"/>
              </a:spcAft>
            </a:pPr>
            <a:r>
              <a:rPr lang="en-US" dirty="0">
                <a:sym typeface="Source Sans Pro Light"/>
              </a:rPr>
              <a:t>Minimize lease</a:t>
            </a:r>
            <a:br>
              <a:rPr lang="en-US" dirty="0">
                <a:sym typeface="Source Sans Pro Light"/>
              </a:rPr>
            </a:br>
            <a:r>
              <a:rPr lang="en-US" dirty="0">
                <a:sym typeface="Source Sans Pro Light"/>
              </a:rPr>
              <a:t>operating expenses</a:t>
            </a:r>
          </a:p>
          <a:p>
            <a:pPr>
              <a:lnSpc>
                <a:spcPct val="90000"/>
              </a:lnSpc>
              <a:spcAft>
                <a:spcPts val="0"/>
              </a:spcAft>
            </a:pPr>
            <a:r>
              <a:rPr lang="en-US" dirty="0">
                <a:sym typeface="Source Sans Pro Light"/>
              </a:rPr>
              <a:t>Decline curve analysis</a:t>
            </a:r>
          </a:p>
          <a:p>
            <a:pPr>
              <a:lnSpc>
                <a:spcPct val="90000"/>
              </a:lnSpc>
              <a:spcAft>
                <a:spcPts val="0"/>
              </a:spcAft>
            </a:pPr>
            <a:endParaRPr lang="en-US" dirty="0"/>
          </a:p>
        </p:txBody>
      </p:sp>
      <p:sp>
        <p:nvSpPr>
          <p:cNvPr id="19" name="Text Placeholder 18">
            <a:extLst>
              <a:ext uri="{FF2B5EF4-FFF2-40B4-BE49-F238E27FC236}">
                <a16:creationId xmlns:a16="http://schemas.microsoft.com/office/drawing/2014/main" id="{196D638F-32A2-4F26-92EF-CA20B6C3B3DA}"/>
              </a:ext>
            </a:extLst>
          </p:cNvPr>
          <p:cNvSpPr>
            <a:spLocks noGrp="1"/>
          </p:cNvSpPr>
          <p:nvPr>
            <p:ph type="body" sz="quarter" idx="37"/>
          </p:nvPr>
        </p:nvSpPr>
        <p:spPr>
          <a:xfrm>
            <a:off x="2815629" y="4076371"/>
            <a:ext cx="1852613" cy="1446550"/>
          </a:xfrm>
        </p:spPr>
        <p:txBody>
          <a:bodyPr vert="horz" wrap="square" lIns="91440" tIns="45720" rIns="91440" bIns="45720" rtlCol="0">
            <a:spAutoFit/>
          </a:bodyPr>
          <a:lstStyle/>
          <a:p>
            <a:pPr>
              <a:lnSpc>
                <a:spcPct val="90000"/>
              </a:lnSpc>
              <a:spcAft>
                <a:spcPts val="0"/>
              </a:spcAft>
            </a:pPr>
            <a:r>
              <a:rPr lang="en-US" dirty="0">
                <a:sym typeface="Source Sans Pro Light"/>
              </a:rPr>
              <a:t>Pipeline monitoring</a:t>
            </a:r>
          </a:p>
          <a:p>
            <a:pPr>
              <a:lnSpc>
                <a:spcPct val="90000"/>
              </a:lnSpc>
              <a:spcAft>
                <a:spcPts val="0"/>
              </a:spcAft>
            </a:pPr>
            <a:r>
              <a:rPr lang="en-US" dirty="0">
                <a:sym typeface="Source Sans Pro Light"/>
              </a:rPr>
              <a:t>Preventive maintenance </a:t>
            </a:r>
          </a:p>
          <a:p>
            <a:pPr>
              <a:lnSpc>
                <a:spcPct val="90000"/>
              </a:lnSpc>
              <a:spcAft>
                <a:spcPts val="0"/>
              </a:spcAft>
            </a:pPr>
            <a:r>
              <a:rPr lang="en-US" dirty="0">
                <a:sym typeface="Source Sans Pro Light"/>
              </a:rPr>
              <a:t>Smart grids and microgrids</a:t>
            </a:r>
          </a:p>
          <a:p>
            <a:pPr>
              <a:lnSpc>
                <a:spcPct val="90000"/>
              </a:lnSpc>
              <a:spcAft>
                <a:spcPts val="0"/>
              </a:spcAft>
            </a:pPr>
            <a:r>
              <a:rPr lang="en-US" dirty="0">
                <a:sym typeface="Source Sans Pro Light"/>
              </a:rPr>
              <a:t>Grid operations, field service</a:t>
            </a:r>
          </a:p>
          <a:p>
            <a:pPr>
              <a:lnSpc>
                <a:spcPct val="90000"/>
              </a:lnSpc>
              <a:spcAft>
                <a:spcPts val="0"/>
              </a:spcAft>
            </a:pPr>
            <a:r>
              <a:rPr lang="en-US" dirty="0">
                <a:sym typeface="Source Sans Pro Light"/>
              </a:rPr>
              <a:t>Asset performance</a:t>
            </a:r>
            <a:br>
              <a:rPr lang="en-US" dirty="0">
                <a:sym typeface="Source Sans Pro Light"/>
              </a:rPr>
            </a:br>
            <a:r>
              <a:rPr lang="en-US" dirty="0">
                <a:sym typeface="Source Sans Pro Light"/>
              </a:rPr>
              <a:t>as a service</a:t>
            </a:r>
          </a:p>
          <a:p>
            <a:pPr>
              <a:lnSpc>
                <a:spcPct val="90000"/>
              </a:lnSpc>
              <a:spcAft>
                <a:spcPts val="0"/>
              </a:spcAft>
            </a:pPr>
            <a:endParaRPr lang="en-US" dirty="0"/>
          </a:p>
        </p:txBody>
      </p:sp>
      <p:sp>
        <p:nvSpPr>
          <p:cNvPr id="20" name="Text Placeholder 19">
            <a:extLst>
              <a:ext uri="{FF2B5EF4-FFF2-40B4-BE49-F238E27FC236}">
                <a16:creationId xmlns:a16="http://schemas.microsoft.com/office/drawing/2014/main" id="{9CD80E5B-FC9A-4C53-99C0-F58D72593984}"/>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Trade monitoring, optimization</a:t>
            </a:r>
          </a:p>
          <a:p>
            <a:pPr>
              <a:lnSpc>
                <a:spcPct val="90000"/>
              </a:lnSpc>
              <a:spcAft>
                <a:spcPts val="0"/>
              </a:spcAft>
            </a:pPr>
            <a:r>
              <a:rPr lang="en-US" dirty="0">
                <a:sym typeface="Source Sans Pro Light"/>
              </a:rPr>
              <a:t>Retail mobile applications</a:t>
            </a:r>
          </a:p>
          <a:p>
            <a:pPr>
              <a:lnSpc>
                <a:spcPct val="90000"/>
              </a:lnSpc>
              <a:spcAft>
                <a:spcPts val="0"/>
              </a:spcAft>
            </a:pPr>
            <a:r>
              <a:rPr lang="en-US" dirty="0">
                <a:sym typeface="Source Sans Pro Light"/>
              </a:rPr>
              <a:t>Vendor management - construction, transportation, truck and delivery optimization</a:t>
            </a:r>
          </a:p>
          <a:p>
            <a:pPr>
              <a:lnSpc>
                <a:spcPct val="90000"/>
              </a:lnSpc>
              <a:spcAft>
                <a:spcPts val="0"/>
              </a:spcAft>
            </a:pPr>
            <a:endParaRPr lang="en-US" dirty="0"/>
          </a:p>
        </p:txBody>
      </p:sp>
      <p:sp>
        <p:nvSpPr>
          <p:cNvPr id="21" name="Text Placeholder 20">
            <a:extLst>
              <a:ext uri="{FF2B5EF4-FFF2-40B4-BE49-F238E27FC236}">
                <a16:creationId xmlns:a16="http://schemas.microsoft.com/office/drawing/2014/main" id="{93872A1B-D259-45D5-A2DD-6482D6147174}"/>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dirty="0">
                <a:sym typeface="Source Sans Pro Light"/>
              </a:rPr>
              <a:t>Real-time anomaly detection</a:t>
            </a:r>
          </a:p>
          <a:p>
            <a:pPr>
              <a:lnSpc>
                <a:spcPct val="90000"/>
              </a:lnSpc>
              <a:spcAft>
                <a:spcPts val="0"/>
              </a:spcAft>
            </a:pPr>
            <a:r>
              <a:rPr lang="en-US" dirty="0">
                <a:sym typeface="Source Sans Pro Light"/>
              </a:rPr>
              <a:t>Predictive analytics </a:t>
            </a:r>
          </a:p>
          <a:p>
            <a:pPr>
              <a:lnSpc>
                <a:spcPct val="90000"/>
              </a:lnSpc>
              <a:spcAft>
                <a:spcPts val="0"/>
              </a:spcAft>
            </a:pPr>
            <a:r>
              <a:rPr lang="en-US" dirty="0">
                <a:sym typeface="Source Sans Pro Light"/>
              </a:rPr>
              <a:t>Industrial safety</a:t>
            </a:r>
          </a:p>
          <a:p>
            <a:pPr>
              <a:lnSpc>
                <a:spcPct val="90000"/>
              </a:lnSpc>
              <a:spcAft>
                <a:spcPts val="0"/>
              </a:spcAft>
            </a:pPr>
            <a:r>
              <a:rPr lang="en-US" dirty="0">
                <a:sym typeface="Source Sans Pro Light"/>
              </a:rPr>
              <a:t>Environment health and safety</a:t>
            </a:r>
          </a:p>
          <a:p>
            <a:pPr>
              <a:lnSpc>
                <a:spcPct val="90000"/>
              </a:lnSpc>
              <a:spcAft>
                <a:spcPts val="0"/>
              </a:spcAft>
            </a:pPr>
            <a:endParaRPr lang="en-US" dirty="0"/>
          </a:p>
        </p:txBody>
      </p:sp>
      <p:sp>
        <p:nvSpPr>
          <p:cNvPr id="22" name="Text Placeholder 21">
            <a:extLst>
              <a:ext uri="{FF2B5EF4-FFF2-40B4-BE49-F238E27FC236}">
                <a16:creationId xmlns:a16="http://schemas.microsoft.com/office/drawing/2014/main" id="{0F086B0E-7D46-4369-B274-8B55B2B6F7E1}"/>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dirty="0">
                <a:sym typeface="Source Sans Pro Light"/>
              </a:rPr>
              <a:t>Fast marketing and</a:t>
            </a:r>
            <a:br>
              <a:rPr lang="en-US" dirty="0">
                <a:sym typeface="Source Sans Pro Light"/>
              </a:rPr>
            </a:br>
            <a:r>
              <a:rPr lang="en-US" dirty="0">
                <a:sym typeface="Source Sans Pro Light"/>
              </a:rPr>
              <a:t>multi-channel engagement</a:t>
            </a:r>
          </a:p>
          <a:p>
            <a:pPr>
              <a:lnSpc>
                <a:spcPct val="90000"/>
              </a:lnSpc>
              <a:spcAft>
                <a:spcPts val="0"/>
              </a:spcAft>
            </a:pPr>
            <a:r>
              <a:rPr lang="en-US" dirty="0">
                <a:sym typeface="Source Sans Pro Light"/>
              </a:rPr>
              <a:t>Develop new products and monitor acceptance of rates</a:t>
            </a:r>
          </a:p>
          <a:p>
            <a:pPr>
              <a:lnSpc>
                <a:spcPct val="90000"/>
              </a:lnSpc>
              <a:spcAft>
                <a:spcPts val="0"/>
              </a:spcAft>
            </a:pPr>
            <a:r>
              <a:rPr lang="en-US" dirty="0">
                <a:sym typeface="Source Sans Pro Light"/>
              </a:rPr>
              <a:t>Predictive energy trading</a:t>
            </a:r>
          </a:p>
          <a:p>
            <a:pPr>
              <a:lnSpc>
                <a:spcPct val="90000"/>
              </a:lnSpc>
              <a:spcAft>
                <a:spcPts val="0"/>
              </a:spcAft>
            </a:pPr>
            <a:r>
              <a:rPr lang="en-US" dirty="0">
                <a:sym typeface="Source Sans Pro Light"/>
              </a:rPr>
              <a:t>Deep customer insights</a:t>
            </a:r>
          </a:p>
          <a:p>
            <a:pPr>
              <a:lnSpc>
                <a:spcPct val="90000"/>
              </a:lnSpc>
              <a:spcAft>
                <a:spcPts val="0"/>
              </a:spcAft>
            </a:pPr>
            <a:endParaRPr lang="en-US" dirty="0"/>
          </a:p>
        </p:txBody>
      </p:sp>
      <p:sp>
        <p:nvSpPr>
          <p:cNvPr id="23" name="Text Placeholder 22">
            <a:extLst>
              <a:ext uri="{FF2B5EF4-FFF2-40B4-BE49-F238E27FC236}">
                <a16:creationId xmlns:a16="http://schemas.microsoft.com/office/drawing/2014/main" id="{F1D876B0-5B4B-4EE3-B66E-190AE332AE0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4CBAAC7D-9370-4B24-9D27-26C790011F0D}"/>
              </a:ext>
            </a:extLst>
          </p:cNvPr>
          <p:cNvSpPr>
            <a:spLocks noGrp="1"/>
          </p:cNvSpPr>
          <p:nvPr>
            <p:ph type="body" sz="quarter" idx="42"/>
          </p:nvPr>
        </p:nvSpPr>
        <p:spPr/>
        <p:txBody>
          <a:bodyPr/>
          <a:lstStyle/>
          <a:p>
            <a:r>
              <a:rPr lang="en-US" dirty="0">
                <a:sym typeface="Source Sans Pro"/>
              </a:rPr>
              <a:t>Upstream optimization, maximize well life</a:t>
            </a:r>
          </a:p>
        </p:txBody>
      </p:sp>
      <p:sp>
        <p:nvSpPr>
          <p:cNvPr id="25" name="Text Placeholder 24">
            <a:extLst>
              <a:ext uri="{FF2B5EF4-FFF2-40B4-BE49-F238E27FC236}">
                <a16:creationId xmlns:a16="http://schemas.microsoft.com/office/drawing/2014/main" id="{4FEF2AAE-67FE-4D5B-B519-2B10D8614CDE}"/>
              </a:ext>
            </a:extLst>
          </p:cNvPr>
          <p:cNvSpPr>
            <a:spLocks noGrp="1"/>
          </p:cNvSpPr>
          <p:nvPr>
            <p:ph type="body" sz="quarter" idx="43"/>
          </p:nvPr>
        </p:nvSpPr>
        <p:spPr/>
        <p:txBody>
          <a:bodyPr/>
          <a:lstStyle/>
          <a:p>
            <a:r>
              <a:rPr lang="en-US" dirty="0">
                <a:sym typeface="Source Sans Pro"/>
              </a:rPr>
              <a:t>Grid operations, asset inventory optimization</a:t>
            </a:r>
          </a:p>
        </p:txBody>
      </p:sp>
      <p:sp>
        <p:nvSpPr>
          <p:cNvPr id="26" name="Text Placeholder 25">
            <a:extLst>
              <a:ext uri="{FF2B5EF4-FFF2-40B4-BE49-F238E27FC236}">
                <a16:creationId xmlns:a16="http://schemas.microsoft.com/office/drawing/2014/main" id="{2274AFE6-D7E8-4791-8234-BAADF25BC70E}"/>
              </a:ext>
            </a:extLst>
          </p:cNvPr>
          <p:cNvSpPr>
            <a:spLocks noGrp="1"/>
          </p:cNvSpPr>
          <p:nvPr>
            <p:ph type="body" sz="quarter" idx="44"/>
          </p:nvPr>
        </p:nvSpPr>
        <p:spPr/>
        <p:txBody>
          <a:bodyPr/>
          <a:lstStyle/>
          <a:p>
            <a:r>
              <a:rPr lang="en-US" dirty="0">
                <a:sym typeface="Source Sans Pro"/>
              </a:rPr>
              <a:t>Supply-chain</a:t>
            </a:r>
            <a:br>
              <a:rPr lang="en-US" dirty="0">
                <a:sym typeface="Source Sans Pro"/>
              </a:rPr>
            </a:br>
            <a:r>
              <a:rPr lang="en-US" dirty="0">
                <a:sym typeface="Source Sans Pro"/>
              </a:rPr>
              <a:t>optimization</a:t>
            </a:r>
          </a:p>
        </p:txBody>
      </p:sp>
      <p:sp>
        <p:nvSpPr>
          <p:cNvPr id="27" name="Text Placeholder 26">
            <a:extLst>
              <a:ext uri="{FF2B5EF4-FFF2-40B4-BE49-F238E27FC236}">
                <a16:creationId xmlns:a16="http://schemas.microsoft.com/office/drawing/2014/main" id="{2CD53C0F-6723-4F8B-8AF0-DE68A181E175}"/>
              </a:ext>
            </a:extLst>
          </p:cNvPr>
          <p:cNvSpPr>
            <a:spLocks noGrp="1"/>
          </p:cNvSpPr>
          <p:nvPr>
            <p:ph type="body" sz="quarter" idx="45"/>
          </p:nvPr>
        </p:nvSpPr>
        <p:spPr/>
        <p:txBody>
          <a:bodyPr/>
          <a:lstStyle/>
          <a:p>
            <a:r>
              <a:rPr lang="en-US" dirty="0">
                <a:sym typeface="Source Sans Pro"/>
              </a:rPr>
              <a:t>Risk</a:t>
            </a:r>
            <a:br>
              <a:rPr lang="en-US" dirty="0">
                <a:sym typeface="Source Sans Pro"/>
              </a:rPr>
            </a:br>
            <a:r>
              <a:rPr lang="en-US" dirty="0">
                <a:sym typeface="Source Sans Pro"/>
              </a:rPr>
              <a:t>optimization</a:t>
            </a:r>
          </a:p>
        </p:txBody>
      </p:sp>
      <p:sp>
        <p:nvSpPr>
          <p:cNvPr id="28" name="Text Placeholder 27">
            <a:extLst>
              <a:ext uri="{FF2B5EF4-FFF2-40B4-BE49-F238E27FC236}">
                <a16:creationId xmlns:a16="http://schemas.microsoft.com/office/drawing/2014/main" id="{5C3D5A68-94A4-446B-BC98-118433A0696B}"/>
              </a:ext>
            </a:extLst>
          </p:cNvPr>
          <p:cNvSpPr>
            <a:spLocks noGrp="1"/>
          </p:cNvSpPr>
          <p:nvPr>
            <p:ph type="body" sz="quarter" idx="46"/>
          </p:nvPr>
        </p:nvSpPr>
        <p:spPr/>
        <p:txBody>
          <a:bodyPr/>
          <a:lstStyle/>
          <a:p>
            <a:r>
              <a:rPr lang="en-US" dirty="0">
                <a:sym typeface="Source Sans Pro"/>
              </a:rPr>
              <a:t>Recommendations</a:t>
            </a:r>
            <a:br>
              <a:rPr lang="en-US" dirty="0">
                <a:sym typeface="Source Sans Pro"/>
              </a:rPr>
            </a:br>
            <a:r>
              <a:rPr lang="en-US" dirty="0">
                <a:sym typeface="Source Sans Pro"/>
              </a:rPr>
              <a:t>engine</a:t>
            </a:r>
          </a:p>
        </p:txBody>
      </p:sp>
      <p:sp>
        <p:nvSpPr>
          <p:cNvPr id="738" name="Shape 738"/>
          <p:cNvSpPr txBox="1">
            <a:spLocks noGrp="1"/>
          </p:cNvSpPr>
          <p:nvPr>
            <p:ph type="title"/>
          </p:nvPr>
        </p:nvSpPr>
        <p:spPr>
          <a:xfrm>
            <a:off x="426424" y="224112"/>
            <a:ext cx="11336039" cy="744014"/>
          </a:xfrm>
        </p:spPr>
        <p:txBody>
          <a:bodyPr vert="horz" wrap="square" lIns="0" tIns="164592" rIns="0" bIns="0" rtlCol="0" anchor="t">
            <a:noAutofit/>
          </a:bodyPr>
          <a:lstStyle/>
          <a:p>
            <a:r>
              <a:rPr lang="en-US" spc="-150" dirty="0">
                <a:solidFill>
                  <a:srgbClr val="0078D7"/>
                </a:solidFill>
                <a:sym typeface="Source Sans Pro"/>
              </a:rPr>
              <a:t>Oil, gas, and energy use cases</a:t>
            </a:r>
          </a:p>
        </p:txBody>
      </p:sp>
      <p:grpSp>
        <p:nvGrpSpPr>
          <p:cNvPr id="107" name="Group 106">
            <a:extLst>
              <a:ext uri="{FF2B5EF4-FFF2-40B4-BE49-F238E27FC236}">
                <a16:creationId xmlns:a16="http://schemas.microsoft.com/office/drawing/2014/main" id="{53859900-AA98-49A6-8AC7-321F096DCCEB}"/>
              </a:ext>
            </a:extLst>
          </p:cNvPr>
          <p:cNvGrpSpPr/>
          <p:nvPr/>
        </p:nvGrpSpPr>
        <p:grpSpPr>
          <a:xfrm>
            <a:off x="10595267" y="3062325"/>
            <a:ext cx="405114" cy="318840"/>
            <a:chOff x="919596" y="1154235"/>
            <a:chExt cx="3006714" cy="2366403"/>
          </a:xfrm>
        </p:grpSpPr>
        <p:sp>
          <p:nvSpPr>
            <p:cNvPr id="108" name="Freeform 18">
              <a:extLst>
                <a:ext uri="{FF2B5EF4-FFF2-40B4-BE49-F238E27FC236}">
                  <a16:creationId xmlns:a16="http://schemas.microsoft.com/office/drawing/2014/main" id="{A09F0A75-A459-47D1-A8EB-914564C82235}"/>
                </a:ext>
              </a:extLst>
            </p:cNvPr>
            <p:cNvSpPr>
              <a:spLocks noChangeArrowheads="1"/>
            </p:cNvSpPr>
            <p:nvPr/>
          </p:nvSpPr>
          <p:spPr bwMode="auto">
            <a:xfrm>
              <a:off x="919596" y="1154235"/>
              <a:ext cx="3006714" cy="2054473"/>
            </a:xfrm>
            <a:prstGeom prst="roundRect">
              <a:avLst>
                <a:gd name="adj" fmla="val 7988"/>
              </a:avLst>
            </a:pr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9" name="Line 19">
              <a:extLst>
                <a:ext uri="{FF2B5EF4-FFF2-40B4-BE49-F238E27FC236}">
                  <a16:creationId xmlns:a16="http://schemas.microsoft.com/office/drawing/2014/main" id="{3C076C89-2C12-4B97-B868-E6CEE7297096}"/>
                </a:ext>
              </a:extLst>
            </p:cNvPr>
            <p:cNvSpPr>
              <a:spLocks noChangeShapeType="1"/>
            </p:cNvSpPr>
            <p:nvPr/>
          </p:nvSpPr>
          <p:spPr bwMode="auto">
            <a:xfrm>
              <a:off x="1728890" y="3520638"/>
              <a:ext cx="1388127"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0" name="Line 20">
              <a:extLst>
                <a:ext uri="{FF2B5EF4-FFF2-40B4-BE49-F238E27FC236}">
                  <a16:creationId xmlns:a16="http://schemas.microsoft.com/office/drawing/2014/main" id="{C1593BCA-3E4B-497A-A01C-C08A9B19FAA0}"/>
                </a:ext>
              </a:extLst>
            </p:cNvPr>
            <p:cNvSpPr>
              <a:spLocks noChangeShapeType="1"/>
            </p:cNvSpPr>
            <p:nvPr/>
          </p:nvSpPr>
          <p:spPr bwMode="auto">
            <a:xfrm>
              <a:off x="2422956" y="3258700"/>
              <a:ext cx="0" cy="261938"/>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1" name="Freeform 21">
              <a:extLst>
                <a:ext uri="{FF2B5EF4-FFF2-40B4-BE49-F238E27FC236}">
                  <a16:creationId xmlns:a16="http://schemas.microsoft.com/office/drawing/2014/main" id="{40102BB4-8CE7-4C96-94C4-1C75808E2B7C}"/>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Line 22">
              <a:extLst>
                <a:ext uri="{FF2B5EF4-FFF2-40B4-BE49-F238E27FC236}">
                  <a16:creationId xmlns:a16="http://schemas.microsoft.com/office/drawing/2014/main" id="{55A7D38D-6383-459F-96BF-A6206433892C}"/>
                </a:ext>
              </a:extLst>
            </p:cNvPr>
            <p:cNvSpPr>
              <a:spLocks noChangeShapeType="1"/>
            </p:cNvSpPr>
            <p:nvPr/>
          </p:nvSpPr>
          <p:spPr bwMode="auto">
            <a:xfrm>
              <a:off x="919596" y="2843415"/>
              <a:ext cx="3006714"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13" name="Group 112">
              <a:extLst>
                <a:ext uri="{FF2B5EF4-FFF2-40B4-BE49-F238E27FC236}">
                  <a16:creationId xmlns:a16="http://schemas.microsoft.com/office/drawing/2014/main" id="{6BB07B32-578B-4DE9-BB63-CC616C2B87A3}"/>
                </a:ext>
              </a:extLst>
            </p:cNvPr>
            <p:cNvGrpSpPr/>
            <p:nvPr/>
          </p:nvGrpSpPr>
          <p:grpSpPr>
            <a:xfrm>
              <a:off x="2672424" y="1614376"/>
              <a:ext cx="926769" cy="783035"/>
              <a:chOff x="2814465" y="1249743"/>
              <a:chExt cx="784728" cy="783035"/>
            </a:xfrm>
          </p:grpSpPr>
          <p:sp>
            <p:nvSpPr>
              <p:cNvPr id="118" name="Line 26">
                <a:extLst>
                  <a:ext uri="{FF2B5EF4-FFF2-40B4-BE49-F238E27FC236}">
                    <a16:creationId xmlns:a16="http://schemas.microsoft.com/office/drawing/2014/main" id="{EE644C59-D7CA-4402-A224-811592FA979C}"/>
                  </a:ext>
                </a:extLst>
              </p:cNvPr>
              <p:cNvSpPr>
                <a:spLocks noChangeShapeType="1"/>
              </p:cNvSpPr>
              <p:nvPr/>
            </p:nvSpPr>
            <p:spPr bwMode="auto">
              <a:xfrm>
                <a:off x="2814465" y="1249743"/>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9" name="Line 27">
                <a:extLst>
                  <a:ext uri="{FF2B5EF4-FFF2-40B4-BE49-F238E27FC236}">
                    <a16:creationId xmlns:a16="http://schemas.microsoft.com/office/drawing/2014/main" id="{4A0FAE65-6062-47D8-8E2A-464BF7498E3C}"/>
                  </a:ext>
                </a:extLst>
              </p:cNvPr>
              <p:cNvSpPr>
                <a:spLocks noChangeShapeType="1"/>
              </p:cNvSpPr>
              <p:nvPr/>
            </p:nvSpPr>
            <p:spPr bwMode="auto">
              <a:xfrm flipV="1">
                <a:off x="2814465" y="1641261"/>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20" name="Line 28">
                <a:extLst>
                  <a:ext uri="{FF2B5EF4-FFF2-40B4-BE49-F238E27FC236}">
                    <a16:creationId xmlns:a16="http://schemas.microsoft.com/office/drawing/2014/main" id="{BC6A8E8A-A67B-494B-A858-81147BB1387E}"/>
                  </a:ext>
                </a:extLst>
              </p:cNvPr>
              <p:cNvSpPr>
                <a:spLocks noChangeShapeType="1"/>
              </p:cNvSpPr>
              <p:nvPr/>
            </p:nvSpPr>
            <p:spPr bwMode="auto">
              <a:xfrm>
                <a:off x="2814465" y="2032778"/>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60DDF902-3A80-408E-B2E6-3BAFA950D7C5}"/>
                </a:ext>
              </a:extLst>
            </p:cNvPr>
            <p:cNvGrpSpPr/>
            <p:nvPr/>
          </p:nvGrpSpPr>
          <p:grpSpPr>
            <a:xfrm>
              <a:off x="1224028" y="1407936"/>
              <a:ext cx="1177484" cy="1177484"/>
              <a:chOff x="222829" y="1122100"/>
              <a:chExt cx="1306361" cy="1306361"/>
            </a:xfrm>
          </p:grpSpPr>
          <p:sp>
            <p:nvSpPr>
              <p:cNvPr id="115" name="Oval 114">
                <a:extLst>
                  <a:ext uri="{FF2B5EF4-FFF2-40B4-BE49-F238E27FC236}">
                    <a16:creationId xmlns:a16="http://schemas.microsoft.com/office/drawing/2014/main" id="{155CE67D-0050-4311-8C37-246E9389F6CE}"/>
                  </a:ext>
                </a:extLst>
              </p:cNvPr>
              <p:cNvSpPr/>
              <p:nvPr/>
            </p:nvSpPr>
            <p:spPr bwMode="auto">
              <a:xfrm>
                <a:off x="222829" y="1122100"/>
                <a:ext cx="1306361" cy="1306361"/>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16" name="Straight Connector 115">
                <a:extLst>
                  <a:ext uri="{FF2B5EF4-FFF2-40B4-BE49-F238E27FC236}">
                    <a16:creationId xmlns:a16="http://schemas.microsoft.com/office/drawing/2014/main" id="{03DCBA21-6977-460B-85C5-B64ADDD9E7B4}"/>
                  </a:ext>
                </a:extLst>
              </p:cNvPr>
              <p:cNvCxnSpPr>
                <a:cxnSpLocks/>
                <a:stCxn id="115" idx="2"/>
                <a:endCxn id="117" idx="1"/>
              </p:cNvCxnSpPr>
              <p:nvPr/>
            </p:nvCxnSpPr>
            <p:spPr>
              <a:xfrm>
                <a:off x="222829" y="1775281"/>
                <a:ext cx="627812"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Diamond 306">
                <a:extLst>
                  <a:ext uri="{FF2B5EF4-FFF2-40B4-BE49-F238E27FC236}">
                    <a16:creationId xmlns:a16="http://schemas.microsoft.com/office/drawing/2014/main" id="{DA1C4D22-E64B-416F-95F9-7BF59461A241}"/>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121" name="Group 120">
            <a:extLst>
              <a:ext uri="{FF2B5EF4-FFF2-40B4-BE49-F238E27FC236}">
                <a16:creationId xmlns:a16="http://schemas.microsoft.com/office/drawing/2014/main" id="{3DD5A299-3B9B-4956-9FCA-EF6E23E75E98}"/>
              </a:ext>
            </a:extLst>
          </p:cNvPr>
          <p:cNvGrpSpPr/>
          <p:nvPr/>
        </p:nvGrpSpPr>
        <p:grpSpPr>
          <a:xfrm>
            <a:off x="1316054" y="3034872"/>
            <a:ext cx="131746" cy="373746"/>
            <a:chOff x="3975395" y="3659942"/>
            <a:chExt cx="228305" cy="647669"/>
          </a:xfrm>
        </p:grpSpPr>
        <p:grpSp>
          <p:nvGrpSpPr>
            <p:cNvPr id="122" name="Group 121">
              <a:extLst>
                <a:ext uri="{FF2B5EF4-FFF2-40B4-BE49-F238E27FC236}">
                  <a16:creationId xmlns:a16="http://schemas.microsoft.com/office/drawing/2014/main" id="{6EFA2B1B-2FAD-4F93-B7D2-D5DA4BBB94A2}"/>
                </a:ext>
              </a:extLst>
            </p:cNvPr>
            <p:cNvGrpSpPr/>
            <p:nvPr/>
          </p:nvGrpSpPr>
          <p:grpSpPr>
            <a:xfrm>
              <a:off x="3975395" y="3877415"/>
              <a:ext cx="228305" cy="430196"/>
              <a:chOff x="3975395" y="3877415"/>
              <a:chExt cx="1175981" cy="2215904"/>
            </a:xfrm>
          </p:grpSpPr>
          <p:cxnSp>
            <p:nvCxnSpPr>
              <p:cNvPr id="130" name="Straight Connector 129">
                <a:extLst>
                  <a:ext uri="{FF2B5EF4-FFF2-40B4-BE49-F238E27FC236}">
                    <a16:creationId xmlns:a16="http://schemas.microsoft.com/office/drawing/2014/main" id="{359CD70A-3C13-47A0-9822-5198366134FF}"/>
                  </a:ext>
                </a:extLst>
              </p:cNvPr>
              <p:cNvCxnSpPr>
                <a:cxnSpLocks/>
              </p:cNvCxnSpPr>
              <p:nvPr/>
            </p:nvCxnSpPr>
            <p:spPr>
              <a:xfrm flipH="1">
                <a:off x="3975395"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8FCF6DA-55FA-46B1-9B60-B9EFE6FE237F}"/>
                  </a:ext>
                </a:extLst>
              </p:cNvPr>
              <p:cNvCxnSpPr>
                <a:cxnSpLocks/>
              </p:cNvCxnSpPr>
              <p:nvPr/>
            </p:nvCxnSpPr>
            <p:spPr>
              <a:xfrm>
                <a:off x="4743047"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0A6C97D-E620-47E1-87BD-4EAC0E000F84}"/>
                  </a:ext>
                </a:extLst>
              </p:cNvPr>
              <p:cNvCxnSpPr>
                <a:cxnSpLocks/>
              </p:cNvCxnSpPr>
              <p:nvPr/>
            </p:nvCxnSpPr>
            <p:spPr>
              <a:xfrm>
                <a:off x="4382623" y="3916304"/>
                <a:ext cx="460612"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4EC8AB5-EEB5-4E7C-8BED-A77AA4D29E38}"/>
                  </a:ext>
                </a:extLst>
              </p:cNvPr>
              <p:cNvCxnSpPr>
                <a:cxnSpLocks/>
              </p:cNvCxnSpPr>
              <p:nvPr/>
            </p:nvCxnSpPr>
            <p:spPr>
              <a:xfrm flipH="1">
                <a:off x="4280039" y="3916304"/>
                <a:ext cx="460611"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B4606B9-5346-4F7D-B64C-BB696772A3EF}"/>
                  </a:ext>
                </a:extLst>
              </p:cNvPr>
              <p:cNvCxnSpPr>
                <a:cxnSpLocks/>
              </p:cNvCxnSpPr>
              <p:nvPr/>
            </p:nvCxnSpPr>
            <p:spPr>
              <a:xfrm>
                <a:off x="4291488"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1A813EB-B0A7-418A-8229-CAC1E4D5E2F7}"/>
                  </a:ext>
                </a:extLst>
              </p:cNvPr>
              <p:cNvCxnSpPr>
                <a:cxnSpLocks/>
              </p:cNvCxnSpPr>
              <p:nvPr/>
            </p:nvCxnSpPr>
            <p:spPr>
              <a:xfrm flipH="1">
                <a:off x="4220903"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4032DA7-7996-4361-9A97-615EE3D87806}"/>
                  </a:ext>
                </a:extLst>
              </p:cNvPr>
              <p:cNvCxnSpPr>
                <a:cxnSpLocks/>
              </p:cNvCxnSpPr>
              <p:nvPr/>
            </p:nvCxnSpPr>
            <p:spPr>
              <a:xfrm>
                <a:off x="4224891" y="4784047"/>
                <a:ext cx="790265"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C24A286-32DE-436C-B665-562D42B855D8}"/>
                  </a:ext>
                </a:extLst>
              </p:cNvPr>
              <p:cNvCxnSpPr>
                <a:cxnSpLocks/>
              </p:cNvCxnSpPr>
              <p:nvPr/>
            </p:nvCxnSpPr>
            <p:spPr>
              <a:xfrm flipH="1">
                <a:off x="4108120" y="4784047"/>
                <a:ext cx="790264"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F47F53D-AC24-4D27-94EA-8BD521B749E8}"/>
                  </a:ext>
                </a:extLst>
              </p:cNvPr>
              <p:cNvCxnSpPr>
                <a:cxnSpLocks/>
              </p:cNvCxnSpPr>
              <p:nvPr/>
            </p:nvCxnSpPr>
            <p:spPr>
              <a:xfrm>
                <a:off x="4108120" y="5296707"/>
                <a:ext cx="1024494" cy="6880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4538C1E-AAFC-4099-859C-6F70A5224C3C}"/>
                  </a:ext>
                </a:extLst>
              </p:cNvPr>
              <p:cNvCxnSpPr>
                <a:cxnSpLocks/>
              </p:cNvCxnSpPr>
              <p:nvPr/>
            </p:nvCxnSpPr>
            <p:spPr>
              <a:xfrm flipH="1">
                <a:off x="4000598" y="5296707"/>
                <a:ext cx="1014558" cy="6813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1F63D3F-57B9-42CD-B5D7-09C314B19F1E}"/>
                  </a:ext>
                </a:extLst>
              </p:cNvPr>
              <p:cNvCxnSpPr/>
              <p:nvPr/>
            </p:nvCxnSpPr>
            <p:spPr>
              <a:xfrm>
                <a:off x="4383724" y="3916304"/>
                <a:ext cx="359323"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0BDD1E7-B6E8-4389-AFBD-A0C0DF025CFF}"/>
                  </a:ext>
                </a:extLst>
              </p:cNvPr>
              <p:cNvCxnSpPr>
                <a:cxnSpLocks/>
              </p:cNvCxnSpPr>
              <p:nvPr/>
            </p:nvCxnSpPr>
            <p:spPr>
              <a:xfrm>
                <a:off x="4000598" y="5973362"/>
                <a:ext cx="1150778"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5A760B24-31E4-468A-9D75-0377F4E24C2F}"/>
                </a:ext>
              </a:extLst>
            </p:cNvPr>
            <p:cNvGrpSpPr/>
            <p:nvPr/>
          </p:nvGrpSpPr>
          <p:grpSpPr>
            <a:xfrm>
              <a:off x="3989454" y="3659942"/>
              <a:ext cx="200186" cy="220768"/>
              <a:chOff x="4260008" y="3181090"/>
              <a:chExt cx="366645" cy="406200"/>
            </a:xfrm>
          </p:grpSpPr>
          <p:grpSp>
            <p:nvGrpSpPr>
              <p:cNvPr id="124" name="Group 123">
                <a:extLst>
                  <a:ext uri="{FF2B5EF4-FFF2-40B4-BE49-F238E27FC236}">
                    <a16:creationId xmlns:a16="http://schemas.microsoft.com/office/drawing/2014/main" id="{C769BA69-DBD7-4D3C-AF7B-ECB849DC2934}"/>
                  </a:ext>
                </a:extLst>
              </p:cNvPr>
              <p:cNvGrpSpPr/>
              <p:nvPr/>
            </p:nvGrpSpPr>
            <p:grpSpPr>
              <a:xfrm>
                <a:off x="4292428" y="3181090"/>
                <a:ext cx="334225" cy="406200"/>
                <a:chOff x="5863771" y="4270829"/>
                <a:chExt cx="1334406" cy="1621771"/>
              </a:xfrm>
            </p:grpSpPr>
            <p:sp>
              <p:nvSpPr>
                <p:cNvPr id="128" name="Freeform: Shape 127">
                  <a:extLst>
                    <a:ext uri="{FF2B5EF4-FFF2-40B4-BE49-F238E27FC236}">
                      <a16:creationId xmlns:a16="http://schemas.microsoft.com/office/drawing/2014/main" id="{A47FBB5E-8714-48D7-AE41-31F3D7178363}"/>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4840219-4500-4688-93C9-05CE4730F8A1}"/>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768A9EE8-7E2A-4D2E-AD0F-E3618BC144FE}"/>
                  </a:ext>
                </a:extLst>
              </p:cNvPr>
              <p:cNvGrpSpPr/>
              <p:nvPr/>
            </p:nvGrpSpPr>
            <p:grpSpPr>
              <a:xfrm flipH="1">
                <a:off x="4260008" y="3181090"/>
                <a:ext cx="334225" cy="406200"/>
                <a:chOff x="5863771" y="4270829"/>
                <a:chExt cx="1334406" cy="1621771"/>
              </a:xfrm>
            </p:grpSpPr>
            <p:sp>
              <p:nvSpPr>
                <p:cNvPr id="126" name="Freeform: Shape 125">
                  <a:extLst>
                    <a:ext uri="{FF2B5EF4-FFF2-40B4-BE49-F238E27FC236}">
                      <a16:creationId xmlns:a16="http://schemas.microsoft.com/office/drawing/2014/main" id="{10B8BC3B-719A-4872-93A5-6410C02E6B86}"/>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2347771-F271-4167-9AF5-D1319B22AEDC}"/>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42" name="Group 141">
            <a:extLst>
              <a:ext uri="{FF2B5EF4-FFF2-40B4-BE49-F238E27FC236}">
                <a16:creationId xmlns:a16="http://schemas.microsoft.com/office/drawing/2014/main" id="{7C677955-B717-4AF6-B4F9-F72BEA16A65C}"/>
              </a:ext>
            </a:extLst>
          </p:cNvPr>
          <p:cNvGrpSpPr/>
          <p:nvPr/>
        </p:nvGrpSpPr>
        <p:grpSpPr>
          <a:xfrm>
            <a:off x="3586152" y="3058499"/>
            <a:ext cx="315870" cy="326492"/>
            <a:chOff x="6175919" y="4051028"/>
            <a:chExt cx="248788" cy="257154"/>
          </a:xfrm>
        </p:grpSpPr>
        <p:sp>
          <p:nvSpPr>
            <p:cNvPr id="143" name="Freeform: Shape 526">
              <a:extLst>
                <a:ext uri="{FF2B5EF4-FFF2-40B4-BE49-F238E27FC236}">
                  <a16:creationId xmlns:a16="http://schemas.microsoft.com/office/drawing/2014/main" id="{F870DA62-18C4-41A6-9C6A-76B9817A4F44}"/>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Freeform: Shape 527">
              <a:extLst>
                <a:ext uri="{FF2B5EF4-FFF2-40B4-BE49-F238E27FC236}">
                  <a16:creationId xmlns:a16="http://schemas.microsoft.com/office/drawing/2014/main" id="{1BFC8488-E11A-4BE3-B23F-6EAAB18F9905}"/>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Freeform: Shape 529">
              <a:extLst>
                <a:ext uri="{FF2B5EF4-FFF2-40B4-BE49-F238E27FC236}">
                  <a16:creationId xmlns:a16="http://schemas.microsoft.com/office/drawing/2014/main" id="{4FEDF2A5-ED49-40C4-8338-B8233389110D}"/>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Shape 530">
              <a:extLst>
                <a:ext uri="{FF2B5EF4-FFF2-40B4-BE49-F238E27FC236}">
                  <a16:creationId xmlns:a16="http://schemas.microsoft.com/office/drawing/2014/main" id="{20337B61-2501-4CFA-8D33-FB57618576CD}"/>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Shape 531">
              <a:extLst>
                <a:ext uri="{FF2B5EF4-FFF2-40B4-BE49-F238E27FC236}">
                  <a16:creationId xmlns:a16="http://schemas.microsoft.com/office/drawing/2014/main" id="{BECC2224-785B-4FF4-92DF-3060D9AC8BE5}"/>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Freeform: Shape 532">
              <a:extLst>
                <a:ext uri="{FF2B5EF4-FFF2-40B4-BE49-F238E27FC236}">
                  <a16:creationId xmlns:a16="http://schemas.microsoft.com/office/drawing/2014/main" id="{DA2F8BC9-F036-4148-8DA1-8210115D6707}"/>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Freeform: Shape 524">
              <a:extLst>
                <a:ext uri="{FF2B5EF4-FFF2-40B4-BE49-F238E27FC236}">
                  <a16:creationId xmlns:a16="http://schemas.microsoft.com/office/drawing/2014/main" id="{C638A50C-6B00-4C70-836B-5D5C91358DC9}"/>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Freeform: Shape 533">
              <a:extLst>
                <a:ext uri="{FF2B5EF4-FFF2-40B4-BE49-F238E27FC236}">
                  <a16:creationId xmlns:a16="http://schemas.microsoft.com/office/drawing/2014/main" id="{8E1F634E-7E12-4B9B-AEC6-620672598DBA}"/>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B32A4011-7B02-4A70-8642-33A4C067B30D}"/>
              </a:ext>
            </a:extLst>
          </p:cNvPr>
          <p:cNvGrpSpPr/>
          <p:nvPr/>
        </p:nvGrpSpPr>
        <p:grpSpPr>
          <a:xfrm>
            <a:off x="5600383" y="3069586"/>
            <a:ext cx="995150" cy="304318"/>
            <a:chOff x="4740633" y="1697461"/>
            <a:chExt cx="1096822" cy="335410"/>
          </a:xfrm>
        </p:grpSpPr>
        <p:sp>
          <p:nvSpPr>
            <p:cNvPr id="206" name="Freeform 13">
              <a:extLst>
                <a:ext uri="{FF2B5EF4-FFF2-40B4-BE49-F238E27FC236}">
                  <a16:creationId xmlns:a16="http://schemas.microsoft.com/office/drawing/2014/main" id="{96F952F0-B096-4722-B1D5-E6596E905568}"/>
                </a:ext>
              </a:extLst>
            </p:cNvPr>
            <p:cNvSpPr>
              <a:spLocks noEditPoints="1"/>
            </p:cNvSpPr>
            <p:nvPr/>
          </p:nvSpPr>
          <p:spPr bwMode="auto">
            <a:xfrm>
              <a:off x="4740633" y="1759459"/>
              <a:ext cx="280699" cy="26064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7" name="Group 206">
              <a:extLst>
                <a:ext uri="{FF2B5EF4-FFF2-40B4-BE49-F238E27FC236}">
                  <a16:creationId xmlns:a16="http://schemas.microsoft.com/office/drawing/2014/main" id="{00B196AB-E1F5-4029-A124-8C8C08693DFD}"/>
                </a:ext>
              </a:extLst>
            </p:cNvPr>
            <p:cNvGrpSpPr/>
            <p:nvPr/>
          </p:nvGrpSpPr>
          <p:grpSpPr>
            <a:xfrm>
              <a:off x="5134665" y="1697461"/>
              <a:ext cx="702790" cy="335410"/>
              <a:chOff x="4225364" y="3598095"/>
              <a:chExt cx="2048239" cy="977534"/>
            </a:xfrm>
          </p:grpSpPr>
          <p:sp useBgFill="1">
            <p:nvSpPr>
              <p:cNvPr id="208" name="Freeform: Shape 13">
                <a:extLst>
                  <a:ext uri="{FF2B5EF4-FFF2-40B4-BE49-F238E27FC236}">
                    <a16:creationId xmlns:a16="http://schemas.microsoft.com/office/drawing/2014/main" id="{CD164AE5-5E67-4519-B539-18DFCDAF1AE6}"/>
                  </a:ext>
                </a:extLst>
              </p:cNvPr>
              <p:cNvSpPr/>
              <p:nvPr/>
            </p:nvSpPr>
            <p:spPr bwMode="auto">
              <a:xfrm>
                <a:off x="5589038" y="4077324"/>
                <a:ext cx="684565" cy="348986"/>
              </a:xfrm>
              <a:custGeom>
                <a:avLst/>
                <a:gdLst>
                  <a:gd name="connsiteX0" fmla="*/ 0 w 992741"/>
                  <a:gd name="connsiteY0" fmla="*/ 0 h 554101"/>
                  <a:gd name="connsiteX1" fmla="*/ 715690 w 992741"/>
                  <a:gd name="connsiteY1" fmla="*/ 0 h 554101"/>
                  <a:gd name="connsiteX2" fmla="*/ 992741 w 992741"/>
                  <a:gd name="connsiteY2" fmla="*/ 277051 h 554101"/>
                  <a:gd name="connsiteX3" fmla="*/ 992740 w 992741"/>
                  <a:gd name="connsiteY3" fmla="*/ 453293 h 554101"/>
                  <a:gd name="connsiteX4" fmla="*/ 891932 w 992741"/>
                  <a:gd name="connsiteY4" fmla="*/ 554101 h 554101"/>
                  <a:gd name="connsiteX5" fmla="*/ 0 w 992741"/>
                  <a:gd name="connsiteY5" fmla="*/ 554101 h 554101"/>
                  <a:gd name="connsiteX6" fmla="*/ 0 w 992741"/>
                  <a:gd name="connsiteY6" fmla="*/ 0 h 55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41" h="554101">
                    <a:moveTo>
                      <a:pt x="0" y="0"/>
                    </a:moveTo>
                    <a:lnTo>
                      <a:pt x="715690" y="0"/>
                    </a:lnTo>
                    <a:cubicBezTo>
                      <a:pt x="868701" y="0"/>
                      <a:pt x="992741" y="124040"/>
                      <a:pt x="992741" y="277051"/>
                    </a:cubicBezTo>
                    <a:cubicBezTo>
                      <a:pt x="992741" y="335798"/>
                      <a:pt x="992740" y="394546"/>
                      <a:pt x="992740" y="453293"/>
                    </a:cubicBezTo>
                    <a:cubicBezTo>
                      <a:pt x="992740" y="508968"/>
                      <a:pt x="947607" y="554101"/>
                      <a:pt x="891932" y="554101"/>
                    </a:cubicBezTo>
                    <a:lnTo>
                      <a:pt x="0" y="554101"/>
                    </a:lnTo>
                    <a:lnTo>
                      <a:pt x="0" y="0"/>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09" name="Oval 208">
                <a:extLst>
                  <a:ext uri="{FF2B5EF4-FFF2-40B4-BE49-F238E27FC236}">
                    <a16:creationId xmlns:a16="http://schemas.microsoft.com/office/drawing/2014/main" id="{A89EF977-ABE2-45EF-A411-C65C7AA92CD8}"/>
                  </a:ext>
                </a:extLst>
              </p:cNvPr>
              <p:cNvSpPr/>
              <p:nvPr/>
            </p:nvSpPr>
            <p:spPr bwMode="auto">
              <a:xfrm>
                <a:off x="5879289"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5" name="Freeform: Shape 15">
                <a:extLst>
                  <a:ext uri="{FF2B5EF4-FFF2-40B4-BE49-F238E27FC236}">
                    <a16:creationId xmlns:a16="http://schemas.microsoft.com/office/drawing/2014/main" id="{664A8930-274F-4015-B7C0-ADCFF8A06421}"/>
                  </a:ext>
                </a:extLst>
              </p:cNvPr>
              <p:cNvSpPr/>
              <p:nvPr/>
            </p:nvSpPr>
            <p:spPr bwMode="auto">
              <a:xfrm>
                <a:off x="5589038" y="3810641"/>
                <a:ext cx="455393" cy="266682"/>
              </a:xfrm>
              <a:custGeom>
                <a:avLst/>
                <a:gdLst>
                  <a:gd name="connsiteX0" fmla="*/ 0 w 660400"/>
                  <a:gd name="connsiteY0" fmla="*/ 0 h 330051"/>
                  <a:gd name="connsiteX1" fmla="*/ 318734 w 660400"/>
                  <a:gd name="connsiteY1" fmla="*/ 0 h 330051"/>
                  <a:gd name="connsiteX2" fmla="*/ 431800 w 660400"/>
                  <a:gd name="connsiteY2" fmla="*/ 113066 h 330051"/>
                  <a:gd name="connsiteX3" fmla="*/ 431800 w 660400"/>
                  <a:gd name="connsiteY3" fmla="*/ 158438 h 330051"/>
                  <a:gd name="connsiteX4" fmla="*/ 660400 w 660400"/>
                  <a:gd name="connsiteY4" fmla="*/ 158438 h 330051"/>
                  <a:gd name="connsiteX5" fmla="*/ 660400 w 660400"/>
                  <a:gd name="connsiteY5" fmla="*/ 330051 h 330051"/>
                  <a:gd name="connsiteX6" fmla="*/ 431800 w 660400"/>
                  <a:gd name="connsiteY6" fmla="*/ 330051 h 330051"/>
                  <a:gd name="connsiteX7" fmla="*/ 101600 w 660400"/>
                  <a:gd name="connsiteY7" fmla="*/ 330051 h 330051"/>
                  <a:gd name="connsiteX8" fmla="*/ 0 w 660400"/>
                  <a:gd name="connsiteY8" fmla="*/ 330051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158438 h 330051"/>
                  <a:gd name="connsiteX4" fmla="*/ 660400 w 660400"/>
                  <a:gd name="connsiteY4" fmla="*/ 330051 h 330051"/>
                  <a:gd name="connsiteX5" fmla="*/ 431800 w 660400"/>
                  <a:gd name="connsiteY5" fmla="*/ 330051 h 330051"/>
                  <a:gd name="connsiteX6" fmla="*/ 101600 w 660400"/>
                  <a:gd name="connsiteY6" fmla="*/ 330051 h 330051"/>
                  <a:gd name="connsiteX7" fmla="*/ 0 w 660400"/>
                  <a:gd name="connsiteY7" fmla="*/ 330051 h 330051"/>
                  <a:gd name="connsiteX8" fmla="*/ 0 w 660400"/>
                  <a:gd name="connsiteY8" fmla="*/ 0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27291 h 357342"/>
                  <a:gd name="connsiteX1" fmla="*/ 318734 w 660400"/>
                  <a:gd name="connsiteY1" fmla="*/ 27291 h 357342"/>
                  <a:gd name="connsiteX2" fmla="*/ 430440 w 660400"/>
                  <a:gd name="connsiteY2" fmla="*/ 98175 h 357342"/>
                  <a:gd name="connsiteX3" fmla="*/ 660400 w 660400"/>
                  <a:gd name="connsiteY3" fmla="*/ 357342 h 357342"/>
                  <a:gd name="connsiteX4" fmla="*/ 431800 w 660400"/>
                  <a:gd name="connsiteY4" fmla="*/ 357342 h 357342"/>
                  <a:gd name="connsiteX5" fmla="*/ 101600 w 660400"/>
                  <a:gd name="connsiteY5" fmla="*/ 357342 h 357342"/>
                  <a:gd name="connsiteX6" fmla="*/ 0 w 660400"/>
                  <a:gd name="connsiteY6" fmla="*/ 357342 h 357342"/>
                  <a:gd name="connsiteX7" fmla="*/ 0 w 660400"/>
                  <a:gd name="connsiteY7" fmla="*/ 27291 h 357342"/>
                  <a:gd name="connsiteX0" fmla="*/ 0 w 660400"/>
                  <a:gd name="connsiteY0" fmla="*/ 5710 h 335761"/>
                  <a:gd name="connsiteX1" fmla="*/ 318734 w 660400"/>
                  <a:gd name="connsiteY1" fmla="*/ 5710 h 335761"/>
                  <a:gd name="connsiteX2" fmla="*/ 430440 w 660400"/>
                  <a:gd name="connsiteY2" fmla="*/ 76594 h 335761"/>
                  <a:gd name="connsiteX3" fmla="*/ 660400 w 660400"/>
                  <a:gd name="connsiteY3" fmla="*/ 335761 h 335761"/>
                  <a:gd name="connsiteX4" fmla="*/ 431800 w 660400"/>
                  <a:gd name="connsiteY4" fmla="*/ 335761 h 335761"/>
                  <a:gd name="connsiteX5" fmla="*/ 101600 w 660400"/>
                  <a:gd name="connsiteY5" fmla="*/ 335761 h 335761"/>
                  <a:gd name="connsiteX6" fmla="*/ 0 w 660400"/>
                  <a:gd name="connsiteY6" fmla="*/ 335761 h 335761"/>
                  <a:gd name="connsiteX7" fmla="*/ 0 w 660400"/>
                  <a:gd name="connsiteY7" fmla="*/ 5710 h 335761"/>
                  <a:gd name="connsiteX0" fmla="*/ 0 w 660400"/>
                  <a:gd name="connsiteY0" fmla="*/ 2724 h 332775"/>
                  <a:gd name="connsiteX1" fmla="*/ 318734 w 660400"/>
                  <a:gd name="connsiteY1" fmla="*/ 2724 h 332775"/>
                  <a:gd name="connsiteX2" fmla="*/ 430440 w 660400"/>
                  <a:gd name="connsiteY2" fmla="*/ 73608 h 332775"/>
                  <a:gd name="connsiteX3" fmla="*/ 660400 w 660400"/>
                  <a:gd name="connsiteY3" fmla="*/ 332775 h 332775"/>
                  <a:gd name="connsiteX4" fmla="*/ 431800 w 660400"/>
                  <a:gd name="connsiteY4" fmla="*/ 332775 h 332775"/>
                  <a:gd name="connsiteX5" fmla="*/ 101600 w 660400"/>
                  <a:gd name="connsiteY5" fmla="*/ 332775 h 332775"/>
                  <a:gd name="connsiteX6" fmla="*/ 0 w 660400"/>
                  <a:gd name="connsiteY6" fmla="*/ 332775 h 332775"/>
                  <a:gd name="connsiteX7" fmla="*/ 0 w 660400"/>
                  <a:gd name="connsiteY7" fmla="*/ 2724 h 332775"/>
                  <a:gd name="connsiteX0" fmla="*/ 0 w 660400"/>
                  <a:gd name="connsiteY0" fmla="*/ 1098 h 331149"/>
                  <a:gd name="connsiteX1" fmla="*/ 318734 w 660400"/>
                  <a:gd name="connsiteY1" fmla="*/ 1098 h 331149"/>
                  <a:gd name="connsiteX2" fmla="*/ 430440 w 660400"/>
                  <a:gd name="connsiteY2" fmla="*/ 71982 h 331149"/>
                  <a:gd name="connsiteX3" fmla="*/ 660400 w 660400"/>
                  <a:gd name="connsiteY3" fmla="*/ 331149 h 331149"/>
                  <a:gd name="connsiteX4" fmla="*/ 431800 w 660400"/>
                  <a:gd name="connsiteY4" fmla="*/ 331149 h 331149"/>
                  <a:gd name="connsiteX5" fmla="*/ 101600 w 660400"/>
                  <a:gd name="connsiteY5" fmla="*/ 331149 h 331149"/>
                  <a:gd name="connsiteX6" fmla="*/ 0 w 660400"/>
                  <a:gd name="connsiteY6" fmla="*/ 331149 h 331149"/>
                  <a:gd name="connsiteX7" fmla="*/ 0 w 660400"/>
                  <a:gd name="connsiteY7" fmla="*/ 1098 h 33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400" h="331149">
                    <a:moveTo>
                      <a:pt x="0" y="1098"/>
                    </a:moveTo>
                    <a:cubicBezTo>
                      <a:pt x="91222" y="-843"/>
                      <a:pt x="240036" y="204"/>
                      <a:pt x="318734" y="1098"/>
                    </a:cubicBezTo>
                    <a:cubicBezTo>
                      <a:pt x="366800" y="1644"/>
                      <a:pt x="373496" y="16974"/>
                      <a:pt x="430440" y="71982"/>
                    </a:cubicBezTo>
                    <a:lnTo>
                      <a:pt x="660400" y="331149"/>
                    </a:lnTo>
                    <a:lnTo>
                      <a:pt x="431800" y="331149"/>
                    </a:lnTo>
                    <a:lnTo>
                      <a:pt x="101600" y="331149"/>
                    </a:lnTo>
                    <a:lnTo>
                      <a:pt x="0" y="331149"/>
                    </a:lnTo>
                    <a:lnTo>
                      <a:pt x="0" y="1098"/>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6" name="Rectangle: Single Corner Rounded 16">
                <a:extLst>
                  <a:ext uri="{FF2B5EF4-FFF2-40B4-BE49-F238E27FC236}">
                    <a16:creationId xmlns:a16="http://schemas.microsoft.com/office/drawing/2014/main" id="{CEB4F46E-5123-4812-9750-8BEDF7410F86}"/>
                  </a:ext>
                </a:extLst>
              </p:cNvPr>
              <p:cNvSpPr/>
              <p:nvPr/>
            </p:nvSpPr>
            <p:spPr bwMode="auto">
              <a:xfrm>
                <a:off x="4225364" y="3598095"/>
                <a:ext cx="1363672" cy="828214"/>
              </a:xfrm>
              <a:prstGeom prst="round1Rect">
                <a:avLst>
                  <a:gd name="adj" fmla="val 9165"/>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7" name="Oval 236">
                <a:extLst>
                  <a:ext uri="{FF2B5EF4-FFF2-40B4-BE49-F238E27FC236}">
                    <a16:creationId xmlns:a16="http://schemas.microsoft.com/office/drawing/2014/main" id="{1CB4F759-8AF6-4184-8C18-8BEE9B307293}"/>
                  </a:ext>
                </a:extLst>
              </p:cNvPr>
              <p:cNvSpPr/>
              <p:nvPr/>
            </p:nvSpPr>
            <p:spPr bwMode="auto">
              <a:xfrm>
                <a:off x="4548407"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8" name="Straight Connector 237">
                <a:extLst>
                  <a:ext uri="{FF2B5EF4-FFF2-40B4-BE49-F238E27FC236}">
                    <a16:creationId xmlns:a16="http://schemas.microsoft.com/office/drawing/2014/main" id="{717CED4B-1A94-4466-8FCC-1E1C10385BE3}"/>
                  </a:ext>
                </a:extLst>
              </p:cNvPr>
              <p:cNvCxnSpPr>
                <a:cxnSpLocks/>
              </p:cNvCxnSpPr>
              <p:nvPr/>
            </p:nvCxnSpPr>
            <p:spPr>
              <a:xfrm>
                <a:off x="4304103" y="4318066"/>
                <a:ext cx="205770"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72EB252-E32B-43AB-9DBA-F195F956B8D7}"/>
                  </a:ext>
                </a:extLst>
              </p:cNvPr>
              <p:cNvCxnSpPr>
                <a:cxnSpLocks/>
              </p:cNvCxnSpPr>
              <p:nvPr/>
            </p:nvCxnSpPr>
            <p:spPr>
              <a:xfrm>
                <a:off x="4844162" y="4318066"/>
                <a:ext cx="744875"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785A050-5D9E-469F-8041-B556081172EB}"/>
                  </a:ext>
                </a:extLst>
              </p:cNvPr>
              <p:cNvCxnSpPr>
                <a:cxnSpLocks/>
              </p:cNvCxnSpPr>
              <p:nvPr/>
            </p:nvCxnSpPr>
            <p:spPr>
              <a:xfrm>
                <a:off x="4304103" y="4126581"/>
                <a:ext cx="1284936"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1" name="Group 240">
            <a:extLst>
              <a:ext uri="{FF2B5EF4-FFF2-40B4-BE49-F238E27FC236}">
                <a16:creationId xmlns:a16="http://schemas.microsoft.com/office/drawing/2014/main" id="{2FB3E2CD-05F8-4AC7-9E32-1DCE06AA6F8F}"/>
              </a:ext>
            </a:extLst>
          </p:cNvPr>
          <p:cNvGrpSpPr/>
          <p:nvPr/>
        </p:nvGrpSpPr>
        <p:grpSpPr>
          <a:xfrm>
            <a:off x="8101110" y="3076132"/>
            <a:ext cx="687290" cy="291226"/>
            <a:chOff x="5360552" y="2860661"/>
            <a:chExt cx="1941002" cy="822465"/>
          </a:xfrm>
        </p:grpSpPr>
        <p:grpSp>
          <p:nvGrpSpPr>
            <p:cNvPr id="242" name="Group 241">
              <a:extLst>
                <a:ext uri="{FF2B5EF4-FFF2-40B4-BE49-F238E27FC236}">
                  <a16:creationId xmlns:a16="http://schemas.microsoft.com/office/drawing/2014/main" id="{85F82257-9B2A-4BD6-AAB7-DBF497A068D7}"/>
                </a:ext>
              </a:extLst>
            </p:cNvPr>
            <p:cNvGrpSpPr/>
            <p:nvPr/>
          </p:nvGrpSpPr>
          <p:grpSpPr>
            <a:xfrm>
              <a:off x="5360552" y="2860661"/>
              <a:ext cx="585572" cy="822465"/>
              <a:chOff x="5360552" y="2860661"/>
              <a:chExt cx="585572" cy="822465"/>
            </a:xfrm>
          </p:grpSpPr>
          <p:sp>
            <p:nvSpPr>
              <p:cNvPr id="256" name="Freeform 21">
                <a:extLst>
                  <a:ext uri="{FF2B5EF4-FFF2-40B4-BE49-F238E27FC236}">
                    <a16:creationId xmlns:a16="http://schemas.microsoft.com/office/drawing/2014/main" id="{C48DCD84-DF95-46F1-B39E-3930C6F1DB37}"/>
                  </a:ext>
                </a:extLst>
              </p:cNvPr>
              <p:cNvSpPr>
                <a:spLocks/>
              </p:cNvSpPr>
              <p:nvPr/>
            </p:nvSpPr>
            <p:spPr bwMode="auto">
              <a:xfrm>
                <a:off x="5360552"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Freeform 22">
                <a:extLst>
                  <a:ext uri="{FF2B5EF4-FFF2-40B4-BE49-F238E27FC236}">
                    <a16:creationId xmlns:a16="http://schemas.microsoft.com/office/drawing/2014/main" id="{3CF50002-9563-4C98-89D9-81200E3B2F1D}"/>
                  </a:ext>
                </a:extLst>
              </p:cNvPr>
              <p:cNvSpPr>
                <a:spLocks/>
              </p:cNvSpPr>
              <p:nvPr/>
            </p:nvSpPr>
            <p:spPr bwMode="auto">
              <a:xfrm>
                <a:off x="5714557"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24">
                <a:extLst>
                  <a:ext uri="{FF2B5EF4-FFF2-40B4-BE49-F238E27FC236}">
                    <a16:creationId xmlns:a16="http://schemas.microsoft.com/office/drawing/2014/main" id="{122F0330-FB92-4744-81D7-79D2CADA12AF}"/>
                  </a:ext>
                </a:extLst>
              </p:cNvPr>
              <p:cNvSpPr>
                <a:spLocks/>
              </p:cNvSpPr>
              <p:nvPr/>
            </p:nvSpPr>
            <p:spPr bwMode="auto">
              <a:xfrm>
                <a:off x="5475005"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Freeform 27">
                <a:extLst>
                  <a:ext uri="{FF2B5EF4-FFF2-40B4-BE49-F238E27FC236}">
                    <a16:creationId xmlns:a16="http://schemas.microsoft.com/office/drawing/2014/main" id="{1EBFC5DE-0872-4A2A-AC4D-51AFC66B1386}"/>
                  </a:ext>
                </a:extLst>
              </p:cNvPr>
              <p:cNvSpPr>
                <a:spLocks/>
              </p:cNvSpPr>
              <p:nvPr/>
            </p:nvSpPr>
            <p:spPr bwMode="auto">
              <a:xfrm>
                <a:off x="5360552"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28">
                <a:extLst>
                  <a:ext uri="{FF2B5EF4-FFF2-40B4-BE49-F238E27FC236}">
                    <a16:creationId xmlns:a16="http://schemas.microsoft.com/office/drawing/2014/main" id="{48E6CD3F-EEDB-4627-8495-FAF9C3BCF8DF}"/>
                  </a:ext>
                </a:extLst>
              </p:cNvPr>
              <p:cNvSpPr>
                <a:spLocks/>
              </p:cNvSpPr>
              <p:nvPr/>
            </p:nvSpPr>
            <p:spPr bwMode="auto">
              <a:xfrm>
                <a:off x="5714557"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0">
                <a:extLst>
                  <a:ext uri="{FF2B5EF4-FFF2-40B4-BE49-F238E27FC236}">
                    <a16:creationId xmlns:a16="http://schemas.microsoft.com/office/drawing/2014/main" id="{83E0ABC6-0BC2-4B37-A797-0786A52330CA}"/>
                  </a:ext>
                </a:extLst>
              </p:cNvPr>
              <p:cNvSpPr>
                <a:spLocks/>
              </p:cNvSpPr>
              <p:nvPr/>
            </p:nvSpPr>
            <p:spPr bwMode="auto">
              <a:xfrm>
                <a:off x="5475005"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1">
                <a:extLst>
                  <a:ext uri="{FF2B5EF4-FFF2-40B4-BE49-F238E27FC236}">
                    <a16:creationId xmlns:a16="http://schemas.microsoft.com/office/drawing/2014/main" id="{AB2A061F-39D9-4E54-95C5-74631E8E1945}"/>
                  </a:ext>
                </a:extLst>
              </p:cNvPr>
              <p:cNvSpPr>
                <a:spLocks/>
              </p:cNvSpPr>
              <p:nvPr/>
            </p:nvSpPr>
            <p:spPr bwMode="auto">
              <a:xfrm>
                <a:off x="5829010"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3">
                <a:extLst>
                  <a:ext uri="{FF2B5EF4-FFF2-40B4-BE49-F238E27FC236}">
                    <a16:creationId xmlns:a16="http://schemas.microsoft.com/office/drawing/2014/main" id="{FADA1A70-3B75-4C1C-A024-3B9BB5E24043}"/>
                  </a:ext>
                </a:extLst>
              </p:cNvPr>
              <p:cNvSpPr>
                <a:spLocks/>
              </p:cNvSpPr>
              <p:nvPr/>
            </p:nvSpPr>
            <p:spPr bwMode="auto">
              <a:xfrm>
                <a:off x="560010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Freeform 35">
                <a:extLst>
                  <a:ext uri="{FF2B5EF4-FFF2-40B4-BE49-F238E27FC236}">
                    <a16:creationId xmlns:a16="http://schemas.microsoft.com/office/drawing/2014/main" id="{8820CD97-469A-4F86-B8D9-780993FBE41E}"/>
                  </a:ext>
                </a:extLst>
              </p:cNvPr>
              <p:cNvSpPr>
                <a:spLocks/>
              </p:cNvSpPr>
              <p:nvPr/>
            </p:nvSpPr>
            <p:spPr bwMode="auto">
              <a:xfrm>
                <a:off x="5360552"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5" name="Freeform 36">
                <a:extLst>
                  <a:ext uri="{FF2B5EF4-FFF2-40B4-BE49-F238E27FC236}">
                    <a16:creationId xmlns:a16="http://schemas.microsoft.com/office/drawing/2014/main" id="{1485BF40-E62B-418B-B6A1-1C017DA3BD78}"/>
                  </a:ext>
                </a:extLst>
              </p:cNvPr>
              <p:cNvSpPr>
                <a:spLocks/>
              </p:cNvSpPr>
              <p:nvPr/>
            </p:nvSpPr>
            <p:spPr bwMode="auto">
              <a:xfrm>
                <a:off x="5714557"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43" name="Group 242">
              <a:extLst>
                <a:ext uri="{FF2B5EF4-FFF2-40B4-BE49-F238E27FC236}">
                  <a16:creationId xmlns:a16="http://schemas.microsoft.com/office/drawing/2014/main" id="{9C241050-6F40-4C89-8688-444437C0B333}"/>
                </a:ext>
              </a:extLst>
            </p:cNvPr>
            <p:cNvGrpSpPr/>
            <p:nvPr/>
          </p:nvGrpSpPr>
          <p:grpSpPr>
            <a:xfrm>
              <a:off x="6715980" y="2860661"/>
              <a:ext cx="585574" cy="822465"/>
              <a:chOff x="6415281" y="2860661"/>
              <a:chExt cx="585574" cy="822465"/>
            </a:xfrm>
          </p:grpSpPr>
          <p:sp>
            <p:nvSpPr>
              <p:cNvPr id="245" name="Freeform 22">
                <a:extLst>
                  <a:ext uri="{FF2B5EF4-FFF2-40B4-BE49-F238E27FC236}">
                    <a16:creationId xmlns:a16="http://schemas.microsoft.com/office/drawing/2014/main" id="{9DABD940-CD3F-4B67-B302-888E6311D628}"/>
                  </a:ext>
                </a:extLst>
              </p:cNvPr>
              <p:cNvSpPr>
                <a:spLocks/>
              </p:cNvSpPr>
              <p:nvPr/>
            </p:nvSpPr>
            <p:spPr bwMode="auto">
              <a:xfrm>
                <a:off x="6769288"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24">
                <a:extLst>
                  <a:ext uri="{FF2B5EF4-FFF2-40B4-BE49-F238E27FC236}">
                    <a16:creationId xmlns:a16="http://schemas.microsoft.com/office/drawing/2014/main" id="{B039278D-963C-4A6A-A748-D99096095932}"/>
                  </a:ext>
                </a:extLst>
              </p:cNvPr>
              <p:cNvSpPr>
                <a:spLocks/>
              </p:cNvSpPr>
              <p:nvPr/>
            </p:nvSpPr>
            <p:spPr bwMode="auto">
              <a:xfrm>
                <a:off x="6529734"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25">
                <a:extLst>
                  <a:ext uri="{FF2B5EF4-FFF2-40B4-BE49-F238E27FC236}">
                    <a16:creationId xmlns:a16="http://schemas.microsoft.com/office/drawing/2014/main" id="{6FCA5B08-135F-41DD-9157-B7140A5DBCAD}"/>
                  </a:ext>
                </a:extLst>
              </p:cNvPr>
              <p:cNvSpPr>
                <a:spLocks/>
              </p:cNvSpPr>
              <p:nvPr/>
            </p:nvSpPr>
            <p:spPr bwMode="auto">
              <a:xfrm>
                <a:off x="6883741" y="2860661"/>
                <a:ext cx="117114" cy="19164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27">
                <a:extLst>
                  <a:ext uri="{FF2B5EF4-FFF2-40B4-BE49-F238E27FC236}">
                    <a16:creationId xmlns:a16="http://schemas.microsoft.com/office/drawing/2014/main" id="{46EF51D2-1E3B-4A7F-9F64-CE85B9075D1C}"/>
                  </a:ext>
                </a:extLst>
              </p:cNvPr>
              <p:cNvSpPr>
                <a:spLocks/>
              </p:cNvSpPr>
              <p:nvPr/>
            </p:nvSpPr>
            <p:spPr bwMode="auto">
              <a:xfrm>
                <a:off x="6415281"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Freeform 28">
                <a:extLst>
                  <a:ext uri="{FF2B5EF4-FFF2-40B4-BE49-F238E27FC236}">
                    <a16:creationId xmlns:a16="http://schemas.microsoft.com/office/drawing/2014/main" id="{56E456BF-0519-4DDB-82D4-53FDB7EF7088}"/>
                  </a:ext>
                </a:extLst>
              </p:cNvPr>
              <p:cNvSpPr>
                <a:spLocks/>
              </p:cNvSpPr>
              <p:nvPr/>
            </p:nvSpPr>
            <p:spPr bwMode="auto">
              <a:xfrm>
                <a:off x="6769288"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30">
                <a:extLst>
                  <a:ext uri="{FF2B5EF4-FFF2-40B4-BE49-F238E27FC236}">
                    <a16:creationId xmlns:a16="http://schemas.microsoft.com/office/drawing/2014/main" id="{9A8B71AA-B2A2-48F9-B006-806B3BF4DF51}"/>
                  </a:ext>
                </a:extLst>
              </p:cNvPr>
              <p:cNvSpPr>
                <a:spLocks/>
              </p:cNvSpPr>
              <p:nvPr/>
            </p:nvSpPr>
            <p:spPr bwMode="auto">
              <a:xfrm>
                <a:off x="6529734"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31">
                <a:extLst>
                  <a:ext uri="{FF2B5EF4-FFF2-40B4-BE49-F238E27FC236}">
                    <a16:creationId xmlns:a16="http://schemas.microsoft.com/office/drawing/2014/main" id="{9EB219EB-573C-4807-BA71-7791AB10ECA5}"/>
                  </a:ext>
                </a:extLst>
              </p:cNvPr>
              <p:cNvSpPr>
                <a:spLocks/>
              </p:cNvSpPr>
              <p:nvPr/>
            </p:nvSpPr>
            <p:spPr bwMode="auto">
              <a:xfrm>
                <a:off x="6883741"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3">
                <a:extLst>
                  <a:ext uri="{FF2B5EF4-FFF2-40B4-BE49-F238E27FC236}">
                    <a16:creationId xmlns:a16="http://schemas.microsoft.com/office/drawing/2014/main" id="{3500391A-E8BD-4275-B1E3-D9DB446CA057}"/>
                  </a:ext>
                </a:extLst>
              </p:cNvPr>
              <p:cNvSpPr>
                <a:spLocks/>
              </p:cNvSpPr>
              <p:nvPr/>
            </p:nvSpPr>
            <p:spPr bwMode="auto">
              <a:xfrm>
                <a:off x="665483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4">
                <a:extLst>
                  <a:ext uri="{FF2B5EF4-FFF2-40B4-BE49-F238E27FC236}">
                    <a16:creationId xmlns:a16="http://schemas.microsoft.com/office/drawing/2014/main" id="{153BEEA0-2F5C-4A2C-9885-1FE942D4EF90}"/>
                  </a:ext>
                </a:extLst>
              </p:cNvPr>
              <p:cNvSpPr>
                <a:spLocks/>
              </p:cNvSpPr>
              <p:nvPr/>
            </p:nvSpPr>
            <p:spPr bwMode="auto">
              <a:xfrm>
                <a:off x="7000855"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5">
                <a:extLst>
                  <a:ext uri="{FF2B5EF4-FFF2-40B4-BE49-F238E27FC236}">
                    <a16:creationId xmlns:a16="http://schemas.microsoft.com/office/drawing/2014/main" id="{AD71E747-B790-48E4-A2EC-3455797D47E7}"/>
                  </a:ext>
                </a:extLst>
              </p:cNvPr>
              <p:cNvSpPr>
                <a:spLocks/>
              </p:cNvSpPr>
              <p:nvPr/>
            </p:nvSpPr>
            <p:spPr bwMode="auto">
              <a:xfrm>
                <a:off x="6415281"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6">
                <a:extLst>
                  <a:ext uri="{FF2B5EF4-FFF2-40B4-BE49-F238E27FC236}">
                    <a16:creationId xmlns:a16="http://schemas.microsoft.com/office/drawing/2014/main" id="{8C1EE8F1-2E79-4135-A7A3-F20781E6062D}"/>
                  </a:ext>
                </a:extLst>
              </p:cNvPr>
              <p:cNvSpPr>
                <a:spLocks/>
              </p:cNvSpPr>
              <p:nvPr/>
            </p:nvSpPr>
            <p:spPr bwMode="auto">
              <a:xfrm>
                <a:off x="6769288"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44" name="Freeform 271">
              <a:extLst>
                <a:ext uri="{FF2B5EF4-FFF2-40B4-BE49-F238E27FC236}">
                  <a16:creationId xmlns:a16="http://schemas.microsoft.com/office/drawing/2014/main" id="{E3EDC11F-3E21-4D7A-9F61-5505A9295217}"/>
                </a:ext>
              </a:extLst>
            </p:cNvPr>
            <p:cNvSpPr>
              <a:spLocks noChangeAspect="1"/>
            </p:cNvSpPr>
            <p:nvPr/>
          </p:nvSpPr>
          <p:spPr bwMode="black">
            <a:xfrm>
              <a:off x="5924938" y="2860661"/>
              <a:ext cx="724328" cy="82246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7030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par>
                                <p:cTn id="8" presetID="10" presetClass="entr" presetSubtype="0" fill="hold" nodeType="withEffect">
                                  <p:stCondLst>
                                    <p:cond delay="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0"/>
                                        </p:tgtEl>
                                        <p:attrNameLst>
                                          <p:attrName>style.visibility</p:attrName>
                                        </p:attrNameLst>
                                      </p:cBhvr>
                                      <p:to>
                                        <p:strVal val="visible"/>
                                      </p:to>
                                    </p:set>
                                    <p:animEffect transition="in" filter="fade">
                                      <p:cBhvr>
                                        <p:cTn id="13" dur="500"/>
                                        <p:tgtEl>
                                          <p:spTgt spid="16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5"/>
                                        </p:tgtEl>
                                        <p:attrNameLst>
                                          <p:attrName>style.visibility</p:attrName>
                                        </p:attrNameLst>
                                      </p:cBhvr>
                                      <p:to>
                                        <p:strVal val="visible"/>
                                      </p:to>
                                    </p:set>
                                    <p:animEffect transition="in" filter="fade">
                                      <p:cBhvr>
                                        <p:cTn id="16" dur="500"/>
                                        <p:tgtEl>
                                          <p:spTgt spid="16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fade">
                                      <p:cBhvr>
                                        <p:cTn id="19" dur="500"/>
                                        <p:tgtEl>
                                          <p:spTgt spid="8">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animEffect transition="in" filter="fade">
                                      <p:cBhvr>
                                        <p:cTn id="31" dur="500"/>
                                        <p:tgtEl>
                                          <p:spTgt spid="24">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21"/>
                                        </p:tgtEl>
                                        <p:attrNameLst>
                                          <p:attrName>style.visibility</p:attrName>
                                        </p:attrNameLst>
                                      </p:cBhvr>
                                      <p:to>
                                        <p:strVal val="visible"/>
                                      </p:to>
                                    </p:set>
                                    <p:animEffect transition="in" filter="fade">
                                      <p:cBhvr>
                                        <p:cTn id="34" dur="500"/>
                                        <p:tgtEl>
                                          <p:spTgt spid="121"/>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mph" presetSubtype="0" grpId="1" nodeType="clickEffect">
                                  <p:stCondLst>
                                    <p:cond delay="0"/>
                                  </p:stCondLst>
                                  <p:childTnLst>
                                    <p:set>
                                      <p:cBhvr>
                                        <p:cTn id="38" dur="indefinite"/>
                                        <p:tgtEl>
                                          <p:spTgt spid="150"/>
                                        </p:tgtEl>
                                        <p:attrNameLst>
                                          <p:attrName>style.opacity</p:attrName>
                                        </p:attrNameLst>
                                      </p:cBhvr>
                                      <p:to>
                                        <p:strVal val="0.1"/>
                                      </p:to>
                                    </p:set>
                                    <p:animEffect filter="image" prLst="opacity: 0.1">
                                      <p:cBhvr rctx="IE">
                                        <p:cTn id="39" dur="indefinite"/>
                                        <p:tgtEl>
                                          <p:spTgt spid="150"/>
                                        </p:tgtEl>
                                      </p:cBhvr>
                                    </p:animEffect>
                                  </p:childTnLst>
                                </p:cTn>
                              </p:par>
                              <p:par>
                                <p:cTn id="40" presetID="9" presetClass="emph" presetSubtype="0" nodeType="withEffect">
                                  <p:stCondLst>
                                    <p:cond delay="0"/>
                                  </p:stCondLst>
                                  <p:childTnLst>
                                    <p:set>
                                      <p:cBhvr>
                                        <p:cTn id="41" dur="indefinite"/>
                                        <p:tgtEl>
                                          <p:spTgt spid="155"/>
                                        </p:tgtEl>
                                        <p:attrNameLst>
                                          <p:attrName>style.opacity</p:attrName>
                                        </p:attrNameLst>
                                      </p:cBhvr>
                                      <p:to>
                                        <p:strVal val="0.1"/>
                                      </p:to>
                                    </p:set>
                                    <p:animEffect filter="image" prLst="opacity: 0.1">
                                      <p:cBhvr rctx="IE">
                                        <p:cTn id="42" dur="indefinite"/>
                                        <p:tgtEl>
                                          <p:spTgt spid="155"/>
                                        </p:tgtEl>
                                      </p:cBhvr>
                                    </p:animEffect>
                                  </p:childTnLst>
                                </p:cTn>
                              </p:par>
                              <p:par>
                                <p:cTn id="43" presetID="9" presetClass="emph" presetSubtype="0" grpId="1" nodeType="withEffect">
                                  <p:stCondLst>
                                    <p:cond delay="0"/>
                                  </p:stCondLst>
                                  <p:childTnLst>
                                    <p:set>
                                      <p:cBhvr>
                                        <p:cTn id="44" dur="indefinite"/>
                                        <p:tgtEl>
                                          <p:spTgt spid="160"/>
                                        </p:tgtEl>
                                        <p:attrNameLst>
                                          <p:attrName>style.opacity</p:attrName>
                                        </p:attrNameLst>
                                      </p:cBhvr>
                                      <p:to>
                                        <p:strVal val="0.1"/>
                                      </p:to>
                                    </p:set>
                                    <p:animEffect filter="image" prLst="opacity: 0.1">
                                      <p:cBhvr rctx="IE">
                                        <p:cTn id="45" dur="indefinite"/>
                                        <p:tgtEl>
                                          <p:spTgt spid="160"/>
                                        </p:tgtEl>
                                      </p:cBhvr>
                                    </p:animEffect>
                                  </p:childTnLst>
                                </p:cTn>
                              </p:par>
                              <p:par>
                                <p:cTn id="46" presetID="9" presetClass="emph" presetSubtype="0" grpId="1" nodeType="withEffect">
                                  <p:stCondLst>
                                    <p:cond delay="0"/>
                                  </p:stCondLst>
                                  <p:childTnLst>
                                    <p:set>
                                      <p:cBhvr>
                                        <p:cTn id="47" dur="indefinite"/>
                                        <p:tgtEl>
                                          <p:spTgt spid="165"/>
                                        </p:tgtEl>
                                        <p:attrNameLst>
                                          <p:attrName>style.opacity</p:attrName>
                                        </p:attrNameLst>
                                      </p:cBhvr>
                                      <p:to>
                                        <p:strVal val="0.1"/>
                                      </p:to>
                                    </p:set>
                                    <p:animEffect filter="image" prLst="opacity: 0.1">
                                      <p:cBhvr rctx="IE">
                                        <p:cTn id="48" dur="indefinite"/>
                                        <p:tgtEl>
                                          <p:spTgt spid="165"/>
                                        </p:tgtEl>
                                      </p:cBhvr>
                                    </p:animEffect>
                                  </p:childTnLst>
                                </p:cTn>
                              </p:par>
                              <p:par>
                                <p:cTn id="49" presetID="9" presetClass="emph" presetSubtype="0" grpId="1" nodeType="withEffect">
                                  <p:stCondLst>
                                    <p:cond delay="0"/>
                                  </p:stCondLst>
                                  <p:childTnLst>
                                    <p:set>
                                      <p:cBhvr>
                                        <p:cTn id="50" dur="indefinite"/>
                                        <p:tgtEl>
                                          <p:spTgt spid="8">
                                            <p:txEl>
                                              <p:pRg st="0" end="0"/>
                                            </p:txEl>
                                          </p:spTgt>
                                        </p:tgtEl>
                                        <p:attrNameLst>
                                          <p:attrName>style.opacity</p:attrName>
                                        </p:attrNameLst>
                                      </p:cBhvr>
                                      <p:to>
                                        <p:strVal val="0.1"/>
                                      </p:to>
                                    </p:set>
                                    <p:animEffect filter="image" prLst="opacity: 0.1">
                                      <p:cBhvr rctx="IE">
                                        <p:cTn id="51" dur="indefinite"/>
                                        <p:tgtEl>
                                          <p:spTgt spid="8">
                                            <p:txEl>
                                              <p:pRg st="0" end="0"/>
                                            </p:txEl>
                                          </p:spTgt>
                                        </p:tgtEl>
                                      </p:cBhvr>
                                    </p:animEffect>
                                  </p:childTnLst>
                                </p:cTn>
                              </p:par>
                              <p:par>
                                <p:cTn id="52" presetID="9" presetClass="emph" presetSubtype="0" grpId="1" nodeType="withEffect">
                                  <p:stCondLst>
                                    <p:cond delay="0"/>
                                  </p:stCondLst>
                                  <p:childTnLst>
                                    <p:set>
                                      <p:cBhvr>
                                        <p:cTn id="53" dur="indefinite"/>
                                        <p:tgtEl>
                                          <p:spTgt spid="4">
                                            <p:txEl>
                                              <p:pRg st="0" end="0"/>
                                            </p:txEl>
                                          </p:spTgt>
                                        </p:tgtEl>
                                        <p:attrNameLst>
                                          <p:attrName>style.opacity</p:attrName>
                                        </p:attrNameLst>
                                      </p:cBhvr>
                                      <p:to>
                                        <p:strVal val="0.1"/>
                                      </p:to>
                                    </p:set>
                                    <p:animEffect filter="image" prLst="opacity: 0.1">
                                      <p:cBhvr rctx="IE">
                                        <p:cTn id="54" dur="indefinite"/>
                                        <p:tgtEl>
                                          <p:spTgt spid="4">
                                            <p:txEl>
                                              <p:pRg st="0" end="0"/>
                                            </p:txEl>
                                          </p:spTgt>
                                        </p:tgtEl>
                                      </p:cBhvr>
                                    </p:animEffect>
                                  </p:childTnLst>
                                </p:cTn>
                              </p:par>
                              <p:par>
                                <p:cTn id="55" presetID="9" presetClass="emph" presetSubtype="0" grpId="1" nodeType="withEffect">
                                  <p:stCondLst>
                                    <p:cond delay="0"/>
                                  </p:stCondLst>
                                  <p:childTnLst>
                                    <p:set>
                                      <p:cBhvr>
                                        <p:cTn id="56" dur="indefinite"/>
                                        <p:tgtEl>
                                          <p:spTgt spid="14"/>
                                        </p:tgtEl>
                                        <p:attrNameLst>
                                          <p:attrName>style.opacity</p:attrName>
                                        </p:attrNameLst>
                                      </p:cBhvr>
                                      <p:to>
                                        <p:strVal val="0.1"/>
                                      </p:to>
                                    </p:set>
                                    <p:animEffect filter="image" prLst="opacity: 0.1">
                                      <p:cBhvr rctx="IE">
                                        <p:cTn id="57" dur="indefinite"/>
                                        <p:tgtEl>
                                          <p:spTgt spid="14"/>
                                        </p:tgtEl>
                                      </p:cBhvr>
                                    </p:animEffect>
                                  </p:childTnLst>
                                </p:cTn>
                              </p:par>
                              <p:par>
                                <p:cTn id="58" presetID="9" presetClass="emph" presetSubtype="0" grpId="1" nodeType="withEffect">
                                  <p:stCondLst>
                                    <p:cond delay="0"/>
                                  </p:stCondLst>
                                  <p:childTnLst>
                                    <p:set>
                                      <p:cBhvr>
                                        <p:cTn id="59" dur="indefinite"/>
                                        <p:tgtEl>
                                          <p:spTgt spid="18"/>
                                        </p:tgtEl>
                                        <p:attrNameLst>
                                          <p:attrName>style.opacity</p:attrName>
                                        </p:attrNameLst>
                                      </p:cBhvr>
                                      <p:to>
                                        <p:strVal val="0.1"/>
                                      </p:to>
                                    </p:set>
                                    <p:animEffect filter="image" prLst="opacity: 0.1">
                                      <p:cBhvr rctx="IE">
                                        <p:cTn id="60" dur="indefinite"/>
                                        <p:tgtEl>
                                          <p:spTgt spid="18"/>
                                        </p:tgtEl>
                                      </p:cBhvr>
                                    </p:animEffect>
                                  </p:childTnLst>
                                </p:cTn>
                              </p:par>
                              <p:par>
                                <p:cTn id="61" presetID="9" presetClass="emph" presetSubtype="0" grpId="1" nodeType="withEffect">
                                  <p:stCondLst>
                                    <p:cond delay="0"/>
                                  </p:stCondLst>
                                  <p:childTnLst>
                                    <p:set>
                                      <p:cBhvr>
                                        <p:cTn id="62" dur="indefinite"/>
                                        <p:tgtEl>
                                          <p:spTgt spid="24">
                                            <p:txEl>
                                              <p:pRg st="0" end="0"/>
                                            </p:txEl>
                                          </p:spTgt>
                                        </p:tgtEl>
                                        <p:attrNameLst>
                                          <p:attrName>style.opacity</p:attrName>
                                        </p:attrNameLst>
                                      </p:cBhvr>
                                      <p:to>
                                        <p:strVal val="0.1"/>
                                      </p:to>
                                    </p:set>
                                    <p:animEffect filter="image" prLst="opacity: 0.1">
                                      <p:cBhvr rctx="IE">
                                        <p:cTn id="63" dur="indefinite"/>
                                        <p:tgtEl>
                                          <p:spTgt spid="24">
                                            <p:txEl>
                                              <p:pRg st="0" end="0"/>
                                            </p:txEl>
                                          </p:spTgt>
                                        </p:tgtEl>
                                      </p:cBhvr>
                                    </p:animEffect>
                                  </p:childTnLst>
                                </p:cTn>
                              </p:par>
                              <p:par>
                                <p:cTn id="64" presetID="9" presetClass="emph" presetSubtype="0" nodeType="withEffect">
                                  <p:stCondLst>
                                    <p:cond delay="0"/>
                                  </p:stCondLst>
                                  <p:childTnLst>
                                    <p:set>
                                      <p:cBhvr>
                                        <p:cTn id="65" dur="indefinite"/>
                                        <p:tgtEl>
                                          <p:spTgt spid="121"/>
                                        </p:tgtEl>
                                        <p:attrNameLst>
                                          <p:attrName>style.opacity</p:attrName>
                                        </p:attrNameLst>
                                      </p:cBhvr>
                                      <p:to>
                                        <p:strVal val="0.1"/>
                                      </p:to>
                                    </p:set>
                                    <p:animEffect filter="image" prLst="opacity: 0.1">
                                      <p:cBhvr rctx="IE">
                                        <p:cTn id="66" dur="indefinite"/>
                                        <p:tgtEl>
                                          <p:spTgt spid="1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51"/>
                                        </p:tgtEl>
                                        <p:attrNameLst>
                                          <p:attrName>style.visibility</p:attrName>
                                        </p:attrNameLst>
                                      </p:cBhvr>
                                      <p:to>
                                        <p:strVal val="visible"/>
                                      </p:to>
                                    </p:set>
                                    <p:animEffect transition="in" filter="fade">
                                      <p:cBhvr>
                                        <p:cTn id="69" dur="500"/>
                                        <p:tgtEl>
                                          <p:spTgt spid="151"/>
                                        </p:tgtEl>
                                      </p:cBhvr>
                                    </p:animEffect>
                                  </p:childTnLst>
                                </p:cTn>
                              </p:par>
                              <p:par>
                                <p:cTn id="70" presetID="10" presetClass="entr" presetSubtype="0" fill="hold" nodeType="withEffect">
                                  <p:stCondLst>
                                    <p:cond delay="0"/>
                                  </p:stCondLst>
                                  <p:childTnLst>
                                    <p:set>
                                      <p:cBhvr>
                                        <p:cTn id="71" dur="1" fill="hold">
                                          <p:stCondLst>
                                            <p:cond delay="0"/>
                                          </p:stCondLst>
                                        </p:cTn>
                                        <p:tgtEl>
                                          <p:spTgt spid="156"/>
                                        </p:tgtEl>
                                        <p:attrNameLst>
                                          <p:attrName>style.visibility</p:attrName>
                                        </p:attrNameLst>
                                      </p:cBhvr>
                                      <p:to>
                                        <p:strVal val="visible"/>
                                      </p:to>
                                    </p:set>
                                    <p:animEffect transition="in" filter="fade">
                                      <p:cBhvr>
                                        <p:cTn id="72" dur="500"/>
                                        <p:tgtEl>
                                          <p:spTgt spid="15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61"/>
                                        </p:tgtEl>
                                        <p:attrNameLst>
                                          <p:attrName>style.visibility</p:attrName>
                                        </p:attrNameLst>
                                      </p:cBhvr>
                                      <p:to>
                                        <p:strVal val="visible"/>
                                      </p:to>
                                    </p:set>
                                    <p:animEffect transition="in" filter="fade">
                                      <p:cBhvr>
                                        <p:cTn id="75" dur="500"/>
                                        <p:tgtEl>
                                          <p:spTgt spid="16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66"/>
                                        </p:tgtEl>
                                        <p:attrNameLst>
                                          <p:attrName>style.visibility</p:attrName>
                                        </p:attrNameLst>
                                      </p:cBhvr>
                                      <p:to>
                                        <p:strVal val="visible"/>
                                      </p:to>
                                    </p:set>
                                    <p:animEffect transition="in" filter="fade">
                                      <p:cBhvr>
                                        <p:cTn id="78" dur="500"/>
                                        <p:tgtEl>
                                          <p:spTgt spid="16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
                                            <p:txEl>
                                              <p:pRg st="0" end="0"/>
                                            </p:txEl>
                                          </p:spTgt>
                                        </p:tgtEl>
                                        <p:attrNameLst>
                                          <p:attrName>style.visibility</p:attrName>
                                        </p:attrNameLst>
                                      </p:cBhvr>
                                      <p:to>
                                        <p:strVal val="visible"/>
                                      </p:to>
                                    </p:set>
                                    <p:animEffect transition="in" filter="fade">
                                      <p:cBhvr>
                                        <p:cTn id="81" dur="500"/>
                                        <p:tgtEl>
                                          <p:spTgt spid="9">
                                            <p:txEl>
                                              <p:pRg st="0" end="0"/>
                                            </p:tx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
                                            <p:txEl>
                                              <p:pRg st="0" end="0"/>
                                            </p:txEl>
                                          </p:spTgt>
                                        </p:tgtEl>
                                        <p:attrNameLst>
                                          <p:attrName>style.visibility</p:attrName>
                                        </p:attrNameLst>
                                      </p:cBhvr>
                                      <p:to>
                                        <p:strVal val="visible"/>
                                      </p:to>
                                    </p:set>
                                    <p:animEffect transition="in" filter="fade">
                                      <p:cBhvr>
                                        <p:cTn id="84" dur="500"/>
                                        <p:tgtEl>
                                          <p:spTgt spid="5">
                                            <p:txEl>
                                              <p:pRg st="0" end="0"/>
                                            </p:tx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fade">
                                      <p:cBhvr>
                                        <p:cTn id="87" dur="500"/>
                                        <p:tgtEl>
                                          <p:spTgt spid="15"/>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5">
                                            <p:txEl>
                                              <p:pRg st="0" end="0"/>
                                            </p:txEl>
                                          </p:spTgt>
                                        </p:tgtEl>
                                        <p:attrNameLst>
                                          <p:attrName>style.visibility</p:attrName>
                                        </p:attrNameLst>
                                      </p:cBhvr>
                                      <p:to>
                                        <p:strVal val="visible"/>
                                      </p:to>
                                    </p:set>
                                    <p:animEffect transition="in" filter="fade">
                                      <p:cBhvr>
                                        <p:cTn id="93" dur="500"/>
                                        <p:tgtEl>
                                          <p:spTgt spid="25">
                                            <p:txEl>
                                              <p:pRg st="0" end="0"/>
                                            </p:txEl>
                                          </p:spTgt>
                                        </p:tgtEl>
                                      </p:cBhvr>
                                    </p:animEffect>
                                  </p:childTnLst>
                                </p:cTn>
                              </p:par>
                              <p:par>
                                <p:cTn id="94" presetID="10" presetClass="entr" presetSubtype="0" fill="hold" nodeType="withEffect">
                                  <p:stCondLst>
                                    <p:cond delay="0"/>
                                  </p:stCondLst>
                                  <p:childTnLst>
                                    <p:set>
                                      <p:cBhvr>
                                        <p:cTn id="95" dur="1" fill="hold">
                                          <p:stCondLst>
                                            <p:cond delay="0"/>
                                          </p:stCondLst>
                                        </p:cTn>
                                        <p:tgtEl>
                                          <p:spTgt spid="142"/>
                                        </p:tgtEl>
                                        <p:attrNameLst>
                                          <p:attrName>style.visibility</p:attrName>
                                        </p:attrNameLst>
                                      </p:cBhvr>
                                      <p:to>
                                        <p:strVal val="visible"/>
                                      </p:to>
                                    </p:set>
                                    <p:animEffect transition="in" filter="fade">
                                      <p:cBhvr>
                                        <p:cTn id="96" dur="500"/>
                                        <p:tgtEl>
                                          <p:spTgt spid="142"/>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mph" presetSubtype="0" grpId="1" nodeType="clickEffect">
                                  <p:stCondLst>
                                    <p:cond delay="0"/>
                                  </p:stCondLst>
                                  <p:childTnLst>
                                    <p:set>
                                      <p:cBhvr>
                                        <p:cTn id="100" dur="indefinite"/>
                                        <p:tgtEl>
                                          <p:spTgt spid="151"/>
                                        </p:tgtEl>
                                        <p:attrNameLst>
                                          <p:attrName>style.opacity</p:attrName>
                                        </p:attrNameLst>
                                      </p:cBhvr>
                                      <p:to>
                                        <p:strVal val="0.1"/>
                                      </p:to>
                                    </p:set>
                                    <p:animEffect filter="image" prLst="opacity: 0.1">
                                      <p:cBhvr rctx="IE">
                                        <p:cTn id="101" dur="indefinite"/>
                                        <p:tgtEl>
                                          <p:spTgt spid="151"/>
                                        </p:tgtEl>
                                      </p:cBhvr>
                                    </p:animEffect>
                                  </p:childTnLst>
                                </p:cTn>
                              </p:par>
                              <p:par>
                                <p:cTn id="102" presetID="9" presetClass="emph" presetSubtype="0" nodeType="withEffect">
                                  <p:stCondLst>
                                    <p:cond delay="0"/>
                                  </p:stCondLst>
                                  <p:childTnLst>
                                    <p:set>
                                      <p:cBhvr>
                                        <p:cTn id="103" dur="indefinite"/>
                                        <p:tgtEl>
                                          <p:spTgt spid="156"/>
                                        </p:tgtEl>
                                        <p:attrNameLst>
                                          <p:attrName>style.opacity</p:attrName>
                                        </p:attrNameLst>
                                      </p:cBhvr>
                                      <p:to>
                                        <p:strVal val="0.1"/>
                                      </p:to>
                                    </p:set>
                                    <p:animEffect filter="image" prLst="opacity: 0.1">
                                      <p:cBhvr rctx="IE">
                                        <p:cTn id="104" dur="indefinite"/>
                                        <p:tgtEl>
                                          <p:spTgt spid="156"/>
                                        </p:tgtEl>
                                      </p:cBhvr>
                                    </p:animEffect>
                                  </p:childTnLst>
                                </p:cTn>
                              </p:par>
                              <p:par>
                                <p:cTn id="105" presetID="9" presetClass="emph" presetSubtype="0" grpId="1" nodeType="withEffect">
                                  <p:stCondLst>
                                    <p:cond delay="0"/>
                                  </p:stCondLst>
                                  <p:childTnLst>
                                    <p:set>
                                      <p:cBhvr>
                                        <p:cTn id="106" dur="indefinite"/>
                                        <p:tgtEl>
                                          <p:spTgt spid="161"/>
                                        </p:tgtEl>
                                        <p:attrNameLst>
                                          <p:attrName>style.opacity</p:attrName>
                                        </p:attrNameLst>
                                      </p:cBhvr>
                                      <p:to>
                                        <p:strVal val="0.1"/>
                                      </p:to>
                                    </p:set>
                                    <p:animEffect filter="image" prLst="opacity: 0.1">
                                      <p:cBhvr rctx="IE">
                                        <p:cTn id="107" dur="indefinite"/>
                                        <p:tgtEl>
                                          <p:spTgt spid="161"/>
                                        </p:tgtEl>
                                      </p:cBhvr>
                                    </p:animEffect>
                                  </p:childTnLst>
                                </p:cTn>
                              </p:par>
                              <p:par>
                                <p:cTn id="108" presetID="9" presetClass="emph" presetSubtype="0" grpId="1" nodeType="withEffect">
                                  <p:stCondLst>
                                    <p:cond delay="0"/>
                                  </p:stCondLst>
                                  <p:childTnLst>
                                    <p:set>
                                      <p:cBhvr>
                                        <p:cTn id="109" dur="indefinite"/>
                                        <p:tgtEl>
                                          <p:spTgt spid="166"/>
                                        </p:tgtEl>
                                        <p:attrNameLst>
                                          <p:attrName>style.opacity</p:attrName>
                                        </p:attrNameLst>
                                      </p:cBhvr>
                                      <p:to>
                                        <p:strVal val="0.1"/>
                                      </p:to>
                                    </p:set>
                                    <p:animEffect filter="image" prLst="opacity: 0.1">
                                      <p:cBhvr rctx="IE">
                                        <p:cTn id="110" dur="indefinite"/>
                                        <p:tgtEl>
                                          <p:spTgt spid="166"/>
                                        </p:tgtEl>
                                      </p:cBhvr>
                                    </p:animEffect>
                                  </p:childTnLst>
                                </p:cTn>
                              </p:par>
                              <p:par>
                                <p:cTn id="111" presetID="9" presetClass="emph" presetSubtype="0" grpId="1" nodeType="withEffect">
                                  <p:stCondLst>
                                    <p:cond delay="0"/>
                                  </p:stCondLst>
                                  <p:childTnLst>
                                    <p:set>
                                      <p:cBhvr>
                                        <p:cTn id="112" dur="indefinite"/>
                                        <p:tgtEl>
                                          <p:spTgt spid="9">
                                            <p:txEl>
                                              <p:pRg st="0" end="0"/>
                                            </p:txEl>
                                          </p:spTgt>
                                        </p:tgtEl>
                                        <p:attrNameLst>
                                          <p:attrName>style.opacity</p:attrName>
                                        </p:attrNameLst>
                                      </p:cBhvr>
                                      <p:to>
                                        <p:strVal val="0.1"/>
                                      </p:to>
                                    </p:set>
                                    <p:animEffect filter="image" prLst="opacity: 0.1">
                                      <p:cBhvr rctx="IE">
                                        <p:cTn id="113" dur="indefinite"/>
                                        <p:tgtEl>
                                          <p:spTgt spid="9">
                                            <p:txEl>
                                              <p:pRg st="0" end="0"/>
                                            </p:txEl>
                                          </p:spTgt>
                                        </p:tgtEl>
                                      </p:cBhvr>
                                    </p:animEffect>
                                  </p:childTnLst>
                                </p:cTn>
                              </p:par>
                              <p:par>
                                <p:cTn id="114" presetID="9" presetClass="emph" presetSubtype="0" grpId="1" nodeType="withEffect">
                                  <p:stCondLst>
                                    <p:cond delay="0"/>
                                  </p:stCondLst>
                                  <p:childTnLst>
                                    <p:set>
                                      <p:cBhvr>
                                        <p:cTn id="115" dur="indefinite"/>
                                        <p:tgtEl>
                                          <p:spTgt spid="5">
                                            <p:txEl>
                                              <p:pRg st="0" end="0"/>
                                            </p:txEl>
                                          </p:spTgt>
                                        </p:tgtEl>
                                        <p:attrNameLst>
                                          <p:attrName>style.opacity</p:attrName>
                                        </p:attrNameLst>
                                      </p:cBhvr>
                                      <p:to>
                                        <p:strVal val="0.1"/>
                                      </p:to>
                                    </p:set>
                                    <p:animEffect filter="image" prLst="opacity: 0.1">
                                      <p:cBhvr rctx="IE">
                                        <p:cTn id="116" dur="indefinite"/>
                                        <p:tgtEl>
                                          <p:spTgt spid="5">
                                            <p:txEl>
                                              <p:pRg st="0" end="0"/>
                                            </p:txEl>
                                          </p:spTgt>
                                        </p:tgtEl>
                                      </p:cBhvr>
                                    </p:animEffect>
                                  </p:childTnLst>
                                </p:cTn>
                              </p:par>
                              <p:par>
                                <p:cTn id="117" presetID="9" presetClass="emph" presetSubtype="0" grpId="1" nodeType="withEffect">
                                  <p:stCondLst>
                                    <p:cond delay="0"/>
                                  </p:stCondLst>
                                  <p:childTnLst>
                                    <p:set>
                                      <p:cBhvr>
                                        <p:cTn id="118" dur="indefinite"/>
                                        <p:tgtEl>
                                          <p:spTgt spid="15"/>
                                        </p:tgtEl>
                                        <p:attrNameLst>
                                          <p:attrName>style.opacity</p:attrName>
                                        </p:attrNameLst>
                                      </p:cBhvr>
                                      <p:to>
                                        <p:strVal val="0.1"/>
                                      </p:to>
                                    </p:set>
                                    <p:animEffect filter="image" prLst="opacity: 0.1">
                                      <p:cBhvr rctx="IE">
                                        <p:cTn id="119" dur="indefinite"/>
                                        <p:tgtEl>
                                          <p:spTgt spid="15"/>
                                        </p:tgtEl>
                                      </p:cBhvr>
                                    </p:animEffect>
                                  </p:childTnLst>
                                </p:cTn>
                              </p:par>
                              <p:par>
                                <p:cTn id="120" presetID="9" presetClass="emph" presetSubtype="0" grpId="1" nodeType="withEffect">
                                  <p:stCondLst>
                                    <p:cond delay="0"/>
                                  </p:stCondLst>
                                  <p:childTnLst>
                                    <p:set>
                                      <p:cBhvr>
                                        <p:cTn id="121" dur="indefinite"/>
                                        <p:tgtEl>
                                          <p:spTgt spid="19"/>
                                        </p:tgtEl>
                                        <p:attrNameLst>
                                          <p:attrName>style.opacity</p:attrName>
                                        </p:attrNameLst>
                                      </p:cBhvr>
                                      <p:to>
                                        <p:strVal val="0.1"/>
                                      </p:to>
                                    </p:set>
                                    <p:animEffect filter="image" prLst="opacity: 0.1">
                                      <p:cBhvr rctx="IE">
                                        <p:cTn id="122" dur="indefinite"/>
                                        <p:tgtEl>
                                          <p:spTgt spid="19"/>
                                        </p:tgtEl>
                                      </p:cBhvr>
                                    </p:animEffect>
                                  </p:childTnLst>
                                </p:cTn>
                              </p:par>
                              <p:par>
                                <p:cTn id="123" presetID="9" presetClass="emph" presetSubtype="0" grpId="1" nodeType="withEffect">
                                  <p:stCondLst>
                                    <p:cond delay="0"/>
                                  </p:stCondLst>
                                  <p:childTnLst>
                                    <p:set>
                                      <p:cBhvr>
                                        <p:cTn id="124" dur="indefinite"/>
                                        <p:tgtEl>
                                          <p:spTgt spid="25">
                                            <p:txEl>
                                              <p:pRg st="0" end="0"/>
                                            </p:txEl>
                                          </p:spTgt>
                                        </p:tgtEl>
                                        <p:attrNameLst>
                                          <p:attrName>style.opacity</p:attrName>
                                        </p:attrNameLst>
                                      </p:cBhvr>
                                      <p:to>
                                        <p:strVal val="0.1"/>
                                      </p:to>
                                    </p:set>
                                    <p:animEffect filter="image" prLst="opacity: 0.1">
                                      <p:cBhvr rctx="IE">
                                        <p:cTn id="125" dur="indefinite"/>
                                        <p:tgtEl>
                                          <p:spTgt spid="25">
                                            <p:txEl>
                                              <p:pRg st="0" end="0"/>
                                            </p:txEl>
                                          </p:spTgt>
                                        </p:tgtEl>
                                      </p:cBhvr>
                                    </p:animEffect>
                                  </p:childTnLst>
                                </p:cTn>
                              </p:par>
                              <p:par>
                                <p:cTn id="126" presetID="9" presetClass="emph" presetSubtype="0" nodeType="withEffect">
                                  <p:stCondLst>
                                    <p:cond delay="0"/>
                                  </p:stCondLst>
                                  <p:childTnLst>
                                    <p:set>
                                      <p:cBhvr>
                                        <p:cTn id="127" dur="indefinite"/>
                                        <p:tgtEl>
                                          <p:spTgt spid="142"/>
                                        </p:tgtEl>
                                        <p:attrNameLst>
                                          <p:attrName>style.opacity</p:attrName>
                                        </p:attrNameLst>
                                      </p:cBhvr>
                                      <p:to>
                                        <p:strVal val="0.1"/>
                                      </p:to>
                                    </p:set>
                                    <p:animEffect filter="image" prLst="opacity: 0.1">
                                      <p:cBhvr rctx="IE">
                                        <p:cTn id="128" dur="indefinite"/>
                                        <p:tgtEl>
                                          <p:spTgt spid="142"/>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52"/>
                                        </p:tgtEl>
                                        <p:attrNameLst>
                                          <p:attrName>style.visibility</p:attrName>
                                        </p:attrNameLst>
                                      </p:cBhvr>
                                      <p:to>
                                        <p:strVal val="visible"/>
                                      </p:to>
                                    </p:set>
                                    <p:animEffect transition="in" filter="fade">
                                      <p:cBhvr>
                                        <p:cTn id="131" dur="500"/>
                                        <p:tgtEl>
                                          <p:spTgt spid="152"/>
                                        </p:tgtEl>
                                      </p:cBhvr>
                                    </p:animEffect>
                                  </p:childTnLst>
                                </p:cTn>
                              </p:par>
                              <p:par>
                                <p:cTn id="132" presetID="10" presetClass="entr" presetSubtype="0" fill="hold" nodeType="withEffect">
                                  <p:stCondLst>
                                    <p:cond delay="0"/>
                                  </p:stCondLst>
                                  <p:childTnLst>
                                    <p:set>
                                      <p:cBhvr>
                                        <p:cTn id="133" dur="1" fill="hold">
                                          <p:stCondLst>
                                            <p:cond delay="0"/>
                                          </p:stCondLst>
                                        </p:cTn>
                                        <p:tgtEl>
                                          <p:spTgt spid="157"/>
                                        </p:tgtEl>
                                        <p:attrNameLst>
                                          <p:attrName>style.visibility</p:attrName>
                                        </p:attrNameLst>
                                      </p:cBhvr>
                                      <p:to>
                                        <p:strVal val="visible"/>
                                      </p:to>
                                    </p:set>
                                    <p:animEffect transition="in" filter="fade">
                                      <p:cBhvr>
                                        <p:cTn id="134" dur="500"/>
                                        <p:tgtEl>
                                          <p:spTgt spid="157"/>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62"/>
                                        </p:tgtEl>
                                        <p:attrNameLst>
                                          <p:attrName>style.visibility</p:attrName>
                                        </p:attrNameLst>
                                      </p:cBhvr>
                                      <p:to>
                                        <p:strVal val="visible"/>
                                      </p:to>
                                    </p:set>
                                    <p:animEffect transition="in" filter="fade">
                                      <p:cBhvr>
                                        <p:cTn id="137" dur="500"/>
                                        <p:tgtEl>
                                          <p:spTgt spid="162"/>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67"/>
                                        </p:tgtEl>
                                        <p:attrNameLst>
                                          <p:attrName>style.visibility</p:attrName>
                                        </p:attrNameLst>
                                      </p:cBhvr>
                                      <p:to>
                                        <p:strVal val="visible"/>
                                      </p:to>
                                    </p:set>
                                    <p:animEffect transition="in" filter="fade">
                                      <p:cBhvr>
                                        <p:cTn id="140" dur="500"/>
                                        <p:tgtEl>
                                          <p:spTgt spid="16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0">
                                            <p:txEl>
                                              <p:pRg st="0" end="0"/>
                                            </p:txEl>
                                          </p:spTgt>
                                        </p:tgtEl>
                                        <p:attrNameLst>
                                          <p:attrName>style.visibility</p:attrName>
                                        </p:attrNameLst>
                                      </p:cBhvr>
                                      <p:to>
                                        <p:strVal val="visible"/>
                                      </p:to>
                                    </p:set>
                                    <p:animEffect transition="in" filter="fade">
                                      <p:cBhvr>
                                        <p:cTn id="143" dur="500"/>
                                        <p:tgtEl>
                                          <p:spTgt spid="10">
                                            <p:txEl>
                                              <p:pRg st="0" end="0"/>
                                            </p:txEl>
                                          </p:spTgt>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6">
                                            <p:txEl>
                                              <p:pRg st="0" end="0"/>
                                            </p:txEl>
                                          </p:spTgt>
                                        </p:tgtEl>
                                        <p:attrNameLst>
                                          <p:attrName>style.visibility</p:attrName>
                                        </p:attrNameLst>
                                      </p:cBhvr>
                                      <p:to>
                                        <p:strVal val="visible"/>
                                      </p:to>
                                    </p:set>
                                    <p:animEffect transition="in" filter="fade">
                                      <p:cBhvr>
                                        <p:cTn id="146" dur="500"/>
                                        <p:tgtEl>
                                          <p:spTgt spid="6">
                                            <p:txEl>
                                              <p:pRg st="0" end="0"/>
                                            </p:txEl>
                                          </p:spTgt>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20"/>
                                        </p:tgtEl>
                                        <p:attrNameLst>
                                          <p:attrName>style.visibility</p:attrName>
                                        </p:attrNameLst>
                                      </p:cBhvr>
                                      <p:to>
                                        <p:strVal val="visible"/>
                                      </p:to>
                                    </p:set>
                                    <p:animEffect transition="in" filter="fade">
                                      <p:cBhvr>
                                        <p:cTn id="149" dur="500"/>
                                        <p:tgtEl>
                                          <p:spTgt spid="20"/>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26">
                                            <p:txEl>
                                              <p:pRg st="0" end="0"/>
                                            </p:txEl>
                                          </p:spTgt>
                                        </p:tgtEl>
                                        <p:attrNameLst>
                                          <p:attrName>style.visibility</p:attrName>
                                        </p:attrNameLst>
                                      </p:cBhvr>
                                      <p:to>
                                        <p:strVal val="visible"/>
                                      </p:to>
                                    </p:set>
                                    <p:animEffect transition="in" filter="fade">
                                      <p:cBhvr>
                                        <p:cTn id="155" dur="500"/>
                                        <p:tgtEl>
                                          <p:spTgt spid="26">
                                            <p:txEl>
                                              <p:pRg st="0" end="0"/>
                                            </p:txEl>
                                          </p:spTgt>
                                        </p:tgtEl>
                                      </p:cBhvr>
                                    </p:animEffect>
                                  </p:childTnLst>
                                </p:cTn>
                              </p:par>
                              <p:par>
                                <p:cTn id="156" presetID="10" presetClass="entr" presetSubtype="0" fill="hold" nodeType="withEffect">
                                  <p:stCondLst>
                                    <p:cond delay="0"/>
                                  </p:stCondLst>
                                  <p:childTnLst>
                                    <p:set>
                                      <p:cBhvr>
                                        <p:cTn id="157" dur="1" fill="hold">
                                          <p:stCondLst>
                                            <p:cond delay="0"/>
                                          </p:stCondLst>
                                        </p:cTn>
                                        <p:tgtEl>
                                          <p:spTgt spid="205"/>
                                        </p:tgtEl>
                                        <p:attrNameLst>
                                          <p:attrName>style.visibility</p:attrName>
                                        </p:attrNameLst>
                                      </p:cBhvr>
                                      <p:to>
                                        <p:strVal val="visible"/>
                                      </p:to>
                                    </p:set>
                                    <p:animEffect transition="in" filter="fade">
                                      <p:cBhvr>
                                        <p:cTn id="158" dur="500"/>
                                        <p:tgtEl>
                                          <p:spTgt spid="205"/>
                                        </p:tgtEl>
                                      </p:cBhvr>
                                    </p:animEffect>
                                  </p:childTnLst>
                                </p:cTn>
                              </p:par>
                            </p:childTnLst>
                          </p:cTn>
                        </p:par>
                      </p:childTnLst>
                    </p:cTn>
                  </p:par>
                  <p:par>
                    <p:cTn id="159" fill="hold">
                      <p:stCondLst>
                        <p:cond delay="indefinite"/>
                      </p:stCondLst>
                      <p:childTnLst>
                        <p:par>
                          <p:cTn id="160" fill="hold">
                            <p:stCondLst>
                              <p:cond delay="0"/>
                            </p:stCondLst>
                            <p:childTnLst>
                              <p:par>
                                <p:cTn id="161" presetID="9" presetClass="emph" presetSubtype="0" grpId="1" nodeType="clickEffect">
                                  <p:stCondLst>
                                    <p:cond delay="0"/>
                                  </p:stCondLst>
                                  <p:childTnLst>
                                    <p:set>
                                      <p:cBhvr>
                                        <p:cTn id="162" dur="indefinite"/>
                                        <p:tgtEl>
                                          <p:spTgt spid="152"/>
                                        </p:tgtEl>
                                        <p:attrNameLst>
                                          <p:attrName>style.opacity</p:attrName>
                                        </p:attrNameLst>
                                      </p:cBhvr>
                                      <p:to>
                                        <p:strVal val="0.1"/>
                                      </p:to>
                                    </p:set>
                                    <p:animEffect filter="image" prLst="opacity: 0.1">
                                      <p:cBhvr rctx="IE">
                                        <p:cTn id="163" dur="indefinite"/>
                                        <p:tgtEl>
                                          <p:spTgt spid="152"/>
                                        </p:tgtEl>
                                      </p:cBhvr>
                                    </p:animEffect>
                                  </p:childTnLst>
                                </p:cTn>
                              </p:par>
                              <p:par>
                                <p:cTn id="164" presetID="9" presetClass="emph" presetSubtype="0" nodeType="withEffect">
                                  <p:stCondLst>
                                    <p:cond delay="0"/>
                                  </p:stCondLst>
                                  <p:childTnLst>
                                    <p:set>
                                      <p:cBhvr>
                                        <p:cTn id="165" dur="indefinite"/>
                                        <p:tgtEl>
                                          <p:spTgt spid="157"/>
                                        </p:tgtEl>
                                        <p:attrNameLst>
                                          <p:attrName>style.opacity</p:attrName>
                                        </p:attrNameLst>
                                      </p:cBhvr>
                                      <p:to>
                                        <p:strVal val="0.1"/>
                                      </p:to>
                                    </p:set>
                                    <p:animEffect filter="image" prLst="opacity: 0.1">
                                      <p:cBhvr rctx="IE">
                                        <p:cTn id="166" dur="indefinite"/>
                                        <p:tgtEl>
                                          <p:spTgt spid="157"/>
                                        </p:tgtEl>
                                      </p:cBhvr>
                                    </p:animEffect>
                                  </p:childTnLst>
                                </p:cTn>
                              </p:par>
                              <p:par>
                                <p:cTn id="167" presetID="9" presetClass="emph" presetSubtype="0" grpId="1" nodeType="withEffect">
                                  <p:stCondLst>
                                    <p:cond delay="0"/>
                                  </p:stCondLst>
                                  <p:childTnLst>
                                    <p:set>
                                      <p:cBhvr>
                                        <p:cTn id="168" dur="indefinite"/>
                                        <p:tgtEl>
                                          <p:spTgt spid="162"/>
                                        </p:tgtEl>
                                        <p:attrNameLst>
                                          <p:attrName>style.opacity</p:attrName>
                                        </p:attrNameLst>
                                      </p:cBhvr>
                                      <p:to>
                                        <p:strVal val="0.1"/>
                                      </p:to>
                                    </p:set>
                                    <p:animEffect filter="image" prLst="opacity: 0.1">
                                      <p:cBhvr rctx="IE">
                                        <p:cTn id="169" dur="indefinite"/>
                                        <p:tgtEl>
                                          <p:spTgt spid="162"/>
                                        </p:tgtEl>
                                      </p:cBhvr>
                                    </p:animEffect>
                                  </p:childTnLst>
                                </p:cTn>
                              </p:par>
                              <p:par>
                                <p:cTn id="170" presetID="9" presetClass="emph" presetSubtype="0" grpId="1" nodeType="withEffect">
                                  <p:stCondLst>
                                    <p:cond delay="0"/>
                                  </p:stCondLst>
                                  <p:childTnLst>
                                    <p:set>
                                      <p:cBhvr>
                                        <p:cTn id="171" dur="indefinite"/>
                                        <p:tgtEl>
                                          <p:spTgt spid="167"/>
                                        </p:tgtEl>
                                        <p:attrNameLst>
                                          <p:attrName>style.opacity</p:attrName>
                                        </p:attrNameLst>
                                      </p:cBhvr>
                                      <p:to>
                                        <p:strVal val="0.1"/>
                                      </p:to>
                                    </p:set>
                                    <p:animEffect filter="image" prLst="opacity: 0.1">
                                      <p:cBhvr rctx="IE">
                                        <p:cTn id="172" dur="indefinite"/>
                                        <p:tgtEl>
                                          <p:spTgt spid="167"/>
                                        </p:tgtEl>
                                      </p:cBhvr>
                                    </p:animEffect>
                                  </p:childTnLst>
                                </p:cTn>
                              </p:par>
                              <p:par>
                                <p:cTn id="173" presetID="9" presetClass="emph" presetSubtype="0" grpId="1" nodeType="withEffect">
                                  <p:stCondLst>
                                    <p:cond delay="0"/>
                                  </p:stCondLst>
                                  <p:childTnLst>
                                    <p:set>
                                      <p:cBhvr>
                                        <p:cTn id="174" dur="indefinite"/>
                                        <p:tgtEl>
                                          <p:spTgt spid="10">
                                            <p:txEl>
                                              <p:pRg st="0" end="0"/>
                                            </p:txEl>
                                          </p:spTgt>
                                        </p:tgtEl>
                                        <p:attrNameLst>
                                          <p:attrName>style.opacity</p:attrName>
                                        </p:attrNameLst>
                                      </p:cBhvr>
                                      <p:to>
                                        <p:strVal val="0.1"/>
                                      </p:to>
                                    </p:set>
                                    <p:animEffect filter="image" prLst="opacity: 0.1">
                                      <p:cBhvr rctx="IE">
                                        <p:cTn id="175" dur="indefinite"/>
                                        <p:tgtEl>
                                          <p:spTgt spid="10">
                                            <p:txEl>
                                              <p:pRg st="0" end="0"/>
                                            </p:txEl>
                                          </p:spTgt>
                                        </p:tgtEl>
                                      </p:cBhvr>
                                    </p:animEffect>
                                  </p:childTnLst>
                                </p:cTn>
                              </p:par>
                              <p:par>
                                <p:cTn id="176" presetID="9" presetClass="emph" presetSubtype="0" grpId="1" nodeType="withEffect">
                                  <p:stCondLst>
                                    <p:cond delay="0"/>
                                  </p:stCondLst>
                                  <p:childTnLst>
                                    <p:set>
                                      <p:cBhvr>
                                        <p:cTn id="177" dur="indefinite"/>
                                        <p:tgtEl>
                                          <p:spTgt spid="6">
                                            <p:txEl>
                                              <p:pRg st="0" end="0"/>
                                            </p:txEl>
                                          </p:spTgt>
                                        </p:tgtEl>
                                        <p:attrNameLst>
                                          <p:attrName>style.opacity</p:attrName>
                                        </p:attrNameLst>
                                      </p:cBhvr>
                                      <p:to>
                                        <p:strVal val="0.1"/>
                                      </p:to>
                                    </p:set>
                                    <p:animEffect filter="image" prLst="opacity: 0.1">
                                      <p:cBhvr rctx="IE">
                                        <p:cTn id="178" dur="indefinite"/>
                                        <p:tgtEl>
                                          <p:spTgt spid="6">
                                            <p:txEl>
                                              <p:pRg st="0" end="0"/>
                                            </p:txEl>
                                          </p:spTgt>
                                        </p:tgtEl>
                                      </p:cBhvr>
                                    </p:animEffect>
                                  </p:childTnLst>
                                </p:cTn>
                              </p:par>
                              <p:par>
                                <p:cTn id="179" presetID="9" presetClass="emph" presetSubtype="0" grpId="1" nodeType="withEffect">
                                  <p:stCondLst>
                                    <p:cond delay="0"/>
                                  </p:stCondLst>
                                  <p:childTnLst>
                                    <p:set>
                                      <p:cBhvr>
                                        <p:cTn id="180" dur="indefinite"/>
                                        <p:tgtEl>
                                          <p:spTgt spid="20"/>
                                        </p:tgtEl>
                                        <p:attrNameLst>
                                          <p:attrName>style.opacity</p:attrName>
                                        </p:attrNameLst>
                                      </p:cBhvr>
                                      <p:to>
                                        <p:strVal val="0.1"/>
                                      </p:to>
                                    </p:set>
                                    <p:animEffect filter="image" prLst="opacity: 0.1">
                                      <p:cBhvr rctx="IE">
                                        <p:cTn id="181" dur="indefinite"/>
                                        <p:tgtEl>
                                          <p:spTgt spid="20"/>
                                        </p:tgtEl>
                                      </p:cBhvr>
                                    </p:animEffect>
                                  </p:childTnLst>
                                </p:cTn>
                              </p:par>
                              <p:par>
                                <p:cTn id="182" presetID="9" presetClass="emph" presetSubtype="0" grpId="1" nodeType="withEffect">
                                  <p:stCondLst>
                                    <p:cond delay="0"/>
                                  </p:stCondLst>
                                  <p:childTnLst>
                                    <p:set>
                                      <p:cBhvr>
                                        <p:cTn id="183" dur="indefinite"/>
                                        <p:tgtEl>
                                          <p:spTgt spid="23"/>
                                        </p:tgtEl>
                                        <p:attrNameLst>
                                          <p:attrName>style.opacity</p:attrName>
                                        </p:attrNameLst>
                                      </p:cBhvr>
                                      <p:to>
                                        <p:strVal val="0.1"/>
                                      </p:to>
                                    </p:set>
                                    <p:animEffect filter="image" prLst="opacity: 0.1">
                                      <p:cBhvr rctx="IE">
                                        <p:cTn id="184" dur="indefinite"/>
                                        <p:tgtEl>
                                          <p:spTgt spid="23"/>
                                        </p:tgtEl>
                                      </p:cBhvr>
                                    </p:animEffect>
                                  </p:childTnLst>
                                </p:cTn>
                              </p:par>
                              <p:par>
                                <p:cTn id="185" presetID="9" presetClass="emph" presetSubtype="0" grpId="1" nodeType="withEffect">
                                  <p:stCondLst>
                                    <p:cond delay="0"/>
                                  </p:stCondLst>
                                  <p:childTnLst>
                                    <p:set>
                                      <p:cBhvr>
                                        <p:cTn id="186" dur="indefinite"/>
                                        <p:tgtEl>
                                          <p:spTgt spid="26">
                                            <p:txEl>
                                              <p:pRg st="0" end="0"/>
                                            </p:txEl>
                                          </p:spTgt>
                                        </p:tgtEl>
                                        <p:attrNameLst>
                                          <p:attrName>style.opacity</p:attrName>
                                        </p:attrNameLst>
                                      </p:cBhvr>
                                      <p:to>
                                        <p:strVal val="0.1"/>
                                      </p:to>
                                    </p:set>
                                    <p:animEffect filter="image" prLst="opacity: 0.1">
                                      <p:cBhvr rctx="IE">
                                        <p:cTn id="187" dur="indefinite"/>
                                        <p:tgtEl>
                                          <p:spTgt spid="26">
                                            <p:txEl>
                                              <p:pRg st="0" end="0"/>
                                            </p:txEl>
                                          </p:spTgt>
                                        </p:tgtEl>
                                      </p:cBhvr>
                                    </p:animEffect>
                                  </p:childTnLst>
                                </p:cTn>
                              </p:par>
                              <p:par>
                                <p:cTn id="188" presetID="9" presetClass="emph" presetSubtype="0" nodeType="withEffect">
                                  <p:stCondLst>
                                    <p:cond delay="0"/>
                                  </p:stCondLst>
                                  <p:childTnLst>
                                    <p:set>
                                      <p:cBhvr>
                                        <p:cTn id="189" dur="indefinite"/>
                                        <p:tgtEl>
                                          <p:spTgt spid="205"/>
                                        </p:tgtEl>
                                        <p:attrNameLst>
                                          <p:attrName>style.opacity</p:attrName>
                                        </p:attrNameLst>
                                      </p:cBhvr>
                                      <p:to>
                                        <p:strVal val="0.1"/>
                                      </p:to>
                                    </p:set>
                                    <p:animEffect filter="image" prLst="opacity: 0.1">
                                      <p:cBhvr rctx="IE">
                                        <p:cTn id="190" dur="indefinite"/>
                                        <p:tgtEl>
                                          <p:spTgt spid="205"/>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53"/>
                                        </p:tgtEl>
                                        <p:attrNameLst>
                                          <p:attrName>style.visibility</p:attrName>
                                        </p:attrNameLst>
                                      </p:cBhvr>
                                      <p:to>
                                        <p:strVal val="visible"/>
                                      </p:to>
                                    </p:set>
                                    <p:animEffect transition="in" filter="fade">
                                      <p:cBhvr>
                                        <p:cTn id="193" dur="500"/>
                                        <p:tgtEl>
                                          <p:spTgt spid="153"/>
                                        </p:tgtEl>
                                      </p:cBhvr>
                                    </p:animEffect>
                                  </p:childTnLst>
                                </p:cTn>
                              </p:par>
                              <p:par>
                                <p:cTn id="194" presetID="10" presetClass="entr" presetSubtype="0" fill="hold" nodeType="withEffect">
                                  <p:stCondLst>
                                    <p:cond delay="0"/>
                                  </p:stCondLst>
                                  <p:childTnLst>
                                    <p:set>
                                      <p:cBhvr>
                                        <p:cTn id="195" dur="1" fill="hold">
                                          <p:stCondLst>
                                            <p:cond delay="0"/>
                                          </p:stCondLst>
                                        </p:cTn>
                                        <p:tgtEl>
                                          <p:spTgt spid="158"/>
                                        </p:tgtEl>
                                        <p:attrNameLst>
                                          <p:attrName>style.visibility</p:attrName>
                                        </p:attrNameLst>
                                      </p:cBhvr>
                                      <p:to>
                                        <p:strVal val="visible"/>
                                      </p:to>
                                    </p:set>
                                    <p:animEffect transition="in" filter="fade">
                                      <p:cBhvr>
                                        <p:cTn id="196" dur="500"/>
                                        <p:tgtEl>
                                          <p:spTgt spid="158"/>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63"/>
                                        </p:tgtEl>
                                        <p:attrNameLst>
                                          <p:attrName>style.visibility</p:attrName>
                                        </p:attrNameLst>
                                      </p:cBhvr>
                                      <p:to>
                                        <p:strVal val="visible"/>
                                      </p:to>
                                    </p:set>
                                    <p:animEffect transition="in" filter="fade">
                                      <p:cBhvr>
                                        <p:cTn id="199" dur="500"/>
                                        <p:tgtEl>
                                          <p:spTgt spid="163"/>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68"/>
                                        </p:tgtEl>
                                        <p:attrNameLst>
                                          <p:attrName>style.visibility</p:attrName>
                                        </p:attrNameLst>
                                      </p:cBhvr>
                                      <p:to>
                                        <p:strVal val="visible"/>
                                      </p:to>
                                    </p:set>
                                    <p:animEffect transition="in" filter="fade">
                                      <p:cBhvr>
                                        <p:cTn id="202" dur="500"/>
                                        <p:tgtEl>
                                          <p:spTgt spid="168"/>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1">
                                            <p:txEl>
                                              <p:pRg st="0" end="0"/>
                                            </p:txEl>
                                          </p:spTgt>
                                        </p:tgtEl>
                                        <p:attrNameLst>
                                          <p:attrName>style.visibility</p:attrName>
                                        </p:attrNameLst>
                                      </p:cBhvr>
                                      <p:to>
                                        <p:strVal val="visible"/>
                                      </p:to>
                                    </p:set>
                                    <p:animEffect transition="in" filter="fade">
                                      <p:cBhvr>
                                        <p:cTn id="205" dur="500"/>
                                        <p:tgtEl>
                                          <p:spTgt spid="11">
                                            <p:txEl>
                                              <p:pRg st="0" end="0"/>
                                            </p:txEl>
                                          </p:spTgt>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7">
                                            <p:txEl>
                                              <p:pRg st="0" end="0"/>
                                            </p:txEl>
                                          </p:spTgt>
                                        </p:tgtEl>
                                        <p:attrNameLst>
                                          <p:attrName>style.visibility</p:attrName>
                                        </p:attrNameLst>
                                      </p:cBhvr>
                                      <p:to>
                                        <p:strVal val="visible"/>
                                      </p:to>
                                    </p:set>
                                    <p:animEffect transition="in" filter="fade">
                                      <p:cBhvr>
                                        <p:cTn id="208" dur="500"/>
                                        <p:tgtEl>
                                          <p:spTgt spid="7">
                                            <p:txEl>
                                              <p:pRg st="0" end="0"/>
                                            </p:txEl>
                                          </p:spTgt>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21"/>
                                        </p:tgtEl>
                                        <p:attrNameLst>
                                          <p:attrName>style.visibility</p:attrName>
                                        </p:attrNameLst>
                                      </p:cBhvr>
                                      <p:to>
                                        <p:strVal val="visible"/>
                                      </p:to>
                                    </p:set>
                                    <p:animEffect transition="in" filter="fade">
                                      <p:cBhvr>
                                        <p:cTn id="214" dur="500"/>
                                        <p:tgtEl>
                                          <p:spTgt spid="2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27">
                                            <p:txEl>
                                              <p:pRg st="0" end="0"/>
                                            </p:txEl>
                                          </p:spTgt>
                                        </p:tgtEl>
                                        <p:attrNameLst>
                                          <p:attrName>style.visibility</p:attrName>
                                        </p:attrNameLst>
                                      </p:cBhvr>
                                      <p:to>
                                        <p:strVal val="visible"/>
                                      </p:to>
                                    </p:set>
                                    <p:animEffect transition="in" filter="fade">
                                      <p:cBhvr>
                                        <p:cTn id="217" dur="500"/>
                                        <p:tgtEl>
                                          <p:spTgt spid="27">
                                            <p:txEl>
                                              <p:pRg st="0" end="0"/>
                                            </p:txEl>
                                          </p:spTgt>
                                        </p:tgtEl>
                                      </p:cBhvr>
                                    </p:animEffect>
                                  </p:childTnLst>
                                </p:cTn>
                              </p:par>
                              <p:par>
                                <p:cTn id="218" presetID="10" presetClass="entr" presetSubtype="0" fill="hold" nodeType="withEffect">
                                  <p:stCondLst>
                                    <p:cond delay="0"/>
                                  </p:stCondLst>
                                  <p:childTnLst>
                                    <p:set>
                                      <p:cBhvr>
                                        <p:cTn id="219" dur="1" fill="hold">
                                          <p:stCondLst>
                                            <p:cond delay="0"/>
                                          </p:stCondLst>
                                        </p:cTn>
                                        <p:tgtEl>
                                          <p:spTgt spid="241"/>
                                        </p:tgtEl>
                                        <p:attrNameLst>
                                          <p:attrName>style.visibility</p:attrName>
                                        </p:attrNameLst>
                                      </p:cBhvr>
                                      <p:to>
                                        <p:strVal val="visible"/>
                                      </p:to>
                                    </p:set>
                                    <p:animEffect transition="in" filter="fade">
                                      <p:cBhvr>
                                        <p:cTn id="220" dur="500"/>
                                        <p:tgtEl>
                                          <p:spTgt spid="241"/>
                                        </p:tgtEl>
                                      </p:cBhvr>
                                    </p:animEffect>
                                  </p:childTnLst>
                                </p:cTn>
                              </p:par>
                            </p:childTnLst>
                          </p:cTn>
                        </p:par>
                      </p:childTnLst>
                    </p:cTn>
                  </p:par>
                  <p:par>
                    <p:cTn id="221" fill="hold">
                      <p:stCondLst>
                        <p:cond delay="indefinite"/>
                      </p:stCondLst>
                      <p:childTnLst>
                        <p:par>
                          <p:cTn id="222" fill="hold">
                            <p:stCondLst>
                              <p:cond delay="0"/>
                            </p:stCondLst>
                            <p:childTnLst>
                              <p:par>
                                <p:cTn id="223" presetID="9" presetClass="emph" presetSubtype="0" grpId="1" nodeType="clickEffect">
                                  <p:stCondLst>
                                    <p:cond delay="0"/>
                                  </p:stCondLst>
                                  <p:childTnLst>
                                    <p:set>
                                      <p:cBhvr>
                                        <p:cTn id="224" dur="indefinite"/>
                                        <p:tgtEl>
                                          <p:spTgt spid="153"/>
                                        </p:tgtEl>
                                        <p:attrNameLst>
                                          <p:attrName>style.opacity</p:attrName>
                                        </p:attrNameLst>
                                      </p:cBhvr>
                                      <p:to>
                                        <p:strVal val="0.1"/>
                                      </p:to>
                                    </p:set>
                                    <p:animEffect filter="image" prLst="opacity: 0.1">
                                      <p:cBhvr rctx="IE">
                                        <p:cTn id="225" dur="indefinite"/>
                                        <p:tgtEl>
                                          <p:spTgt spid="153"/>
                                        </p:tgtEl>
                                      </p:cBhvr>
                                    </p:animEffect>
                                  </p:childTnLst>
                                </p:cTn>
                              </p:par>
                              <p:par>
                                <p:cTn id="226" presetID="9" presetClass="emph" presetSubtype="0" nodeType="withEffect">
                                  <p:stCondLst>
                                    <p:cond delay="0"/>
                                  </p:stCondLst>
                                  <p:childTnLst>
                                    <p:set>
                                      <p:cBhvr>
                                        <p:cTn id="227" dur="indefinite"/>
                                        <p:tgtEl>
                                          <p:spTgt spid="158"/>
                                        </p:tgtEl>
                                        <p:attrNameLst>
                                          <p:attrName>style.opacity</p:attrName>
                                        </p:attrNameLst>
                                      </p:cBhvr>
                                      <p:to>
                                        <p:strVal val="0.1"/>
                                      </p:to>
                                    </p:set>
                                    <p:animEffect filter="image" prLst="opacity: 0.1">
                                      <p:cBhvr rctx="IE">
                                        <p:cTn id="228" dur="indefinite"/>
                                        <p:tgtEl>
                                          <p:spTgt spid="158"/>
                                        </p:tgtEl>
                                      </p:cBhvr>
                                    </p:animEffect>
                                  </p:childTnLst>
                                </p:cTn>
                              </p:par>
                              <p:par>
                                <p:cTn id="229" presetID="9" presetClass="emph" presetSubtype="0" grpId="1" nodeType="withEffect">
                                  <p:stCondLst>
                                    <p:cond delay="0"/>
                                  </p:stCondLst>
                                  <p:childTnLst>
                                    <p:set>
                                      <p:cBhvr>
                                        <p:cTn id="230" dur="indefinite"/>
                                        <p:tgtEl>
                                          <p:spTgt spid="163"/>
                                        </p:tgtEl>
                                        <p:attrNameLst>
                                          <p:attrName>style.opacity</p:attrName>
                                        </p:attrNameLst>
                                      </p:cBhvr>
                                      <p:to>
                                        <p:strVal val="0.1"/>
                                      </p:to>
                                    </p:set>
                                    <p:animEffect filter="image" prLst="opacity: 0.1">
                                      <p:cBhvr rctx="IE">
                                        <p:cTn id="231" dur="indefinite"/>
                                        <p:tgtEl>
                                          <p:spTgt spid="163"/>
                                        </p:tgtEl>
                                      </p:cBhvr>
                                    </p:animEffect>
                                  </p:childTnLst>
                                </p:cTn>
                              </p:par>
                              <p:par>
                                <p:cTn id="232" presetID="9" presetClass="emph" presetSubtype="0" grpId="1" nodeType="withEffect">
                                  <p:stCondLst>
                                    <p:cond delay="0"/>
                                  </p:stCondLst>
                                  <p:childTnLst>
                                    <p:set>
                                      <p:cBhvr>
                                        <p:cTn id="233" dur="indefinite"/>
                                        <p:tgtEl>
                                          <p:spTgt spid="168"/>
                                        </p:tgtEl>
                                        <p:attrNameLst>
                                          <p:attrName>style.opacity</p:attrName>
                                        </p:attrNameLst>
                                      </p:cBhvr>
                                      <p:to>
                                        <p:strVal val="0.1"/>
                                      </p:to>
                                    </p:set>
                                    <p:animEffect filter="image" prLst="opacity: 0.1">
                                      <p:cBhvr rctx="IE">
                                        <p:cTn id="234" dur="indefinite"/>
                                        <p:tgtEl>
                                          <p:spTgt spid="168"/>
                                        </p:tgtEl>
                                      </p:cBhvr>
                                    </p:animEffect>
                                  </p:childTnLst>
                                </p:cTn>
                              </p:par>
                              <p:par>
                                <p:cTn id="235" presetID="9" presetClass="emph" presetSubtype="0" grpId="1" nodeType="withEffect">
                                  <p:stCondLst>
                                    <p:cond delay="0"/>
                                  </p:stCondLst>
                                  <p:childTnLst>
                                    <p:set>
                                      <p:cBhvr>
                                        <p:cTn id="236" dur="indefinite"/>
                                        <p:tgtEl>
                                          <p:spTgt spid="11">
                                            <p:txEl>
                                              <p:pRg st="0" end="0"/>
                                            </p:txEl>
                                          </p:spTgt>
                                        </p:tgtEl>
                                        <p:attrNameLst>
                                          <p:attrName>style.opacity</p:attrName>
                                        </p:attrNameLst>
                                      </p:cBhvr>
                                      <p:to>
                                        <p:strVal val="0.1"/>
                                      </p:to>
                                    </p:set>
                                    <p:animEffect filter="image" prLst="opacity: 0.1">
                                      <p:cBhvr rctx="IE">
                                        <p:cTn id="237" dur="indefinite"/>
                                        <p:tgtEl>
                                          <p:spTgt spid="11">
                                            <p:txEl>
                                              <p:pRg st="0" end="0"/>
                                            </p:txEl>
                                          </p:spTgt>
                                        </p:tgtEl>
                                      </p:cBhvr>
                                    </p:animEffect>
                                  </p:childTnLst>
                                </p:cTn>
                              </p:par>
                              <p:par>
                                <p:cTn id="238" presetID="9" presetClass="emph" presetSubtype="0" grpId="1" nodeType="withEffect">
                                  <p:stCondLst>
                                    <p:cond delay="0"/>
                                  </p:stCondLst>
                                  <p:childTnLst>
                                    <p:set>
                                      <p:cBhvr>
                                        <p:cTn id="239" dur="indefinite"/>
                                        <p:tgtEl>
                                          <p:spTgt spid="7">
                                            <p:txEl>
                                              <p:pRg st="0" end="0"/>
                                            </p:txEl>
                                          </p:spTgt>
                                        </p:tgtEl>
                                        <p:attrNameLst>
                                          <p:attrName>style.opacity</p:attrName>
                                        </p:attrNameLst>
                                      </p:cBhvr>
                                      <p:to>
                                        <p:strVal val="0.1"/>
                                      </p:to>
                                    </p:set>
                                    <p:animEffect filter="image" prLst="opacity: 0.1">
                                      <p:cBhvr rctx="IE">
                                        <p:cTn id="240" dur="indefinite"/>
                                        <p:tgtEl>
                                          <p:spTgt spid="7">
                                            <p:txEl>
                                              <p:pRg st="0" end="0"/>
                                            </p:txEl>
                                          </p:spTgt>
                                        </p:tgtEl>
                                      </p:cBhvr>
                                    </p:animEffect>
                                  </p:childTnLst>
                                </p:cTn>
                              </p:par>
                              <p:par>
                                <p:cTn id="241" presetID="9" presetClass="emph" presetSubtype="0" grpId="1" nodeType="withEffect">
                                  <p:stCondLst>
                                    <p:cond delay="0"/>
                                  </p:stCondLst>
                                  <p:childTnLst>
                                    <p:set>
                                      <p:cBhvr>
                                        <p:cTn id="242" dur="indefinite"/>
                                        <p:tgtEl>
                                          <p:spTgt spid="16"/>
                                        </p:tgtEl>
                                        <p:attrNameLst>
                                          <p:attrName>style.opacity</p:attrName>
                                        </p:attrNameLst>
                                      </p:cBhvr>
                                      <p:to>
                                        <p:strVal val="0.1"/>
                                      </p:to>
                                    </p:set>
                                    <p:animEffect filter="image" prLst="opacity: 0.1">
                                      <p:cBhvr rctx="IE">
                                        <p:cTn id="243" dur="indefinite"/>
                                        <p:tgtEl>
                                          <p:spTgt spid="16"/>
                                        </p:tgtEl>
                                      </p:cBhvr>
                                    </p:animEffect>
                                  </p:childTnLst>
                                </p:cTn>
                              </p:par>
                              <p:par>
                                <p:cTn id="244" presetID="9" presetClass="emph" presetSubtype="0" grpId="1" nodeType="withEffect">
                                  <p:stCondLst>
                                    <p:cond delay="0"/>
                                  </p:stCondLst>
                                  <p:childTnLst>
                                    <p:set>
                                      <p:cBhvr>
                                        <p:cTn id="245" dur="indefinite"/>
                                        <p:tgtEl>
                                          <p:spTgt spid="21"/>
                                        </p:tgtEl>
                                        <p:attrNameLst>
                                          <p:attrName>style.opacity</p:attrName>
                                        </p:attrNameLst>
                                      </p:cBhvr>
                                      <p:to>
                                        <p:strVal val="0.1"/>
                                      </p:to>
                                    </p:set>
                                    <p:animEffect filter="image" prLst="opacity: 0.1">
                                      <p:cBhvr rctx="IE">
                                        <p:cTn id="246" dur="indefinite"/>
                                        <p:tgtEl>
                                          <p:spTgt spid="21"/>
                                        </p:tgtEl>
                                      </p:cBhvr>
                                    </p:animEffect>
                                  </p:childTnLst>
                                </p:cTn>
                              </p:par>
                              <p:par>
                                <p:cTn id="247" presetID="9" presetClass="emph" presetSubtype="0" grpId="1" nodeType="withEffect">
                                  <p:stCondLst>
                                    <p:cond delay="0"/>
                                  </p:stCondLst>
                                  <p:childTnLst>
                                    <p:set>
                                      <p:cBhvr>
                                        <p:cTn id="248" dur="indefinite"/>
                                        <p:tgtEl>
                                          <p:spTgt spid="27">
                                            <p:txEl>
                                              <p:pRg st="0" end="0"/>
                                            </p:txEl>
                                          </p:spTgt>
                                        </p:tgtEl>
                                        <p:attrNameLst>
                                          <p:attrName>style.opacity</p:attrName>
                                        </p:attrNameLst>
                                      </p:cBhvr>
                                      <p:to>
                                        <p:strVal val="0.1"/>
                                      </p:to>
                                    </p:set>
                                    <p:animEffect filter="image" prLst="opacity: 0.1">
                                      <p:cBhvr rctx="IE">
                                        <p:cTn id="249" dur="indefinite"/>
                                        <p:tgtEl>
                                          <p:spTgt spid="27">
                                            <p:txEl>
                                              <p:pRg st="0" end="0"/>
                                            </p:txEl>
                                          </p:spTgt>
                                        </p:tgtEl>
                                      </p:cBhvr>
                                    </p:animEffect>
                                  </p:childTnLst>
                                </p:cTn>
                              </p:par>
                              <p:par>
                                <p:cTn id="250" presetID="9" presetClass="emph" presetSubtype="0" nodeType="withEffect">
                                  <p:stCondLst>
                                    <p:cond delay="0"/>
                                  </p:stCondLst>
                                  <p:childTnLst>
                                    <p:set>
                                      <p:cBhvr>
                                        <p:cTn id="251" dur="indefinite"/>
                                        <p:tgtEl>
                                          <p:spTgt spid="241"/>
                                        </p:tgtEl>
                                        <p:attrNameLst>
                                          <p:attrName>style.opacity</p:attrName>
                                        </p:attrNameLst>
                                      </p:cBhvr>
                                      <p:to>
                                        <p:strVal val="0.1"/>
                                      </p:to>
                                    </p:set>
                                    <p:animEffect filter="image" prLst="opacity: 0.1">
                                      <p:cBhvr rctx="IE">
                                        <p:cTn id="252" dur="indefinite"/>
                                        <p:tgtEl>
                                          <p:spTgt spid="241"/>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154"/>
                                        </p:tgtEl>
                                        <p:attrNameLst>
                                          <p:attrName>style.visibility</p:attrName>
                                        </p:attrNameLst>
                                      </p:cBhvr>
                                      <p:to>
                                        <p:strVal val="visible"/>
                                      </p:to>
                                    </p:set>
                                    <p:animEffect transition="in" filter="fade">
                                      <p:cBhvr>
                                        <p:cTn id="255" dur="500"/>
                                        <p:tgtEl>
                                          <p:spTgt spid="154"/>
                                        </p:tgtEl>
                                      </p:cBhvr>
                                    </p:animEffect>
                                  </p:childTnLst>
                                </p:cTn>
                              </p:par>
                              <p:par>
                                <p:cTn id="256" presetID="10" presetClass="entr" presetSubtype="0" fill="hold" nodeType="withEffect">
                                  <p:stCondLst>
                                    <p:cond delay="0"/>
                                  </p:stCondLst>
                                  <p:childTnLst>
                                    <p:set>
                                      <p:cBhvr>
                                        <p:cTn id="257" dur="1" fill="hold">
                                          <p:stCondLst>
                                            <p:cond delay="0"/>
                                          </p:stCondLst>
                                        </p:cTn>
                                        <p:tgtEl>
                                          <p:spTgt spid="159"/>
                                        </p:tgtEl>
                                        <p:attrNameLst>
                                          <p:attrName>style.visibility</p:attrName>
                                        </p:attrNameLst>
                                      </p:cBhvr>
                                      <p:to>
                                        <p:strVal val="visible"/>
                                      </p:to>
                                    </p:set>
                                    <p:animEffect transition="in" filter="fade">
                                      <p:cBhvr>
                                        <p:cTn id="258" dur="500"/>
                                        <p:tgtEl>
                                          <p:spTgt spid="159"/>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164"/>
                                        </p:tgtEl>
                                        <p:attrNameLst>
                                          <p:attrName>style.visibility</p:attrName>
                                        </p:attrNameLst>
                                      </p:cBhvr>
                                      <p:to>
                                        <p:strVal val="visible"/>
                                      </p:to>
                                    </p:set>
                                    <p:animEffect transition="in" filter="fade">
                                      <p:cBhvr>
                                        <p:cTn id="261" dur="500"/>
                                        <p:tgtEl>
                                          <p:spTgt spid="164"/>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169"/>
                                        </p:tgtEl>
                                        <p:attrNameLst>
                                          <p:attrName>style.visibility</p:attrName>
                                        </p:attrNameLst>
                                      </p:cBhvr>
                                      <p:to>
                                        <p:strVal val="visible"/>
                                      </p:to>
                                    </p:set>
                                    <p:animEffect transition="in" filter="fade">
                                      <p:cBhvr>
                                        <p:cTn id="264" dur="500"/>
                                        <p:tgtEl>
                                          <p:spTgt spid="169"/>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12">
                                            <p:txEl>
                                              <p:pRg st="0" end="0"/>
                                            </p:txEl>
                                          </p:spTgt>
                                        </p:tgtEl>
                                        <p:attrNameLst>
                                          <p:attrName>style.visibility</p:attrName>
                                        </p:attrNameLst>
                                      </p:cBhvr>
                                      <p:to>
                                        <p:strVal val="visible"/>
                                      </p:to>
                                    </p:set>
                                    <p:animEffect transition="in" filter="fade">
                                      <p:cBhvr>
                                        <p:cTn id="267" dur="500"/>
                                        <p:tgtEl>
                                          <p:spTgt spid="12">
                                            <p:txEl>
                                              <p:pRg st="0" end="0"/>
                                            </p:txEl>
                                          </p:spTgt>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13">
                                            <p:txEl>
                                              <p:pRg st="0" end="0"/>
                                            </p:txEl>
                                          </p:spTgt>
                                        </p:tgtEl>
                                        <p:attrNameLst>
                                          <p:attrName>style.visibility</p:attrName>
                                        </p:attrNameLst>
                                      </p:cBhvr>
                                      <p:to>
                                        <p:strVal val="visible"/>
                                      </p:to>
                                    </p:set>
                                    <p:animEffect transition="in" filter="fade">
                                      <p:cBhvr>
                                        <p:cTn id="270" dur="500"/>
                                        <p:tgtEl>
                                          <p:spTgt spid="13">
                                            <p:txEl>
                                              <p:pRg st="0" end="0"/>
                                            </p:txEl>
                                          </p:spTgt>
                                        </p:tgtEl>
                                      </p:cBhvr>
                                    </p:animEffect>
                                  </p:childTnLst>
                                </p:cTn>
                              </p:par>
                              <p:par>
                                <p:cTn id="271" presetID="10" presetClass="entr" presetSubtype="0" fill="hold" grpId="0" nodeType="withEffect">
                                  <p:stCondLst>
                                    <p:cond delay="0"/>
                                  </p:stCondLst>
                                  <p:childTnLst>
                                    <p:set>
                                      <p:cBhvr>
                                        <p:cTn id="272" dur="1" fill="hold">
                                          <p:stCondLst>
                                            <p:cond delay="0"/>
                                          </p:stCondLst>
                                        </p:cTn>
                                        <p:tgtEl>
                                          <p:spTgt spid="17"/>
                                        </p:tgtEl>
                                        <p:attrNameLst>
                                          <p:attrName>style.visibility</p:attrName>
                                        </p:attrNameLst>
                                      </p:cBhvr>
                                      <p:to>
                                        <p:strVal val="visible"/>
                                      </p:to>
                                    </p:set>
                                    <p:animEffect transition="in" filter="fade">
                                      <p:cBhvr>
                                        <p:cTn id="273" dur="500"/>
                                        <p:tgtEl>
                                          <p:spTgt spid="17"/>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22"/>
                                        </p:tgtEl>
                                        <p:attrNameLst>
                                          <p:attrName>style.visibility</p:attrName>
                                        </p:attrNameLst>
                                      </p:cBhvr>
                                      <p:to>
                                        <p:strVal val="visible"/>
                                      </p:to>
                                    </p:set>
                                    <p:animEffect transition="in" filter="fade">
                                      <p:cBhvr>
                                        <p:cTn id="276" dur="500"/>
                                        <p:tgtEl>
                                          <p:spTgt spid="22"/>
                                        </p:tgtEl>
                                      </p:cBhvr>
                                    </p:animEffect>
                                  </p:childTnLst>
                                </p:cTn>
                              </p:par>
                              <p:par>
                                <p:cTn id="277" presetID="10" presetClass="entr" presetSubtype="0" fill="hold" grpId="0" nodeType="withEffect">
                                  <p:stCondLst>
                                    <p:cond delay="0"/>
                                  </p:stCondLst>
                                  <p:childTnLst>
                                    <p:set>
                                      <p:cBhvr>
                                        <p:cTn id="278" dur="1" fill="hold">
                                          <p:stCondLst>
                                            <p:cond delay="0"/>
                                          </p:stCondLst>
                                        </p:cTn>
                                        <p:tgtEl>
                                          <p:spTgt spid="28">
                                            <p:txEl>
                                              <p:pRg st="0" end="0"/>
                                            </p:txEl>
                                          </p:spTgt>
                                        </p:tgtEl>
                                        <p:attrNameLst>
                                          <p:attrName>style.visibility</p:attrName>
                                        </p:attrNameLst>
                                      </p:cBhvr>
                                      <p:to>
                                        <p:strVal val="visible"/>
                                      </p:to>
                                    </p:set>
                                    <p:animEffect transition="in" filter="fade">
                                      <p:cBhvr>
                                        <p:cTn id="279" dur="500"/>
                                        <p:tgtEl>
                                          <p:spTgt spid="28">
                                            <p:txEl>
                                              <p:pRg st="0" end="0"/>
                                            </p:txEl>
                                          </p:spTgt>
                                        </p:tgtEl>
                                      </p:cBhvr>
                                    </p:animEffect>
                                  </p:childTnLst>
                                </p:cTn>
                              </p:par>
                              <p:par>
                                <p:cTn id="280" presetID="10" presetClass="entr" presetSubtype="0" fill="hold" nodeType="withEffect">
                                  <p:stCondLst>
                                    <p:cond delay="0"/>
                                  </p:stCondLst>
                                  <p:childTnLst>
                                    <p:set>
                                      <p:cBhvr>
                                        <p:cTn id="281" dur="1" fill="hold">
                                          <p:stCondLst>
                                            <p:cond delay="0"/>
                                          </p:stCondLst>
                                        </p:cTn>
                                        <p:tgtEl>
                                          <p:spTgt spid="107"/>
                                        </p:tgtEl>
                                        <p:attrNameLst>
                                          <p:attrName>style.visibility</p:attrName>
                                        </p:attrNameLst>
                                      </p:cBhvr>
                                      <p:to>
                                        <p:strVal val="visible"/>
                                      </p:to>
                                    </p:set>
                                    <p:animEffect transition="in" filter="fade">
                                      <p:cBhvr>
                                        <p:cTn id="282" dur="500"/>
                                        <p:tgtEl>
                                          <p:spTgt spid="107"/>
                                        </p:tgtEl>
                                      </p:cBhvr>
                                    </p:animEffect>
                                  </p:childTnLst>
                                </p:cTn>
                              </p:par>
                            </p:childTnLst>
                          </p:cTn>
                        </p:par>
                      </p:childTnLst>
                    </p:cTn>
                  </p:par>
                  <p:par>
                    <p:cTn id="283" fill="hold">
                      <p:stCondLst>
                        <p:cond delay="indefinite"/>
                      </p:stCondLst>
                      <p:childTnLst>
                        <p:par>
                          <p:cTn id="284" fill="hold">
                            <p:stCondLst>
                              <p:cond delay="0"/>
                            </p:stCondLst>
                            <p:childTnLst>
                              <p:par>
                                <p:cTn id="285" presetID="9" presetClass="emph" presetSubtype="0" grpId="2" nodeType="clickEffect">
                                  <p:stCondLst>
                                    <p:cond delay="0"/>
                                  </p:stCondLst>
                                  <p:childTnLst>
                                    <p:set>
                                      <p:cBhvr>
                                        <p:cTn id="286" dur="indefinite"/>
                                        <p:tgtEl>
                                          <p:spTgt spid="150"/>
                                        </p:tgtEl>
                                        <p:attrNameLst>
                                          <p:attrName>style.opacity</p:attrName>
                                        </p:attrNameLst>
                                      </p:cBhvr>
                                      <p:to>
                                        <p:strVal val="1"/>
                                      </p:to>
                                    </p:set>
                                    <p:animEffect filter="image" prLst="opacity: 1">
                                      <p:cBhvr rctx="IE">
                                        <p:cTn id="287" dur="indefinite"/>
                                        <p:tgtEl>
                                          <p:spTgt spid="150"/>
                                        </p:tgtEl>
                                      </p:cBhvr>
                                    </p:animEffect>
                                  </p:childTnLst>
                                </p:cTn>
                              </p:par>
                              <p:par>
                                <p:cTn id="288" presetID="9" presetClass="emph" presetSubtype="0" grpId="2" nodeType="withEffect">
                                  <p:stCondLst>
                                    <p:cond delay="0"/>
                                  </p:stCondLst>
                                  <p:childTnLst>
                                    <p:set>
                                      <p:cBhvr>
                                        <p:cTn id="289" dur="indefinite"/>
                                        <p:tgtEl>
                                          <p:spTgt spid="151"/>
                                        </p:tgtEl>
                                        <p:attrNameLst>
                                          <p:attrName>style.opacity</p:attrName>
                                        </p:attrNameLst>
                                      </p:cBhvr>
                                      <p:to>
                                        <p:strVal val="1"/>
                                      </p:to>
                                    </p:set>
                                    <p:animEffect filter="image" prLst="opacity: 1">
                                      <p:cBhvr rctx="IE">
                                        <p:cTn id="290" dur="indefinite"/>
                                        <p:tgtEl>
                                          <p:spTgt spid="151"/>
                                        </p:tgtEl>
                                      </p:cBhvr>
                                    </p:animEffect>
                                  </p:childTnLst>
                                </p:cTn>
                              </p:par>
                              <p:par>
                                <p:cTn id="291" presetID="9" presetClass="emph" presetSubtype="0" grpId="2" nodeType="withEffect">
                                  <p:stCondLst>
                                    <p:cond delay="0"/>
                                  </p:stCondLst>
                                  <p:childTnLst>
                                    <p:set>
                                      <p:cBhvr>
                                        <p:cTn id="292" dur="indefinite"/>
                                        <p:tgtEl>
                                          <p:spTgt spid="152"/>
                                        </p:tgtEl>
                                        <p:attrNameLst>
                                          <p:attrName>style.opacity</p:attrName>
                                        </p:attrNameLst>
                                      </p:cBhvr>
                                      <p:to>
                                        <p:strVal val="1"/>
                                      </p:to>
                                    </p:set>
                                    <p:animEffect filter="image" prLst="opacity: 1">
                                      <p:cBhvr rctx="IE">
                                        <p:cTn id="293" dur="indefinite"/>
                                        <p:tgtEl>
                                          <p:spTgt spid="152"/>
                                        </p:tgtEl>
                                      </p:cBhvr>
                                    </p:animEffect>
                                  </p:childTnLst>
                                </p:cTn>
                              </p:par>
                              <p:par>
                                <p:cTn id="294" presetID="9" presetClass="emph" presetSubtype="0" grpId="2" nodeType="withEffect">
                                  <p:stCondLst>
                                    <p:cond delay="0"/>
                                  </p:stCondLst>
                                  <p:childTnLst>
                                    <p:set>
                                      <p:cBhvr>
                                        <p:cTn id="295" dur="indefinite"/>
                                        <p:tgtEl>
                                          <p:spTgt spid="153"/>
                                        </p:tgtEl>
                                        <p:attrNameLst>
                                          <p:attrName>style.opacity</p:attrName>
                                        </p:attrNameLst>
                                      </p:cBhvr>
                                      <p:to>
                                        <p:strVal val="1"/>
                                      </p:to>
                                    </p:set>
                                    <p:animEffect filter="image" prLst="opacity: 1">
                                      <p:cBhvr rctx="IE">
                                        <p:cTn id="296" dur="indefinite"/>
                                        <p:tgtEl>
                                          <p:spTgt spid="153"/>
                                        </p:tgtEl>
                                      </p:cBhvr>
                                    </p:animEffect>
                                  </p:childTnLst>
                                </p:cTn>
                              </p:par>
                              <p:par>
                                <p:cTn id="297" presetID="9" presetClass="emph" presetSubtype="0" nodeType="withEffect">
                                  <p:stCondLst>
                                    <p:cond delay="0"/>
                                  </p:stCondLst>
                                  <p:childTnLst>
                                    <p:set>
                                      <p:cBhvr>
                                        <p:cTn id="298" dur="indefinite"/>
                                        <p:tgtEl>
                                          <p:spTgt spid="155"/>
                                        </p:tgtEl>
                                        <p:attrNameLst>
                                          <p:attrName>style.opacity</p:attrName>
                                        </p:attrNameLst>
                                      </p:cBhvr>
                                      <p:to>
                                        <p:strVal val="1"/>
                                      </p:to>
                                    </p:set>
                                    <p:animEffect filter="image" prLst="opacity: 1">
                                      <p:cBhvr rctx="IE">
                                        <p:cTn id="299" dur="indefinite"/>
                                        <p:tgtEl>
                                          <p:spTgt spid="155"/>
                                        </p:tgtEl>
                                      </p:cBhvr>
                                    </p:animEffect>
                                  </p:childTnLst>
                                </p:cTn>
                              </p:par>
                              <p:par>
                                <p:cTn id="300" presetID="9" presetClass="emph" presetSubtype="0" nodeType="withEffect">
                                  <p:stCondLst>
                                    <p:cond delay="0"/>
                                  </p:stCondLst>
                                  <p:childTnLst>
                                    <p:set>
                                      <p:cBhvr>
                                        <p:cTn id="301" dur="indefinite"/>
                                        <p:tgtEl>
                                          <p:spTgt spid="156"/>
                                        </p:tgtEl>
                                        <p:attrNameLst>
                                          <p:attrName>style.opacity</p:attrName>
                                        </p:attrNameLst>
                                      </p:cBhvr>
                                      <p:to>
                                        <p:strVal val="1"/>
                                      </p:to>
                                    </p:set>
                                    <p:animEffect filter="image" prLst="opacity: 1">
                                      <p:cBhvr rctx="IE">
                                        <p:cTn id="302" dur="indefinite"/>
                                        <p:tgtEl>
                                          <p:spTgt spid="156"/>
                                        </p:tgtEl>
                                      </p:cBhvr>
                                    </p:animEffect>
                                  </p:childTnLst>
                                </p:cTn>
                              </p:par>
                              <p:par>
                                <p:cTn id="303" presetID="9" presetClass="emph" presetSubtype="0" nodeType="withEffect">
                                  <p:stCondLst>
                                    <p:cond delay="0"/>
                                  </p:stCondLst>
                                  <p:childTnLst>
                                    <p:set>
                                      <p:cBhvr>
                                        <p:cTn id="304" dur="indefinite"/>
                                        <p:tgtEl>
                                          <p:spTgt spid="157"/>
                                        </p:tgtEl>
                                        <p:attrNameLst>
                                          <p:attrName>style.opacity</p:attrName>
                                        </p:attrNameLst>
                                      </p:cBhvr>
                                      <p:to>
                                        <p:strVal val="1"/>
                                      </p:to>
                                    </p:set>
                                    <p:animEffect filter="image" prLst="opacity: 1">
                                      <p:cBhvr rctx="IE">
                                        <p:cTn id="305" dur="indefinite"/>
                                        <p:tgtEl>
                                          <p:spTgt spid="157"/>
                                        </p:tgtEl>
                                      </p:cBhvr>
                                    </p:animEffect>
                                  </p:childTnLst>
                                </p:cTn>
                              </p:par>
                              <p:par>
                                <p:cTn id="306" presetID="9" presetClass="emph" presetSubtype="0" nodeType="withEffect">
                                  <p:stCondLst>
                                    <p:cond delay="0"/>
                                  </p:stCondLst>
                                  <p:childTnLst>
                                    <p:set>
                                      <p:cBhvr>
                                        <p:cTn id="307" dur="indefinite"/>
                                        <p:tgtEl>
                                          <p:spTgt spid="158"/>
                                        </p:tgtEl>
                                        <p:attrNameLst>
                                          <p:attrName>style.opacity</p:attrName>
                                        </p:attrNameLst>
                                      </p:cBhvr>
                                      <p:to>
                                        <p:strVal val="1"/>
                                      </p:to>
                                    </p:set>
                                    <p:animEffect filter="image" prLst="opacity: 1">
                                      <p:cBhvr rctx="IE">
                                        <p:cTn id="308" dur="indefinite"/>
                                        <p:tgtEl>
                                          <p:spTgt spid="158"/>
                                        </p:tgtEl>
                                      </p:cBhvr>
                                    </p:animEffect>
                                  </p:childTnLst>
                                </p:cTn>
                              </p:par>
                              <p:par>
                                <p:cTn id="309" presetID="9" presetClass="emph" presetSubtype="0" grpId="2" nodeType="withEffect">
                                  <p:stCondLst>
                                    <p:cond delay="0"/>
                                  </p:stCondLst>
                                  <p:childTnLst>
                                    <p:set>
                                      <p:cBhvr>
                                        <p:cTn id="310" dur="indefinite"/>
                                        <p:tgtEl>
                                          <p:spTgt spid="160"/>
                                        </p:tgtEl>
                                        <p:attrNameLst>
                                          <p:attrName>style.opacity</p:attrName>
                                        </p:attrNameLst>
                                      </p:cBhvr>
                                      <p:to>
                                        <p:strVal val="1"/>
                                      </p:to>
                                    </p:set>
                                    <p:animEffect filter="image" prLst="opacity: 1">
                                      <p:cBhvr rctx="IE">
                                        <p:cTn id="311" dur="indefinite"/>
                                        <p:tgtEl>
                                          <p:spTgt spid="160"/>
                                        </p:tgtEl>
                                      </p:cBhvr>
                                    </p:animEffect>
                                  </p:childTnLst>
                                </p:cTn>
                              </p:par>
                              <p:par>
                                <p:cTn id="312" presetID="9" presetClass="emph" presetSubtype="0" grpId="2" nodeType="withEffect">
                                  <p:stCondLst>
                                    <p:cond delay="0"/>
                                  </p:stCondLst>
                                  <p:childTnLst>
                                    <p:set>
                                      <p:cBhvr>
                                        <p:cTn id="313" dur="indefinite"/>
                                        <p:tgtEl>
                                          <p:spTgt spid="161"/>
                                        </p:tgtEl>
                                        <p:attrNameLst>
                                          <p:attrName>style.opacity</p:attrName>
                                        </p:attrNameLst>
                                      </p:cBhvr>
                                      <p:to>
                                        <p:strVal val="1"/>
                                      </p:to>
                                    </p:set>
                                    <p:animEffect filter="image" prLst="opacity: 1">
                                      <p:cBhvr rctx="IE">
                                        <p:cTn id="314" dur="indefinite"/>
                                        <p:tgtEl>
                                          <p:spTgt spid="161"/>
                                        </p:tgtEl>
                                      </p:cBhvr>
                                    </p:animEffect>
                                  </p:childTnLst>
                                </p:cTn>
                              </p:par>
                              <p:par>
                                <p:cTn id="315" presetID="9" presetClass="emph" presetSubtype="0" grpId="2" nodeType="withEffect">
                                  <p:stCondLst>
                                    <p:cond delay="0"/>
                                  </p:stCondLst>
                                  <p:childTnLst>
                                    <p:set>
                                      <p:cBhvr>
                                        <p:cTn id="316" dur="indefinite"/>
                                        <p:tgtEl>
                                          <p:spTgt spid="162"/>
                                        </p:tgtEl>
                                        <p:attrNameLst>
                                          <p:attrName>style.opacity</p:attrName>
                                        </p:attrNameLst>
                                      </p:cBhvr>
                                      <p:to>
                                        <p:strVal val="1"/>
                                      </p:to>
                                    </p:set>
                                    <p:animEffect filter="image" prLst="opacity: 1">
                                      <p:cBhvr rctx="IE">
                                        <p:cTn id="317" dur="indefinite"/>
                                        <p:tgtEl>
                                          <p:spTgt spid="162"/>
                                        </p:tgtEl>
                                      </p:cBhvr>
                                    </p:animEffect>
                                  </p:childTnLst>
                                </p:cTn>
                              </p:par>
                              <p:par>
                                <p:cTn id="318" presetID="9" presetClass="emph" presetSubtype="0" grpId="2" nodeType="withEffect">
                                  <p:stCondLst>
                                    <p:cond delay="0"/>
                                  </p:stCondLst>
                                  <p:childTnLst>
                                    <p:set>
                                      <p:cBhvr>
                                        <p:cTn id="319" dur="indefinite"/>
                                        <p:tgtEl>
                                          <p:spTgt spid="163"/>
                                        </p:tgtEl>
                                        <p:attrNameLst>
                                          <p:attrName>style.opacity</p:attrName>
                                        </p:attrNameLst>
                                      </p:cBhvr>
                                      <p:to>
                                        <p:strVal val="1"/>
                                      </p:to>
                                    </p:set>
                                    <p:animEffect filter="image" prLst="opacity: 1">
                                      <p:cBhvr rctx="IE">
                                        <p:cTn id="320" dur="indefinite"/>
                                        <p:tgtEl>
                                          <p:spTgt spid="163"/>
                                        </p:tgtEl>
                                      </p:cBhvr>
                                    </p:animEffect>
                                  </p:childTnLst>
                                </p:cTn>
                              </p:par>
                              <p:par>
                                <p:cTn id="321" presetID="9" presetClass="emph" presetSubtype="0" grpId="2" nodeType="withEffect">
                                  <p:stCondLst>
                                    <p:cond delay="0"/>
                                  </p:stCondLst>
                                  <p:childTnLst>
                                    <p:set>
                                      <p:cBhvr>
                                        <p:cTn id="322" dur="indefinite"/>
                                        <p:tgtEl>
                                          <p:spTgt spid="165"/>
                                        </p:tgtEl>
                                        <p:attrNameLst>
                                          <p:attrName>style.opacity</p:attrName>
                                        </p:attrNameLst>
                                      </p:cBhvr>
                                      <p:to>
                                        <p:strVal val="1"/>
                                      </p:to>
                                    </p:set>
                                    <p:animEffect filter="image" prLst="opacity: 1">
                                      <p:cBhvr rctx="IE">
                                        <p:cTn id="323" dur="indefinite"/>
                                        <p:tgtEl>
                                          <p:spTgt spid="165"/>
                                        </p:tgtEl>
                                      </p:cBhvr>
                                    </p:animEffect>
                                  </p:childTnLst>
                                </p:cTn>
                              </p:par>
                              <p:par>
                                <p:cTn id="324" presetID="9" presetClass="emph" presetSubtype="0" grpId="2" nodeType="withEffect">
                                  <p:stCondLst>
                                    <p:cond delay="0"/>
                                  </p:stCondLst>
                                  <p:childTnLst>
                                    <p:set>
                                      <p:cBhvr>
                                        <p:cTn id="325" dur="indefinite"/>
                                        <p:tgtEl>
                                          <p:spTgt spid="166"/>
                                        </p:tgtEl>
                                        <p:attrNameLst>
                                          <p:attrName>style.opacity</p:attrName>
                                        </p:attrNameLst>
                                      </p:cBhvr>
                                      <p:to>
                                        <p:strVal val="1"/>
                                      </p:to>
                                    </p:set>
                                    <p:animEffect filter="image" prLst="opacity: 1">
                                      <p:cBhvr rctx="IE">
                                        <p:cTn id="326" dur="indefinite"/>
                                        <p:tgtEl>
                                          <p:spTgt spid="166"/>
                                        </p:tgtEl>
                                      </p:cBhvr>
                                    </p:animEffect>
                                  </p:childTnLst>
                                </p:cTn>
                              </p:par>
                              <p:par>
                                <p:cTn id="327" presetID="9" presetClass="emph" presetSubtype="0" grpId="2" nodeType="withEffect">
                                  <p:stCondLst>
                                    <p:cond delay="0"/>
                                  </p:stCondLst>
                                  <p:childTnLst>
                                    <p:set>
                                      <p:cBhvr>
                                        <p:cTn id="328" dur="indefinite"/>
                                        <p:tgtEl>
                                          <p:spTgt spid="167"/>
                                        </p:tgtEl>
                                        <p:attrNameLst>
                                          <p:attrName>style.opacity</p:attrName>
                                        </p:attrNameLst>
                                      </p:cBhvr>
                                      <p:to>
                                        <p:strVal val="1"/>
                                      </p:to>
                                    </p:set>
                                    <p:animEffect filter="image" prLst="opacity: 1">
                                      <p:cBhvr rctx="IE">
                                        <p:cTn id="329" dur="indefinite"/>
                                        <p:tgtEl>
                                          <p:spTgt spid="167"/>
                                        </p:tgtEl>
                                      </p:cBhvr>
                                    </p:animEffect>
                                  </p:childTnLst>
                                </p:cTn>
                              </p:par>
                              <p:par>
                                <p:cTn id="330" presetID="9" presetClass="emph" presetSubtype="0" grpId="2" nodeType="withEffect">
                                  <p:stCondLst>
                                    <p:cond delay="0"/>
                                  </p:stCondLst>
                                  <p:childTnLst>
                                    <p:set>
                                      <p:cBhvr>
                                        <p:cTn id="331" dur="indefinite"/>
                                        <p:tgtEl>
                                          <p:spTgt spid="168"/>
                                        </p:tgtEl>
                                        <p:attrNameLst>
                                          <p:attrName>style.opacity</p:attrName>
                                        </p:attrNameLst>
                                      </p:cBhvr>
                                      <p:to>
                                        <p:strVal val="1"/>
                                      </p:to>
                                    </p:set>
                                    <p:animEffect filter="image" prLst="opacity: 1">
                                      <p:cBhvr rctx="IE">
                                        <p:cTn id="332" dur="indefinite"/>
                                        <p:tgtEl>
                                          <p:spTgt spid="168"/>
                                        </p:tgtEl>
                                      </p:cBhvr>
                                    </p:animEffect>
                                  </p:childTnLst>
                                </p:cTn>
                              </p:par>
                              <p:par>
                                <p:cTn id="333" presetID="9" presetClass="emph" presetSubtype="0" grpId="2" nodeType="withEffect">
                                  <p:stCondLst>
                                    <p:cond delay="0"/>
                                  </p:stCondLst>
                                  <p:childTnLst>
                                    <p:set>
                                      <p:cBhvr>
                                        <p:cTn id="334" dur="indefinite"/>
                                        <p:tgtEl>
                                          <p:spTgt spid="8">
                                            <p:txEl>
                                              <p:pRg st="0" end="0"/>
                                            </p:txEl>
                                          </p:spTgt>
                                        </p:tgtEl>
                                        <p:attrNameLst>
                                          <p:attrName>style.opacity</p:attrName>
                                        </p:attrNameLst>
                                      </p:cBhvr>
                                      <p:to>
                                        <p:strVal val="1"/>
                                      </p:to>
                                    </p:set>
                                    <p:animEffect filter="image" prLst="opacity: 1">
                                      <p:cBhvr rctx="IE">
                                        <p:cTn id="335" dur="indefinite"/>
                                        <p:tgtEl>
                                          <p:spTgt spid="8">
                                            <p:txEl>
                                              <p:pRg st="0" end="0"/>
                                            </p:txEl>
                                          </p:spTgt>
                                        </p:tgtEl>
                                      </p:cBhvr>
                                    </p:animEffect>
                                  </p:childTnLst>
                                </p:cTn>
                              </p:par>
                              <p:par>
                                <p:cTn id="336" presetID="9" presetClass="emph" presetSubtype="0" grpId="2" nodeType="withEffect">
                                  <p:stCondLst>
                                    <p:cond delay="0"/>
                                  </p:stCondLst>
                                  <p:childTnLst>
                                    <p:set>
                                      <p:cBhvr>
                                        <p:cTn id="337" dur="indefinite"/>
                                        <p:tgtEl>
                                          <p:spTgt spid="9">
                                            <p:txEl>
                                              <p:pRg st="0" end="0"/>
                                            </p:txEl>
                                          </p:spTgt>
                                        </p:tgtEl>
                                        <p:attrNameLst>
                                          <p:attrName>style.opacity</p:attrName>
                                        </p:attrNameLst>
                                      </p:cBhvr>
                                      <p:to>
                                        <p:strVal val="1"/>
                                      </p:to>
                                    </p:set>
                                    <p:animEffect filter="image" prLst="opacity: 1">
                                      <p:cBhvr rctx="IE">
                                        <p:cTn id="338" dur="indefinite"/>
                                        <p:tgtEl>
                                          <p:spTgt spid="9">
                                            <p:txEl>
                                              <p:pRg st="0" end="0"/>
                                            </p:txEl>
                                          </p:spTgt>
                                        </p:tgtEl>
                                      </p:cBhvr>
                                    </p:animEffect>
                                  </p:childTnLst>
                                </p:cTn>
                              </p:par>
                              <p:par>
                                <p:cTn id="339" presetID="9" presetClass="emph" presetSubtype="0" grpId="2" nodeType="withEffect">
                                  <p:stCondLst>
                                    <p:cond delay="0"/>
                                  </p:stCondLst>
                                  <p:childTnLst>
                                    <p:set>
                                      <p:cBhvr>
                                        <p:cTn id="340" dur="indefinite"/>
                                        <p:tgtEl>
                                          <p:spTgt spid="10">
                                            <p:txEl>
                                              <p:pRg st="0" end="0"/>
                                            </p:txEl>
                                          </p:spTgt>
                                        </p:tgtEl>
                                        <p:attrNameLst>
                                          <p:attrName>style.opacity</p:attrName>
                                        </p:attrNameLst>
                                      </p:cBhvr>
                                      <p:to>
                                        <p:strVal val="1"/>
                                      </p:to>
                                    </p:set>
                                    <p:animEffect filter="image" prLst="opacity: 1">
                                      <p:cBhvr rctx="IE">
                                        <p:cTn id="341" dur="indefinite"/>
                                        <p:tgtEl>
                                          <p:spTgt spid="10">
                                            <p:txEl>
                                              <p:pRg st="0" end="0"/>
                                            </p:txEl>
                                          </p:spTgt>
                                        </p:tgtEl>
                                      </p:cBhvr>
                                    </p:animEffect>
                                  </p:childTnLst>
                                </p:cTn>
                              </p:par>
                              <p:par>
                                <p:cTn id="342" presetID="9" presetClass="emph" presetSubtype="0" grpId="2" nodeType="withEffect">
                                  <p:stCondLst>
                                    <p:cond delay="0"/>
                                  </p:stCondLst>
                                  <p:childTnLst>
                                    <p:set>
                                      <p:cBhvr>
                                        <p:cTn id="343" dur="indefinite"/>
                                        <p:tgtEl>
                                          <p:spTgt spid="11">
                                            <p:txEl>
                                              <p:pRg st="0" end="0"/>
                                            </p:txEl>
                                          </p:spTgt>
                                        </p:tgtEl>
                                        <p:attrNameLst>
                                          <p:attrName>style.opacity</p:attrName>
                                        </p:attrNameLst>
                                      </p:cBhvr>
                                      <p:to>
                                        <p:strVal val="1"/>
                                      </p:to>
                                    </p:set>
                                    <p:animEffect filter="image" prLst="opacity: 1">
                                      <p:cBhvr rctx="IE">
                                        <p:cTn id="344" dur="indefinite"/>
                                        <p:tgtEl>
                                          <p:spTgt spid="11">
                                            <p:txEl>
                                              <p:pRg st="0" end="0"/>
                                            </p:txEl>
                                          </p:spTgt>
                                        </p:tgtEl>
                                      </p:cBhvr>
                                    </p:animEffect>
                                  </p:childTnLst>
                                </p:cTn>
                              </p:par>
                              <p:par>
                                <p:cTn id="345" presetID="9" presetClass="emph" presetSubtype="0" grpId="2" nodeType="withEffect">
                                  <p:stCondLst>
                                    <p:cond delay="0"/>
                                  </p:stCondLst>
                                  <p:childTnLst>
                                    <p:set>
                                      <p:cBhvr>
                                        <p:cTn id="346" dur="indefinite"/>
                                        <p:tgtEl>
                                          <p:spTgt spid="4">
                                            <p:txEl>
                                              <p:pRg st="0" end="0"/>
                                            </p:txEl>
                                          </p:spTgt>
                                        </p:tgtEl>
                                        <p:attrNameLst>
                                          <p:attrName>style.opacity</p:attrName>
                                        </p:attrNameLst>
                                      </p:cBhvr>
                                      <p:to>
                                        <p:strVal val="1"/>
                                      </p:to>
                                    </p:set>
                                    <p:animEffect filter="image" prLst="opacity: 1">
                                      <p:cBhvr rctx="IE">
                                        <p:cTn id="347" dur="indefinite"/>
                                        <p:tgtEl>
                                          <p:spTgt spid="4">
                                            <p:txEl>
                                              <p:pRg st="0" end="0"/>
                                            </p:txEl>
                                          </p:spTgt>
                                        </p:tgtEl>
                                      </p:cBhvr>
                                    </p:animEffect>
                                  </p:childTnLst>
                                </p:cTn>
                              </p:par>
                              <p:par>
                                <p:cTn id="348" presetID="9" presetClass="emph" presetSubtype="0" grpId="2" nodeType="withEffect">
                                  <p:stCondLst>
                                    <p:cond delay="0"/>
                                  </p:stCondLst>
                                  <p:childTnLst>
                                    <p:set>
                                      <p:cBhvr>
                                        <p:cTn id="349" dur="indefinite"/>
                                        <p:tgtEl>
                                          <p:spTgt spid="5">
                                            <p:txEl>
                                              <p:pRg st="0" end="0"/>
                                            </p:txEl>
                                          </p:spTgt>
                                        </p:tgtEl>
                                        <p:attrNameLst>
                                          <p:attrName>style.opacity</p:attrName>
                                        </p:attrNameLst>
                                      </p:cBhvr>
                                      <p:to>
                                        <p:strVal val="1"/>
                                      </p:to>
                                    </p:set>
                                    <p:animEffect filter="image" prLst="opacity: 1">
                                      <p:cBhvr rctx="IE">
                                        <p:cTn id="350" dur="indefinite"/>
                                        <p:tgtEl>
                                          <p:spTgt spid="5">
                                            <p:txEl>
                                              <p:pRg st="0" end="0"/>
                                            </p:txEl>
                                          </p:spTgt>
                                        </p:tgtEl>
                                      </p:cBhvr>
                                    </p:animEffect>
                                  </p:childTnLst>
                                </p:cTn>
                              </p:par>
                              <p:par>
                                <p:cTn id="351" presetID="9" presetClass="emph" presetSubtype="0" grpId="2" nodeType="withEffect">
                                  <p:stCondLst>
                                    <p:cond delay="0"/>
                                  </p:stCondLst>
                                  <p:childTnLst>
                                    <p:set>
                                      <p:cBhvr>
                                        <p:cTn id="352" dur="indefinite"/>
                                        <p:tgtEl>
                                          <p:spTgt spid="6">
                                            <p:txEl>
                                              <p:pRg st="0" end="0"/>
                                            </p:txEl>
                                          </p:spTgt>
                                        </p:tgtEl>
                                        <p:attrNameLst>
                                          <p:attrName>style.opacity</p:attrName>
                                        </p:attrNameLst>
                                      </p:cBhvr>
                                      <p:to>
                                        <p:strVal val="1"/>
                                      </p:to>
                                    </p:set>
                                    <p:animEffect filter="image" prLst="opacity: 1">
                                      <p:cBhvr rctx="IE">
                                        <p:cTn id="353" dur="indefinite"/>
                                        <p:tgtEl>
                                          <p:spTgt spid="6">
                                            <p:txEl>
                                              <p:pRg st="0" end="0"/>
                                            </p:txEl>
                                          </p:spTgt>
                                        </p:tgtEl>
                                      </p:cBhvr>
                                    </p:animEffect>
                                  </p:childTnLst>
                                </p:cTn>
                              </p:par>
                              <p:par>
                                <p:cTn id="354" presetID="9" presetClass="emph" presetSubtype="0" grpId="2" nodeType="withEffect">
                                  <p:stCondLst>
                                    <p:cond delay="0"/>
                                  </p:stCondLst>
                                  <p:childTnLst>
                                    <p:set>
                                      <p:cBhvr>
                                        <p:cTn id="355" dur="indefinite"/>
                                        <p:tgtEl>
                                          <p:spTgt spid="7">
                                            <p:txEl>
                                              <p:pRg st="0" end="0"/>
                                            </p:txEl>
                                          </p:spTgt>
                                        </p:tgtEl>
                                        <p:attrNameLst>
                                          <p:attrName>style.opacity</p:attrName>
                                        </p:attrNameLst>
                                      </p:cBhvr>
                                      <p:to>
                                        <p:strVal val="1"/>
                                      </p:to>
                                    </p:set>
                                    <p:animEffect filter="image" prLst="opacity: 1">
                                      <p:cBhvr rctx="IE">
                                        <p:cTn id="356" dur="indefinite"/>
                                        <p:tgtEl>
                                          <p:spTgt spid="7">
                                            <p:txEl>
                                              <p:pRg st="0" end="0"/>
                                            </p:txEl>
                                          </p:spTgt>
                                        </p:tgtEl>
                                      </p:cBhvr>
                                    </p:animEffect>
                                  </p:childTnLst>
                                </p:cTn>
                              </p:par>
                              <p:par>
                                <p:cTn id="357" presetID="9" presetClass="emph" presetSubtype="0" grpId="2" nodeType="withEffect">
                                  <p:stCondLst>
                                    <p:cond delay="0"/>
                                  </p:stCondLst>
                                  <p:childTnLst>
                                    <p:set>
                                      <p:cBhvr>
                                        <p:cTn id="358" dur="indefinite"/>
                                        <p:tgtEl>
                                          <p:spTgt spid="14"/>
                                        </p:tgtEl>
                                        <p:attrNameLst>
                                          <p:attrName>style.opacity</p:attrName>
                                        </p:attrNameLst>
                                      </p:cBhvr>
                                      <p:to>
                                        <p:strVal val="1"/>
                                      </p:to>
                                    </p:set>
                                    <p:animEffect filter="image" prLst="opacity: 1">
                                      <p:cBhvr rctx="IE">
                                        <p:cTn id="359" dur="indefinite"/>
                                        <p:tgtEl>
                                          <p:spTgt spid="14"/>
                                        </p:tgtEl>
                                      </p:cBhvr>
                                    </p:animEffect>
                                  </p:childTnLst>
                                </p:cTn>
                              </p:par>
                              <p:par>
                                <p:cTn id="360" presetID="9" presetClass="emph" presetSubtype="0" grpId="2" nodeType="withEffect">
                                  <p:stCondLst>
                                    <p:cond delay="0"/>
                                  </p:stCondLst>
                                  <p:childTnLst>
                                    <p:set>
                                      <p:cBhvr>
                                        <p:cTn id="361" dur="indefinite"/>
                                        <p:tgtEl>
                                          <p:spTgt spid="15"/>
                                        </p:tgtEl>
                                        <p:attrNameLst>
                                          <p:attrName>style.opacity</p:attrName>
                                        </p:attrNameLst>
                                      </p:cBhvr>
                                      <p:to>
                                        <p:strVal val="1"/>
                                      </p:to>
                                    </p:set>
                                    <p:animEffect filter="image" prLst="opacity: 1">
                                      <p:cBhvr rctx="IE">
                                        <p:cTn id="362" dur="indefinite"/>
                                        <p:tgtEl>
                                          <p:spTgt spid="15"/>
                                        </p:tgtEl>
                                      </p:cBhvr>
                                    </p:animEffect>
                                  </p:childTnLst>
                                </p:cTn>
                              </p:par>
                              <p:par>
                                <p:cTn id="363" presetID="9" presetClass="emph" presetSubtype="0" grpId="2" nodeType="withEffect">
                                  <p:stCondLst>
                                    <p:cond delay="0"/>
                                  </p:stCondLst>
                                  <p:childTnLst>
                                    <p:set>
                                      <p:cBhvr>
                                        <p:cTn id="364" dur="indefinite"/>
                                        <p:tgtEl>
                                          <p:spTgt spid="16"/>
                                        </p:tgtEl>
                                        <p:attrNameLst>
                                          <p:attrName>style.opacity</p:attrName>
                                        </p:attrNameLst>
                                      </p:cBhvr>
                                      <p:to>
                                        <p:strVal val="1"/>
                                      </p:to>
                                    </p:set>
                                    <p:animEffect filter="image" prLst="opacity: 1">
                                      <p:cBhvr rctx="IE">
                                        <p:cTn id="365" dur="indefinite"/>
                                        <p:tgtEl>
                                          <p:spTgt spid="16"/>
                                        </p:tgtEl>
                                      </p:cBhvr>
                                    </p:animEffect>
                                  </p:childTnLst>
                                </p:cTn>
                              </p:par>
                              <p:par>
                                <p:cTn id="366" presetID="9" presetClass="emph" presetSubtype="0" grpId="2" nodeType="withEffect">
                                  <p:stCondLst>
                                    <p:cond delay="0"/>
                                  </p:stCondLst>
                                  <p:childTnLst>
                                    <p:set>
                                      <p:cBhvr>
                                        <p:cTn id="367" dur="indefinite"/>
                                        <p:tgtEl>
                                          <p:spTgt spid="18"/>
                                        </p:tgtEl>
                                        <p:attrNameLst>
                                          <p:attrName>style.opacity</p:attrName>
                                        </p:attrNameLst>
                                      </p:cBhvr>
                                      <p:to>
                                        <p:strVal val="1"/>
                                      </p:to>
                                    </p:set>
                                    <p:animEffect filter="image" prLst="opacity: 1">
                                      <p:cBhvr rctx="IE">
                                        <p:cTn id="368" dur="indefinite"/>
                                        <p:tgtEl>
                                          <p:spTgt spid="18"/>
                                        </p:tgtEl>
                                      </p:cBhvr>
                                    </p:animEffect>
                                  </p:childTnLst>
                                </p:cTn>
                              </p:par>
                              <p:par>
                                <p:cTn id="369" presetID="9" presetClass="emph" presetSubtype="0" grpId="2" nodeType="withEffect">
                                  <p:stCondLst>
                                    <p:cond delay="0"/>
                                  </p:stCondLst>
                                  <p:childTnLst>
                                    <p:set>
                                      <p:cBhvr>
                                        <p:cTn id="370" dur="indefinite"/>
                                        <p:tgtEl>
                                          <p:spTgt spid="19"/>
                                        </p:tgtEl>
                                        <p:attrNameLst>
                                          <p:attrName>style.opacity</p:attrName>
                                        </p:attrNameLst>
                                      </p:cBhvr>
                                      <p:to>
                                        <p:strVal val="1"/>
                                      </p:to>
                                    </p:set>
                                    <p:animEffect filter="image" prLst="opacity: 1">
                                      <p:cBhvr rctx="IE">
                                        <p:cTn id="371" dur="indefinite"/>
                                        <p:tgtEl>
                                          <p:spTgt spid="19"/>
                                        </p:tgtEl>
                                      </p:cBhvr>
                                    </p:animEffect>
                                  </p:childTnLst>
                                </p:cTn>
                              </p:par>
                              <p:par>
                                <p:cTn id="372" presetID="9" presetClass="emph" presetSubtype="0" grpId="2" nodeType="withEffect">
                                  <p:stCondLst>
                                    <p:cond delay="0"/>
                                  </p:stCondLst>
                                  <p:childTnLst>
                                    <p:set>
                                      <p:cBhvr>
                                        <p:cTn id="373" dur="indefinite"/>
                                        <p:tgtEl>
                                          <p:spTgt spid="20"/>
                                        </p:tgtEl>
                                        <p:attrNameLst>
                                          <p:attrName>style.opacity</p:attrName>
                                        </p:attrNameLst>
                                      </p:cBhvr>
                                      <p:to>
                                        <p:strVal val="1"/>
                                      </p:to>
                                    </p:set>
                                    <p:animEffect filter="image" prLst="opacity: 1">
                                      <p:cBhvr rctx="IE">
                                        <p:cTn id="374" dur="indefinite"/>
                                        <p:tgtEl>
                                          <p:spTgt spid="20"/>
                                        </p:tgtEl>
                                      </p:cBhvr>
                                    </p:animEffect>
                                  </p:childTnLst>
                                </p:cTn>
                              </p:par>
                              <p:par>
                                <p:cTn id="375" presetID="9" presetClass="emph" presetSubtype="0" grpId="2" nodeType="withEffect">
                                  <p:stCondLst>
                                    <p:cond delay="0"/>
                                  </p:stCondLst>
                                  <p:childTnLst>
                                    <p:set>
                                      <p:cBhvr>
                                        <p:cTn id="376" dur="indefinite"/>
                                        <p:tgtEl>
                                          <p:spTgt spid="21"/>
                                        </p:tgtEl>
                                        <p:attrNameLst>
                                          <p:attrName>style.opacity</p:attrName>
                                        </p:attrNameLst>
                                      </p:cBhvr>
                                      <p:to>
                                        <p:strVal val="1"/>
                                      </p:to>
                                    </p:set>
                                    <p:animEffect filter="image" prLst="opacity: 1">
                                      <p:cBhvr rctx="IE">
                                        <p:cTn id="377" dur="indefinite"/>
                                        <p:tgtEl>
                                          <p:spTgt spid="21"/>
                                        </p:tgtEl>
                                      </p:cBhvr>
                                    </p:animEffect>
                                  </p:childTnLst>
                                </p:cTn>
                              </p:par>
                              <p:par>
                                <p:cTn id="378" presetID="9" presetClass="emph" presetSubtype="0" grpId="2" nodeType="withEffect">
                                  <p:stCondLst>
                                    <p:cond delay="0"/>
                                  </p:stCondLst>
                                  <p:childTnLst>
                                    <p:set>
                                      <p:cBhvr>
                                        <p:cTn id="379" dur="indefinite"/>
                                        <p:tgtEl>
                                          <p:spTgt spid="23"/>
                                        </p:tgtEl>
                                        <p:attrNameLst>
                                          <p:attrName>style.opacity</p:attrName>
                                        </p:attrNameLst>
                                      </p:cBhvr>
                                      <p:to>
                                        <p:strVal val="1"/>
                                      </p:to>
                                    </p:set>
                                    <p:animEffect filter="image" prLst="opacity: 1">
                                      <p:cBhvr rctx="IE">
                                        <p:cTn id="380" dur="indefinite"/>
                                        <p:tgtEl>
                                          <p:spTgt spid="23"/>
                                        </p:tgtEl>
                                      </p:cBhvr>
                                    </p:animEffect>
                                  </p:childTnLst>
                                </p:cTn>
                              </p:par>
                              <p:par>
                                <p:cTn id="381" presetID="9" presetClass="emph" presetSubtype="0" grpId="2" nodeType="withEffect">
                                  <p:stCondLst>
                                    <p:cond delay="0"/>
                                  </p:stCondLst>
                                  <p:childTnLst>
                                    <p:set>
                                      <p:cBhvr>
                                        <p:cTn id="382" dur="indefinite"/>
                                        <p:tgtEl>
                                          <p:spTgt spid="24">
                                            <p:txEl>
                                              <p:pRg st="0" end="0"/>
                                            </p:txEl>
                                          </p:spTgt>
                                        </p:tgtEl>
                                        <p:attrNameLst>
                                          <p:attrName>style.opacity</p:attrName>
                                        </p:attrNameLst>
                                      </p:cBhvr>
                                      <p:to>
                                        <p:strVal val="1"/>
                                      </p:to>
                                    </p:set>
                                    <p:animEffect filter="image" prLst="opacity: 1">
                                      <p:cBhvr rctx="IE">
                                        <p:cTn id="383" dur="indefinite"/>
                                        <p:tgtEl>
                                          <p:spTgt spid="24">
                                            <p:txEl>
                                              <p:pRg st="0" end="0"/>
                                            </p:txEl>
                                          </p:spTgt>
                                        </p:tgtEl>
                                      </p:cBhvr>
                                    </p:animEffect>
                                  </p:childTnLst>
                                </p:cTn>
                              </p:par>
                              <p:par>
                                <p:cTn id="384" presetID="9" presetClass="emph" presetSubtype="0" grpId="2" nodeType="withEffect">
                                  <p:stCondLst>
                                    <p:cond delay="0"/>
                                  </p:stCondLst>
                                  <p:childTnLst>
                                    <p:set>
                                      <p:cBhvr>
                                        <p:cTn id="385" dur="indefinite"/>
                                        <p:tgtEl>
                                          <p:spTgt spid="25">
                                            <p:txEl>
                                              <p:pRg st="0" end="0"/>
                                            </p:txEl>
                                          </p:spTgt>
                                        </p:tgtEl>
                                        <p:attrNameLst>
                                          <p:attrName>style.opacity</p:attrName>
                                        </p:attrNameLst>
                                      </p:cBhvr>
                                      <p:to>
                                        <p:strVal val="1"/>
                                      </p:to>
                                    </p:set>
                                    <p:animEffect filter="image" prLst="opacity: 1">
                                      <p:cBhvr rctx="IE">
                                        <p:cTn id="386" dur="indefinite"/>
                                        <p:tgtEl>
                                          <p:spTgt spid="25">
                                            <p:txEl>
                                              <p:pRg st="0" end="0"/>
                                            </p:txEl>
                                          </p:spTgt>
                                        </p:tgtEl>
                                      </p:cBhvr>
                                    </p:animEffect>
                                  </p:childTnLst>
                                </p:cTn>
                              </p:par>
                              <p:par>
                                <p:cTn id="387" presetID="9" presetClass="emph" presetSubtype="0" grpId="2" nodeType="withEffect">
                                  <p:stCondLst>
                                    <p:cond delay="0"/>
                                  </p:stCondLst>
                                  <p:childTnLst>
                                    <p:set>
                                      <p:cBhvr>
                                        <p:cTn id="388" dur="indefinite"/>
                                        <p:tgtEl>
                                          <p:spTgt spid="26">
                                            <p:txEl>
                                              <p:pRg st="0" end="0"/>
                                            </p:txEl>
                                          </p:spTgt>
                                        </p:tgtEl>
                                        <p:attrNameLst>
                                          <p:attrName>style.opacity</p:attrName>
                                        </p:attrNameLst>
                                      </p:cBhvr>
                                      <p:to>
                                        <p:strVal val="1"/>
                                      </p:to>
                                    </p:set>
                                    <p:animEffect filter="image" prLst="opacity: 1">
                                      <p:cBhvr rctx="IE">
                                        <p:cTn id="389" dur="indefinite"/>
                                        <p:tgtEl>
                                          <p:spTgt spid="26">
                                            <p:txEl>
                                              <p:pRg st="0" end="0"/>
                                            </p:txEl>
                                          </p:spTgt>
                                        </p:tgtEl>
                                      </p:cBhvr>
                                    </p:animEffect>
                                  </p:childTnLst>
                                </p:cTn>
                              </p:par>
                              <p:par>
                                <p:cTn id="390" presetID="9" presetClass="emph" presetSubtype="0" grpId="2" nodeType="withEffect">
                                  <p:stCondLst>
                                    <p:cond delay="0"/>
                                  </p:stCondLst>
                                  <p:childTnLst>
                                    <p:set>
                                      <p:cBhvr>
                                        <p:cTn id="391" dur="indefinite"/>
                                        <p:tgtEl>
                                          <p:spTgt spid="27">
                                            <p:txEl>
                                              <p:pRg st="0" end="0"/>
                                            </p:txEl>
                                          </p:spTgt>
                                        </p:tgtEl>
                                        <p:attrNameLst>
                                          <p:attrName>style.opacity</p:attrName>
                                        </p:attrNameLst>
                                      </p:cBhvr>
                                      <p:to>
                                        <p:strVal val="1"/>
                                      </p:to>
                                    </p:set>
                                    <p:animEffect filter="image" prLst="opacity: 1">
                                      <p:cBhvr rctx="IE">
                                        <p:cTn id="392" dur="indefinite"/>
                                        <p:tgtEl>
                                          <p:spTgt spid="27">
                                            <p:txEl>
                                              <p:pRg st="0" end="0"/>
                                            </p:txEl>
                                          </p:spTgt>
                                        </p:tgtEl>
                                      </p:cBhvr>
                                    </p:animEffect>
                                  </p:childTnLst>
                                </p:cTn>
                              </p:par>
                              <p:par>
                                <p:cTn id="393" presetID="9" presetClass="emph" presetSubtype="0" nodeType="withEffect">
                                  <p:stCondLst>
                                    <p:cond delay="0"/>
                                  </p:stCondLst>
                                  <p:childTnLst>
                                    <p:set>
                                      <p:cBhvr>
                                        <p:cTn id="394" dur="indefinite"/>
                                        <p:tgtEl>
                                          <p:spTgt spid="121"/>
                                        </p:tgtEl>
                                        <p:attrNameLst>
                                          <p:attrName>style.opacity</p:attrName>
                                        </p:attrNameLst>
                                      </p:cBhvr>
                                      <p:to>
                                        <p:strVal val="1"/>
                                      </p:to>
                                    </p:set>
                                    <p:animEffect filter="image" prLst="opacity: 1">
                                      <p:cBhvr rctx="IE">
                                        <p:cTn id="395" dur="indefinite"/>
                                        <p:tgtEl>
                                          <p:spTgt spid="121"/>
                                        </p:tgtEl>
                                      </p:cBhvr>
                                    </p:animEffect>
                                  </p:childTnLst>
                                </p:cTn>
                              </p:par>
                              <p:par>
                                <p:cTn id="396" presetID="9" presetClass="emph" presetSubtype="0" nodeType="withEffect">
                                  <p:stCondLst>
                                    <p:cond delay="0"/>
                                  </p:stCondLst>
                                  <p:childTnLst>
                                    <p:set>
                                      <p:cBhvr>
                                        <p:cTn id="397" dur="indefinite"/>
                                        <p:tgtEl>
                                          <p:spTgt spid="142"/>
                                        </p:tgtEl>
                                        <p:attrNameLst>
                                          <p:attrName>style.opacity</p:attrName>
                                        </p:attrNameLst>
                                      </p:cBhvr>
                                      <p:to>
                                        <p:strVal val="1"/>
                                      </p:to>
                                    </p:set>
                                    <p:animEffect filter="image" prLst="opacity: 1">
                                      <p:cBhvr rctx="IE">
                                        <p:cTn id="398" dur="indefinite"/>
                                        <p:tgtEl>
                                          <p:spTgt spid="142"/>
                                        </p:tgtEl>
                                      </p:cBhvr>
                                    </p:animEffect>
                                  </p:childTnLst>
                                </p:cTn>
                              </p:par>
                              <p:par>
                                <p:cTn id="399" presetID="9" presetClass="emph" presetSubtype="0" nodeType="withEffect">
                                  <p:stCondLst>
                                    <p:cond delay="0"/>
                                  </p:stCondLst>
                                  <p:childTnLst>
                                    <p:set>
                                      <p:cBhvr>
                                        <p:cTn id="400" dur="indefinite"/>
                                        <p:tgtEl>
                                          <p:spTgt spid="205"/>
                                        </p:tgtEl>
                                        <p:attrNameLst>
                                          <p:attrName>style.opacity</p:attrName>
                                        </p:attrNameLst>
                                      </p:cBhvr>
                                      <p:to>
                                        <p:strVal val="1"/>
                                      </p:to>
                                    </p:set>
                                    <p:animEffect filter="image" prLst="opacity: 1">
                                      <p:cBhvr rctx="IE">
                                        <p:cTn id="401" dur="indefinite"/>
                                        <p:tgtEl>
                                          <p:spTgt spid="205"/>
                                        </p:tgtEl>
                                      </p:cBhvr>
                                    </p:animEffect>
                                  </p:childTnLst>
                                </p:cTn>
                              </p:par>
                              <p:par>
                                <p:cTn id="402" presetID="9" presetClass="emph" presetSubtype="0" nodeType="withEffect">
                                  <p:stCondLst>
                                    <p:cond delay="0"/>
                                  </p:stCondLst>
                                  <p:childTnLst>
                                    <p:set>
                                      <p:cBhvr>
                                        <p:cTn id="403" dur="indefinite"/>
                                        <p:tgtEl>
                                          <p:spTgt spid="241"/>
                                        </p:tgtEl>
                                        <p:attrNameLst>
                                          <p:attrName>style.opacity</p:attrName>
                                        </p:attrNameLst>
                                      </p:cBhvr>
                                      <p:to>
                                        <p:strVal val="1"/>
                                      </p:to>
                                    </p:set>
                                    <p:animEffect filter="image" prLst="opacity: 1">
                                      <p:cBhvr rctx="IE">
                                        <p:cTn id="404" dur="indefinite"/>
                                        <p:tgtEl>
                                          <p:spTgt spid="2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0" grpId="1" animBg="1"/>
      <p:bldP spid="150" grpId="2" animBg="1"/>
      <p:bldP spid="151" grpId="0" animBg="1"/>
      <p:bldP spid="151" grpId="1" animBg="1"/>
      <p:bldP spid="151" grpId="2" animBg="1"/>
      <p:bldP spid="152" grpId="0" animBg="1"/>
      <p:bldP spid="152" grpId="1" animBg="1"/>
      <p:bldP spid="152" grpId="2" animBg="1"/>
      <p:bldP spid="153" grpId="0" animBg="1"/>
      <p:bldP spid="153" grpId="1" animBg="1"/>
      <p:bldP spid="153" grpId="2" animBg="1"/>
      <p:bldP spid="154" grpId="0" animBg="1"/>
      <p:bldP spid="160" grpId="0" animBg="1"/>
      <p:bldP spid="160" grpId="1" animBg="1"/>
      <p:bldP spid="160" grpId="2" animBg="1"/>
      <p:bldP spid="161" grpId="0" animBg="1"/>
      <p:bldP spid="161" grpId="1" animBg="1"/>
      <p:bldP spid="161" grpId="2" animBg="1"/>
      <p:bldP spid="162" grpId="0" animBg="1"/>
      <p:bldP spid="162" grpId="1" animBg="1"/>
      <p:bldP spid="162" grpId="2" animBg="1"/>
      <p:bldP spid="163" grpId="0" animBg="1"/>
      <p:bldP spid="163" grpId="1" animBg="1"/>
      <p:bldP spid="163" grpId="2" animBg="1"/>
      <p:bldP spid="164" grpId="0" animBg="1"/>
      <p:bldP spid="165" grpId="0" animBg="1"/>
      <p:bldP spid="165" grpId="1" animBg="1"/>
      <p:bldP spid="165" grpId="2" animBg="1"/>
      <p:bldP spid="166" grpId="0" animBg="1"/>
      <p:bldP spid="166" grpId="1" animBg="1"/>
      <p:bldP spid="166" grpId="2" animBg="1"/>
      <p:bldP spid="167" grpId="0" animBg="1"/>
      <p:bldP spid="167" grpId="1" animBg="1"/>
      <p:bldP spid="167" grpId="2" animBg="1"/>
      <p:bldP spid="168" grpId="0" animBg="1"/>
      <p:bldP spid="168" grpId="1" animBg="1"/>
      <p:bldP spid="168" grpId="2" animBg="1"/>
      <p:bldP spid="169" grpId="0" animBg="1"/>
      <p:bldP spid="8" grpId="0" build="p"/>
      <p:bldP spid="8" grpId="1" build="p"/>
      <p:bldP spid="8" grpId="2" build="p"/>
      <p:bldP spid="9" grpId="0" build="p"/>
      <p:bldP spid="9" grpId="1" build="p"/>
      <p:bldP spid="9" grpId="2" build="p"/>
      <p:bldP spid="10" grpId="0" build="p"/>
      <p:bldP spid="10" grpId="1" build="p"/>
      <p:bldP spid="10" grpId="2" build="p"/>
      <p:bldP spid="11" grpId="0" build="p"/>
      <p:bldP spid="11" grpId="1" build="p"/>
      <p:bldP spid="11" grpId="2" build="p"/>
      <p:bldP spid="12" grpId="0" build="p"/>
      <p:bldP spid="4" grpId="0" build="p"/>
      <p:bldP spid="4" grpId="1" build="p"/>
      <p:bldP spid="4" grpId="2" build="p"/>
      <p:bldP spid="5" grpId="0" build="p"/>
      <p:bldP spid="5" grpId="1" build="p"/>
      <p:bldP spid="5" grpId="2" build="p"/>
      <p:bldP spid="6" grpId="0" build="p"/>
      <p:bldP spid="6" grpId="1" build="p"/>
      <p:bldP spid="6" grpId="2" build="p"/>
      <p:bldP spid="7" grpId="0" build="p"/>
      <p:bldP spid="7" grpId="1" build="p"/>
      <p:bldP spid="7" grpId="2" build="p"/>
      <p:bldP spid="13" grpId="0" build="p"/>
      <p:bldP spid="14" grpId="0"/>
      <p:bldP spid="14" grpId="1"/>
      <p:bldP spid="14" grpId="2"/>
      <p:bldP spid="15" grpId="0"/>
      <p:bldP spid="15" grpId="1"/>
      <p:bldP spid="15" grpId="2"/>
      <p:bldP spid="16" grpId="0"/>
      <p:bldP spid="16" grpId="1"/>
      <p:bldP spid="16" grpId="2"/>
      <p:bldP spid="17" grpId="0"/>
      <p:bldP spid="18" grpId="0"/>
      <p:bldP spid="18" grpId="1"/>
      <p:bldP spid="18" grpId="2"/>
      <p:bldP spid="19" grpId="0"/>
      <p:bldP spid="19" grpId="1"/>
      <p:bldP spid="19" grpId="2"/>
      <p:bldP spid="20" grpId="0"/>
      <p:bldP spid="20" grpId="1"/>
      <p:bldP spid="20" grpId="2"/>
      <p:bldP spid="21" grpId="0"/>
      <p:bldP spid="21" grpId="1"/>
      <p:bldP spid="21" grpId="2"/>
      <p:bldP spid="22" grpId="0"/>
      <p:bldP spid="23" grpId="0"/>
      <p:bldP spid="23" grpId="1"/>
      <p:bldP spid="23"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24" name="Rectangle 123">
            <a:extLst>
              <a:ext uri="{FF2B5EF4-FFF2-40B4-BE49-F238E27FC236}">
                <a16:creationId xmlns:a16="http://schemas.microsoft.com/office/drawing/2014/main" id="{72167D39-879E-AF4B-9948-4A79737DD8EF}"/>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25" name="Rectangle 124">
            <a:extLst>
              <a:ext uri="{FF2B5EF4-FFF2-40B4-BE49-F238E27FC236}">
                <a16:creationId xmlns:a16="http://schemas.microsoft.com/office/drawing/2014/main" id="{8E0A4BB6-0FF1-5F49-8EB2-617AB9C8FA9C}"/>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3" name="Rectangle 162">
            <a:extLst>
              <a:ext uri="{FF2B5EF4-FFF2-40B4-BE49-F238E27FC236}">
                <a16:creationId xmlns:a16="http://schemas.microsoft.com/office/drawing/2014/main" id="{C32D9C9B-F0DB-3A46-85AD-59B6B54C3FC5}"/>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4" name="Rectangle 163">
            <a:extLst>
              <a:ext uri="{FF2B5EF4-FFF2-40B4-BE49-F238E27FC236}">
                <a16:creationId xmlns:a16="http://schemas.microsoft.com/office/drawing/2014/main" id="{C2AF3C42-4C40-C145-96A2-11628F7FDC66}"/>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C3C7815-FB4C-5242-80AE-21A69D66D3F1}"/>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8" name="Shape 770">
            <a:extLst>
              <a:ext uri="{FF2B5EF4-FFF2-40B4-BE49-F238E27FC236}">
                <a16:creationId xmlns:a16="http://schemas.microsoft.com/office/drawing/2014/main" id="{27C19805-C278-D245-8023-40FC97B516A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69" name="Shape 770">
            <a:extLst>
              <a:ext uri="{FF2B5EF4-FFF2-40B4-BE49-F238E27FC236}">
                <a16:creationId xmlns:a16="http://schemas.microsoft.com/office/drawing/2014/main" id="{4FC1EA20-16F5-8D4D-846C-00E2EC549ECF}"/>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F3E02D27-41F2-D942-856E-A1E05CB96964}"/>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8E117A2-BCAA-2044-8996-D46DEA554D07}"/>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BC94594C-AD66-9441-808B-40AC7C6EB99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0" name="Freeform: Shape 57">
            <a:extLst>
              <a:ext uri="{FF2B5EF4-FFF2-40B4-BE49-F238E27FC236}">
                <a16:creationId xmlns:a16="http://schemas.microsoft.com/office/drawing/2014/main" id="{21704B71-C352-9C45-A571-9DA0114F67F8}"/>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1" name="Freeform: Shape 56">
            <a:extLst>
              <a:ext uri="{FF2B5EF4-FFF2-40B4-BE49-F238E27FC236}">
                <a16:creationId xmlns:a16="http://schemas.microsoft.com/office/drawing/2014/main" id="{6388B124-F08D-DB4A-914C-A14FD4F27904}"/>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2" name="Freeform: Shape 55">
            <a:extLst>
              <a:ext uri="{FF2B5EF4-FFF2-40B4-BE49-F238E27FC236}">
                <a16:creationId xmlns:a16="http://schemas.microsoft.com/office/drawing/2014/main" id="{95D9A2B1-6DE4-554B-9776-B2B871260E58}"/>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4">
            <a:extLst>
              <a:ext uri="{FF2B5EF4-FFF2-40B4-BE49-F238E27FC236}">
                <a16:creationId xmlns:a16="http://schemas.microsoft.com/office/drawing/2014/main" id="{AE023985-F71E-FA44-B196-1FA3E7B23736}"/>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4" name="Freeform: Shape 53">
            <a:extLst>
              <a:ext uri="{FF2B5EF4-FFF2-40B4-BE49-F238E27FC236}">
                <a16:creationId xmlns:a16="http://schemas.microsoft.com/office/drawing/2014/main" id="{AFFAFEA6-AD02-3E42-8FCD-98BC74358589}"/>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 name="Text Placeholder 9">
            <a:extLst>
              <a:ext uri="{FF2B5EF4-FFF2-40B4-BE49-F238E27FC236}">
                <a16:creationId xmlns:a16="http://schemas.microsoft.com/office/drawing/2014/main" id="{722F4ACD-92CD-4FD2-B948-42868DDD829F}"/>
              </a:ext>
            </a:extLst>
          </p:cNvPr>
          <p:cNvSpPr>
            <a:spLocks noGrp="1"/>
          </p:cNvSpPr>
          <p:nvPr>
            <p:ph type="body" sz="quarter" idx="12"/>
          </p:nvPr>
        </p:nvSpPr>
        <p:spPr>
          <a:xfrm>
            <a:off x="394937" y="3530518"/>
            <a:ext cx="2000815" cy="738664"/>
          </a:xfrm>
          <a:noFill/>
          <a:ln>
            <a:noFill/>
          </a:ln>
        </p:spPr>
        <p:txBody>
          <a:bodyPr vert="horz" wrap="square" lIns="91440" tIns="45720" rIns="91440" bIns="45720" rtlCol="0" anchor="t" anchorCtr="0">
            <a:spAutoFit/>
          </a:bodyPr>
          <a:lstStyle/>
          <a:p>
            <a:r>
              <a:rPr lang="en-US" dirty="0">
                <a:sym typeface="Source Sans Pro"/>
              </a:rPr>
              <a:t>Intrusion detection</a:t>
            </a:r>
            <a:br>
              <a:rPr lang="en-US" dirty="0">
                <a:sym typeface="Source Sans Pro"/>
              </a:rPr>
            </a:br>
            <a:r>
              <a:rPr lang="en-US" dirty="0">
                <a:sym typeface="Source Sans Pro"/>
              </a:rPr>
              <a:t> and predictive analytics</a:t>
            </a:r>
          </a:p>
        </p:txBody>
      </p:sp>
      <p:sp>
        <p:nvSpPr>
          <p:cNvPr id="11" name="Text Placeholder 10">
            <a:extLst>
              <a:ext uri="{FF2B5EF4-FFF2-40B4-BE49-F238E27FC236}">
                <a16:creationId xmlns:a16="http://schemas.microsoft.com/office/drawing/2014/main" id="{9CEB15E7-23D7-4681-8F23-A7EF7C7645F5}"/>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dirty="0">
                <a:sym typeface="Source Sans Pro"/>
              </a:rPr>
              <a:t>Security </a:t>
            </a:r>
            <a:br>
              <a:rPr lang="en-US" dirty="0">
                <a:sym typeface="Source Sans Pro"/>
              </a:rPr>
            </a:br>
            <a:r>
              <a:rPr lang="en-US" dirty="0">
                <a:sym typeface="Source Sans Pro"/>
              </a:rPr>
              <a:t>intelligence </a:t>
            </a:r>
          </a:p>
        </p:txBody>
      </p:sp>
      <p:sp>
        <p:nvSpPr>
          <p:cNvPr id="12" name="Text Placeholder 11">
            <a:extLst>
              <a:ext uri="{FF2B5EF4-FFF2-40B4-BE49-F238E27FC236}">
                <a16:creationId xmlns:a16="http://schemas.microsoft.com/office/drawing/2014/main" id="{F4CC8662-DB35-465C-B335-A2EE6004FC62}"/>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dirty="0">
                <a:sym typeface="Source Sans Pro"/>
              </a:rPr>
              <a:t>Fraud detection </a:t>
            </a:r>
            <a:br>
              <a:rPr lang="en-US" dirty="0">
                <a:sym typeface="Source Sans Pro"/>
              </a:rPr>
            </a:br>
            <a:r>
              <a:rPr lang="en-US" dirty="0">
                <a:sym typeface="Source Sans Pro"/>
              </a:rPr>
              <a:t>and prevention</a:t>
            </a:r>
          </a:p>
        </p:txBody>
      </p:sp>
      <p:sp>
        <p:nvSpPr>
          <p:cNvPr id="13" name="Text Placeholder 12">
            <a:extLst>
              <a:ext uri="{FF2B5EF4-FFF2-40B4-BE49-F238E27FC236}">
                <a16:creationId xmlns:a16="http://schemas.microsoft.com/office/drawing/2014/main" id="{FE220F5B-AB05-4781-9CF8-334BF0921082}"/>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dirty="0">
                <a:sym typeface="Source Sans Pro"/>
              </a:rPr>
              <a:t>Security compliance reporting</a:t>
            </a:r>
          </a:p>
        </p:txBody>
      </p:sp>
      <p:sp>
        <p:nvSpPr>
          <p:cNvPr id="14" name="Text Placeholder 13">
            <a:extLst>
              <a:ext uri="{FF2B5EF4-FFF2-40B4-BE49-F238E27FC236}">
                <a16:creationId xmlns:a16="http://schemas.microsoft.com/office/drawing/2014/main" id="{D46FAA7F-CCE6-4367-8C54-F7E7ACA3BF70}"/>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dirty="0">
                <a:sym typeface="Source Sans Pro"/>
              </a:rPr>
              <a:t>Fine-grained data analytics security</a:t>
            </a:r>
          </a:p>
        </p:txBody>
      </p:sp>
      <p:sp>
        <p:nvSpPr>
          <p:cNvPr id="4" name="Text Placeholder 3">
            <a:extLst>
              <a:ext uri="{FF2B5EF4-FFF2-40B4-BE49-F238E27FC236}">
                <a16:creationId xmlns:a16="http://schemas.microsoft.com/office/drawing/2014/main" id="{B03844BB-3C54-4082-A1D1-40FAAACB70E2}"/>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vent complex threats with machine learning</a:t>
            </a:r>
          </a:p>
        </p:txBody>
      </p:sp>
      <p:sp>
        <p:nvSpPr>
          <p:cNvPr id="5" name="Text Placeholder 4">
            <a:extLst>
              <a:ext uri="{FF2B5EF4-FFF2-40B4-BE49-F238E27FC236}">
                <a16:creationId xmlns:a16="http://schemas.microsoft.com/office/drawing/2014/main" id="{1C904ADC-1294-42C2-B42C-CA67EEBDCA08}"/>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threat prevention</a:t>
            </a:r>
          </a:p>
        </p:txBody>
      </p:sp>
      <p:sp>
        <p:nvSpPr>
          <p:cNvPr id="6" name="Text Placeholder 5">
            <a:extLst>
              <a:ext uri="{FF2B5EF4-FFF2-40B4-BE49-F238E27FC236}">
                <a16:creationId xmlns:a16="http://schemas.microsoft.com/office/drawing/2014/main" id="{18864341-1178-44AD-8247-E46AF4A4D3C2}"/>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Risk management with machine learning</a:t>
            </a:r>
          </a:p>
        </p:txBody>
      </p:sp>
      <p:sp>
        <p:nvSpPr>
          <p:cNvPr id="7" name="Text Placeholder 6">
            <a:extLst>
              <a:ext uri="{FF2B5EF4-FFF2-40B4-BE49-F238E27FC236}">
                <a16:creationId xmlns:a16="http://schemas.microsoft.com/office/drawing/2014/main" id="{313DDE7C-3838-4FD2-B56D-C4B149019BE7}"/>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Transform security with improved visibility</a:t>
            </a:r>
          </a:p>
        </p:txBody>
      </p:sp>
      <p:sp>
        <p:nvSpPr>
          <p:cNvPr id="8" name="Text Placeholder 7">
            <a:extLst>
              <a:ext uri="{FF2B5EF4-FFF2-40B4-BE49-F238E27FC236}">
                <a16:creationId xmlns:a16="http://schemas.microsoft.com/office/drawing/2014/main" id="{CF4643C8-4ECC-47D0-B8F5-73BF2A4EECC9}"/>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Limit malicious insiders to transform growth</a:t>
            </a:r>
          </a:p>
        </p:txBody>
      </p:sp>
      <p:sp>
        <p:nvSpPr>
          <p:cNvPr id="9" name="Text Placeholder 8">
            <a:extLst>
              <a:ext uri="{FF2B5EF4-FFF2-40B4-BE49-F238E27FC236}">
                <a16:creationId xmlns:a16="http://schemas.microsoft.com/office/drawing/2014/main" id="{304086B9-16E4-403D-B7D0-09C2C78804AE}"/>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ata access layer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F1F531D-87C6-4F3D-A13B-2D36255B2527}"/>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Network flow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uthentication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BAE7A7E-710C-4F2F-B9A3-5998B039256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Web</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lica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C2017B67-3D27-4959-97F2-333D9D2932B7}"/>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ab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uster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por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ashboa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Notebook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B56BD55C-EBAC-4811-B351-AFDB405C467B}"/>
              </a:ext>
            </a:extLst>
          </p:cNvPr>
          <p:cNvSpPr>
            <a:spLocks noGrp="1"/>
          </p:cNvSpPr>
          <p:nvPr>
            <p:ph type="body" sz="quarter" idx="36"/>
          </p:nvPr>
        </p:nvSpPr>
        <p:spPr>
          <a:xfrm>
            <a:off x="460375"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Prevention of DDoS attacks</a:t>
            </a:r>
          </a:p>
          <a:p>
            <a:pPr>
              <a:lnSpc>
                <a:spcPct val="90000"/>
              </a:lnSpc>
              <a:spcAft>
                <a:spcPts val="0"/>
              </a:spcAft>
            </a:pPr>
            <a:r>
              <a:rPr lang="en-US" dirty="0">
                <a:sym typeface="Source Sans Pro Light"/>
              </a:rPr>
              <a:t>Threat classifications</a:t>
            </a:r>
          </a:p>
          <a:p>
            <a:pPr>
              <a:lnSpc>
                <a:spcPct val="90000"/>
              </a:lnSpc>
              <a:spcAft>
                <a:spcPts val="0"/>
              </a:spcAft>
            </a:pPr>
            <a:r>
              <a:rPr lang="en-US" dirty="0">
                <a:sym typeface="Source Sans Pro Light"/>
              </a:rPr>
              <a:t>Data loss/anomaly detection in streaming</a:t>
            </a:r>
          </a:p>
          <a:p>
            <a:pPr>
              <a:lnSpc>
                <a:spcPct val="90000"/>
              </a:lnSpc>
              <a:spcAft>
                <a:spcPts val="0"/>
              </a:spcAft>
            </a:pPr>
            <a:r>
              <a:rPr lang="en-US" dirty="0">
                <a:sym typeface="Source Sans Pro Light"/>
              </a:rPr>
              <a:t>Cybermetrics and changing use patterns</a:t>
            </a:r>
          </a:p>
          <a:p>
            <a:pPr>
              <a:lnSpc>
                <a:spcPct val="90000"/>
              </a:lnSpc>
              <a:spcAft>
                <a:spcPts val="0"/>
              </a:spcAft>
            </a:pPr>
            <a:endParaRPr lang="en-US" dirty="0"/>
          </a:p>
        </p:txBody>
      </p:sp>
      <p:sp>
        <p:nvSpPr>
          <p:cNvPr id="19" name="Text Placeholder 18">
            <a:extLst>
              <a:ext uri="{FF2B5EF4-FFF2-40B4-BE49-F238E27FC236}">
                <a16:creationId xmlns:a16="http://schemas.microsoft.com/office/drawing/2014/main" id="{DB365165-3A33-4E31-A705-1CD2DE2237BB}"/>
              </a:ext>
            </a:extLst>
          </p:cNvPr>
          <p:cNvSpPr>
            <a:spLocks noGrp="1"/>
          </p:cNvSpPr>
          <p:nvPr>
            <p:ph type="body" sz="quarter" idx="37"/>
          </p:nvPr>
        </p:nvSpPr>
        <p:spPr>
          <a:xfrm>
            <a:off x="2815629"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Real-time data correlation</a:t>
            </a:r>
          </a:p>
          <a:p>
            <a:pPr>
              <a:lnSpc>
                <a:spcPct val="90000"/>
              </a:lnSpc>
              <a:spcAft>
                <a:spcPts val="0"/>
              </a:spcAft>
            </a:pPr>
            <a:r>
              <a:rPr lang="en-US" dirty="0">
                <a:sym typeface="Source Sans Pro Light"/>
              </a:rPr>
              <a:t>Anomaly detection</a:t>
            </a:r>
          </a:p>
          <a:p>
            <a:pPr>
              <a:lnSpc>
                <a:spcPct val="90000"/>
              </a:lnSpc>
              <a:spcAft>
                <a:spcPts val="0"/>
              </a:spcAft>
            </a:pPr>
            <a:r>
              <a:rPr lang="en-US" dirty="0">
                <a:sym typeface="Source Sans Pro Light"/>
              </a:rPr>
              <a:t>Security context, enrichment</a:t>
            </a:r>
          </a:p>
          <a:p>
            <a:pPr>
              <a:lnSpc>
                <a:spcPct val="90000"/>
              </a:lnSpc>
              <a:spcAft>
                <a:spcPts val="0"/>
              </a:spcAft>
            </a:pPr>
            <a:r>
              <a:rPr lang="en-US" dirty="0">
                <a:sym typeface="Source Sans Pro Light"/>
              </a:rPr>
              <a:t>Offence scoring, prioritization</a:t>
            </a:r>
          </a:p>
          <a:p>
            <a:pPr>
              <a:lnSpc>
                <a:spcPct val="90000"/>
              </a:lnSpc>
              <a:spcAft>
                <a:spcPts val="0"/>
              </a:spcAft>
            </a:pPr>
            <a:r>
              <a:rPr lang="en-US" dirty="0">
                <a:sym typeface="Source Sans Pro Light"/>
              </a:rPr>
              <a:t>Security orchestration</a:t>
            </a:r>
          </a:p>
          <a:p>
            <a:pPr>
              <a:lnSpc>
                <a:spcPct val="90000"/>
              </a:lnSpc>
              <a:spcAft>
                <a:spcPts val="0"/>
              </a:spcAft>
            </a:pPr>
            <a:endParaRPr lang="en-US" dirty="0"/>
          </a:p>
        </p:txBody>
      </p:sp>
      <p:sp>
        <p:nvSpPr>
          <p:cNvPr id="20" name="Text Placeholder 19">
            <a:extLst>
              <a:ext uri="{FF2B5EF4-FFF2-40B4-BE49-F238E27FC236}">
                <a16:creationId xmlns:a16="http://schemas.microsoft.com/office/drawing/2014/main" id="{468A673D-E9DB-41DF-A7E8-7DF7BA35F6C0}"/>
              </a:ext>
            </a:extLst>
          </p:cNvPr>
          <p:cNvSpPr>
            <a:spLocks noGrp="1"/>
          </p:cNvSpPr>
          <p:nvPr>
            <p:ph type="body" sz="quarter" idx="38"/>
          </p:nvPr>
        </p:nvSpPr>
        <p:spPr>
          <a:xfrm>
            <a:off x="5170155"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e-Tailing</a:t>
            </a:r>
          </a:p>
          <a:p>
            <a:pPr>
              <a:lnSpc>
                <a:spcPct val="90000"/>
              </a:lnSpc>
              <a:spcAft>
                <a:spcPts val="0"/>
              </a:spcAft>
            </a:pPr>
            <a:r>
              <a:rPr lang="en-US">
                <a:sym typeface="Source Sans Pro Light"/>
              </a:rPr>
              <a:t>Inventory monitoring</a:t>
            </a:r>
            <a:r>
              <a:rPr lang="en-US" dirty="0">
                <a:sym typeface="Source Sans Pro"/>
              </a:rPr>
              <a:t> </a:t>
            </a:r>
          </a:p>
          <a:p>
            <a:pPr>
              <a:lnSpc>
                <a:spcPct val="90000"/>
              </a:lnSpc>
              <a:spcAft>
                <a:spcPts val="0"/>
              </a:spcAft>
            </a:pPr>
            <a:r>
              <a:rPr lang="en-US" dirty="0">
                <a:sym typeface="Source Sans Pro Light"/>
              </a:rPr>
              <a:t>Social media monitoring </a:t>
            </a:r>
          </a:p>
          <a:p>
            <a:pPr>
              <a:lnSpc>
                <a:spcPct val="90000"/>
              </a:lnSpc>
              <a:spcAft>
                <a:spcPts val="0"/>
              </a:spcAft>
            </a:pPr>
            <a:r>
              <a:rPr lang="en-US" dirty="0">
                <a:sym typeface="Source Sans Pro Light"/>
              </a:rPr>
              <a:t>Phishing scams</a:t>
            </a:r>
          </a:p>
          <a:p>
            <a:pPr>
              <a:lnSpc>
                <a:spcPct val="90000"/>
              </a:lnSpc>
              <a:spcAft>
                <a:spcPts val="0"/>
              </a:spcAft>
            </a:pPr>
            <a:r>
              <a:rPr lang="en-US" dirty="0">
                <a:sym typeface="Source Sans Pro Light"/>
              </a:rPr>
              <a:t>Piracy protection</a:t>
            </a:r>
          </a:p>
          <a:p>
            <a:pPr>
              <a:lnSpc>
                <a:spcPct val="90000"/>
              </a:lnSpc>
              <a:spcAft>
                <a:spcPts val="0"/>
              </a:spcAft>
            </a:pPr>
            <a:endParaRPr lang="en-US" dirty="0"/>
          </a:p>
        </p:txBody>
      </p:sp>
      <p:sp>
        <p:nvSpPr>
          <p:cNvPr id="21" name="Text Placeholder 20">
            <a:extLst>
              <a:ext uri="{FF2B5EF4-FFF2-40B4-BE49-F238E27FC236}">
                <a16:creationId xmlns:a16="http://schemas.microsoft.com/office/drawing/2014/main" id="{046D6A65-1702-4C60-9BBC-2B223E999662}"/>
              </a:ext>
            </a:extLst>
          </p:cNvPr>
          <p:cNvSpPr>
            <a:spLocks noGrp="1"/>
          </p:cNvSpPr>
          <p:nvPr>
            <p:ph type="body" sz="quarter" idx="39"/>
          </p:nvPr>
        </p:nvSpPr>
        <p:spPr>
          <a:xfrm>
            <a:off x="7520214"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Ad-hoc/historic incident reports</a:t>
            </a:r>
          </a:p>
          <a:p>
            <a:pPr>
              <a:lnSpc>
                <a:spcPct val="90000"/>
              </a:lnSpc>
              <a:spcAft>
                <a:spcPts val="0"/>
              </a:spcAft>
            </a:pPr>
            <a:r>
              <a:rPr lang="en-US" dirty="0">
                <a:sym typeface="Source Sans Pro Light"/>
              </a:rPr>
              <a:t>SOC/NOC dashboards</a:t>
            </a:r>
          </a:p>
          <a:p>
            <a:pPr>
              <a:lnSpc>
                <a:spcPct val="90000"/>
              </a:lnSpc>
              <a:spcAft>
                <a:spcPts val="0"/>
              </a:spcAft>
            </a:pPr>
            <a:r>
              <a:rPr lang="en-US" dirty="0">
                <a:sym typeface="Source Sans Pro Light"/>
              </a:rPr>
              <a:t>Deep OS auditing</a:t>
            </a:r>
          </a:p>
          <a:p>
            <a:pPr>
              <a:lnSpc>
                <a:spcPct val="90000"/>
              </a:lnSpc>
              <a:spcAft>
                <a:spcPts val="0"/>
              </a:spcAft>
            </a:pPr>
            <a:r>
              <a:rPr lang="en-US" dirty="0">
                <a:sym typeface="Source Sans Pro Light"/>
              </a:rPr>
              <a:t>Data loss detection in IoT</a:t>
            </a:r>
          </a:p>
          <a:p>
            <a:pPr>
              <a:lnSpc>
                <a:spcPct val="90000"/>
              </a:lnSpc>
              <a:spcAft>
                <a:spcPts val="0"/>
              </a:spcAft>
            </a:pPr>
            <a:r>
              <a:rPr lang="en-US" dirty="0">
                <a:sym typeface="Source Sans Pro Light"/>
              </a:rPr>
              <a:t>User behavior analytics</a:t>
            </a:r>
          </a:p>
          <a:p>
            <a:pPr>
              <a:lnSpc>
                <a:spcPct val="90000"/>
              </a:lnSpc>
              <a:spcAft>
                <a:spcPts val="0"/>
              </a:spcAft>
            </a:pPr>
            <a:endParaRPr lang="en-US" dirty="0"/>
          </a:p>
        </p:txBody>
      </p:sp>
      <p:sp>
        <p:nvSpPr>
          <p:cNvPr id="22" name="Text Placeholder 21">
            <a:extLst>
              <a:ext uri="{FF2B5EF4-FFF2-40B4-BE49-F238E27FC236}">
                <a16:creationId xmlns:a16="http://schemas.microsoft.com/office/drawing/2014/main" id="{9BD7FA1C-FE2D-4AAB-8446-47DDCFE9B197}"/>
              </a:ext>
            </a:extLst>
          </p:cNvPr>
          <p:cNvSpPr>
            <a:spLocks noGrp="1"/>
          </p:cNvSpPr>
          <p:nvPr>
            <p:ph type="body" sz="quarter" idx="40"/>
          </p:nvPr>
        </p:nvSpPr>
        <p:spPr>
          <a:xfrm>
            <a:off x="9876858"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Role-based access controls</a:t>
            </a:r>
          </a:p>
          <a:p>
            <a:pPr>
              <a:lnSpc>
                <a:spcPct val="90000"/>
              </a:lnSpc>
              <a:spcAft>
                <a:spcPts val="0"/>
              </a:spcAft>
            </a:pPr>
            <a:r>
              <a:rPr lang="en-US" dirty="0">
                <a:sym typeface="Source Sans Pro Light"/>
              </a:rPr>
              <a:t>Auditing and governance</a:t>
            </a:r>
          </a:p>
          <a:p>
            <a:pPr>
              <a:lnSpc>
                <a:spcPct val="90000"/>
              </a:lnSpc>
              <a:spcAft>
                <a:spcPts val="0"/>
              </a:spcAft>
            </a:pPr>
            <a:r>
              <a:rPr lang="en-US" dirty="0">
                <a:sym typeface="Source Sans Pro Light"/>
              </a:rPr>
              <a:t>File integrity monitoring</a:t>
            </a:r>
          </a:p>
          <a:p>
            <a:pPr>
              <a:lnSpc>
                <a:spcPct val="90000"/>
              </a:lnSpc>
              <a:spcAft>
                <a:spcPts val="0"/>
              </a:spcAft>
            </a:pPr>
            <a:r>
              <a:rPr lang="en-US" dirty="0">
                <a:sym typeface="Source Sans Pro Light"/>
              </a:rPr>
              <a:t>Row level and column level access permissions</a:t>
            </a:r>
          </a:p>
          <a:p>
            <a:pPr>
              <a:lnSpc>
                <a:spcPct val="90000"/>
              </a:lnSpc>
              <a:spcAft>
                <a:spcPts val="0"/>
              </a:spcAft>
            </a:pPr>
            <a:endParaRPr lang="en-US" dirty="0"/>
          </a:p>
        </p:txBody>
      </p:sp>
      <p:sp>
        <p:nvSpPr>
          <p:cNvPr id="23" name="Text Placeholder 22">
            <a:extLst>
              <a:ext uri="{FF2B5EF4-FFF2-40B4-BE49-F238E27FC236}">
                <a16:creationId xmlns:a16="http://schemas.microsoft.com/office/drawing/2014/main" id="{8E716123-0469-45F8-B4D9-D49466D29919}"/>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Web/app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 content </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17335157-13CC-4CD1-B2CD-C6EF598C8A40}"/>
              </a:ext>
            </a:extLst>
          </p:cNvPr>
          <p:cNvSpPr>
            <a:spLocks noGrp="1"/>
          </p:cNvSpPr>
          <p:nvPr>
            <p:ph type="body" sz="quarter" idx="42"/>
          </p:nvPr>
        </p:nvSpPr>
        <p:spPr/>
        <p:txBody>
          <a:bodyPr vert="horz" wrap="square" lIns="91440" tIns="45720" rIns="91440" bIns="45720" rtlCol="0">
            <a:spAutoFit/>
          </a:bodyPr>
          <a:lstStyle/>
          <a:p>
            <a:r>
              <a:rPr lang="en-US" dirty="0">
                <a:sym typeface="Source Sans Pro"/>
              </a:rPr>
              <a:t>Security controls to leverage all data</a:t>
            </a:r>
          </a:p>
        </p:txBody>
      </p:sp>
      <p:sp>
        <p:nvSpPr>
          <p:cNvPr id="25" name="Text Placeholder 24">
            <a:extLst>
              <a:ext uri="{FF2B5EF4-FFF2-40B4-BE49-F238E27FC236}">
                <a16:creationId xmlns:a16="http://schemas.microsoft.com/office/drawing/2014/main" id="{1650867A-C78C-4229-AE47-6360A4067175}"/>
              </a:ext>
            </a:extLst>
          </p:cNvPr>
          <p:cNvSpPr>
            <a:spLocks noGrp="1"/>
          </p:cNvSpPr>
          <p:nvPr>
            <p:ph type="body" sz="quarter" idx="43"/>
          </p:nvPr>
        </p:nvSpPr>
        <p:spPr/>
        <p:txBody>
          <a:bodyPr vert="horz" wrap="square" lIns="91440" tIns="45720" rIns="91440" bIns="45720" rtlCol="0">
            <a:spAutoFit/>
          </a:bodyPr>
          <a:lstStyle/>
          <a:p>
            <a:r>
              <a:rPr lang="en-US" dirty="0">
                <a:sym typeface="Source Sans Pro"/>
              </a:rPr>
              <a:t>Actionable threat intelligence</a:t>
            </a:r>
          </a:p>
        </p:txBody>
      </p:sp>
      <p:sp>
        <p:nvSpPr>
          <p:cNvPr id="26" name="Text Placeholder 25">
            <a:extLst>
              <a:ext uri="{FF2B5EF4-FFF2-40B4-BE49-F238E27FC236}">
                <a16:creationId xmlns:a16="http://schemas.microsoft.com/office/drawing/2014/main" id="{FD41E2E6-441F-420B-837F-7231A7F1441D}"/>
              </a:ext>
            </a:extLst>
          </p:cNvPr>
          <p:cNvSpPr>
            <a:spLocks noGrp="1"/>
          </p:cNvSpPr>
          <p:nvPr>
            <p:ph type="body" sz="quarter" idx="44"/>
          </p:nvPr>
        </p:nvSpPr>
        <p:spPr/>
        <p:txBody>
          <a:bodyPr vert="horz" wrap="square" lIns="91440" tIns="45720" rIns="91440" bIns="45720" rtlCol="0">
            <a:spAutoFit/>
          </a:bodyPr>
          <a:lstStyle/>
          <a:p>
            <a:r>
              <a:rPr lang="en-US" dirty="0">
                <a:sym typeface="Source Sans Pro"/>
              </a:rPr>
              <a:t>Risk and fraud</a:t>
            </a:r>
            <a:br>
              <a:rPr lang="en-US" dirty="0">
                <a:sym typeface="Source Sans Pro"/>
              </a:rPr>
            </a:br>
            <a:r>
              <a:rPr lang="en-US" dirty="0">
                <a:sym typeface="Source Sans Pro"/>
              </a:rPr>
              <a:t>analysis</a:t>
            </a:r>
          </a:p>
        </p:txBody>
      </p:sp>
      <p:sp>
        <p:nvSpPr>
          <p:cNvPr id="27" name="Text Placeholder 26">
            <a:extLst>
              <a:ext uri="{FF2B5EF4-FFF2-40B4-BE49-F238E27FC236}">
                <a16:creationId xmlns:a16="http://schemas.microsoft.com/office/drawing/2014/main" id="{42DF4BDE-AC5E-4B1A-ABC4-89C79384EC2D}"/>
              </a:ext>
            </a:extLst>
          </p:cNvPr>
          <p:cNvSpPr>
            <a:spLocks noGrp="1"/>
          </p:cNvSpPr>
          <p:nvPr>
            <p:ph type="body" sz="quarter" idx="45"/>
          </p:nvPr>
        </p:nvSpPr>
        <p:spPr/>
        <p:txBody>
          <a:bodyPr vert="horz" wrap="square" lIns="91440" tIns="45720" rIns="91440" bIns="45720" rtlCol="0">
            <a:spAutoFit/>
          </a:bodyPr>
          <a:lstStyle/>
          <a:p>
            <a:r>
              <a:rPr lang="en-US" dirty="0">
                <a:sym typeface="Source Sans Pro"/>
              </a:rPr>
              <a:t>Compliance</a:t>
            </a:r>
            <a:br>
              <a:rPr lang="en-US" dirty="0">
                <a:sym typeface="Source Sans Pro"/>
              </a:rPr>
            </a:br>
            <a:r>
              <a:rPr lang="en-US" dirty="0">
                <a:sym typeface="Source Sans Pro"/>
              </a:rPr>
              <a:t>management</a:t>
            </a:r>
          </a:p>
        </p:txBody>
      </p:sp>
      <p:sp>
        <p:nvSpPr>
          <p:cNvPr id="28" name="Text Placeholder 27">
            <a:extLst>
              <a:ext uri="{FF2B5EF4-FFF2-40B4-BE49-F238E27FC236}">
                <a16:creationId xmlns:a16="http://schemas.microsoft.com/office/drawing/2014/main" id="{074A6CDB-5925-498F-B0E6-31B7EB1CA99A}"/>
              </a:ext>
            </a:extLst>
          </p:cNvPr>
          <p:cNvSpPr>
            <a:spLocks noGrp="1"/>
          </p:cNvSpPr>
          <p:nvPr>
            <p:ph type="body" sz="quarter" idx="46"/>
          </p:nvPr>
        </p:nvSpPr>
        <p:spPr/>
        <p:txBody>
          <a:bodyPr vert="horz" wrap="square" lIns="91440" tIns="45720" rIns="91440" bIns="45720" rtlCol="0">
            <a:spAutoFit/>
          </a:bodyPr>
          <a:lstStyle/>
          <a:p>
            <a:r>
              <a:rPr lang="en-US" dirty="0">
                <a:sym typeface="Source Sans Pro"/>
              </a:rPr>
              <a:t>Identity and access management for analytics</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Security use cases</a:t>
            </a:r>
          </a:p>
        </p:txBody>
      </p:sp>
      <p:grpSp>
        <p:nvGrpSpPr>
          <p:cNvPr id="126" name="Group 125">
            <a:extLst>
              <a:ext uri="{FF2B5EF4-FFF2-40B4-BE49-F238E27FC236}">
                <a16:creationId xmlns:a16="http://schemas.microsoft.com/office/drawing/2014/main" id="{53958F83-37CE-4858-974A-628F2F22C6BC}"/>
              </a:ext>
            </a:extLst>
          </p:cNvPr>
          <p:cNvGrpSpPr>
            <a:grpSpLocks noChangeAspect="1"/>
          </p:cNvGrpSpPr>
          <p:nvPr/>
        </p:nvGrpSpPr>
        <p:grpSpPr>
          <a:xfrm>
            <a:off x="1212071" y="3089501"/>
            <a:ext cx="372252" cy="340590"/>
            <a:chOff x="4475583" y="2774302"/>
            <a:chExt cx="954393" cy="873218"/>
          </a:xfrm>
        </p:grpSpPr>
        <p:grpSp>
          <p:nvGrpSpPr>
            <p:cNvPr id="127" name="Group 126">
              <a:extLst>
                <a:ext uri="{FF2B5EF4-FFF2-40B4-BE49-F238E27FC236}">
                  <a16:creationId xmlns:a16="http://schemas.microsoft.com/office/drawing/2014/main" id="{4AEEF03C-C378-40AA-9808-CBD092658A23}"/>
                </a:ext>
              </a:extLst>
            </p:cNvPr>
            <p:cNvGrpSpPr/>
            <p:nvPr/>
          </p:nvGrpSpPr>
          <p:grpSpPr>
            <a:xfrm>
              <a:off x="4475583" y="2774302"/>
              <a:ext cx="867748" cy="807098"/>
              <a:chOff x="4475583" y="2774302"/>
              <a:chExt cx="867748" cy="807098"/>
            </a:xfrm>
          </p:grpSpPr>
          <p:sp>
            <p:nvSpPr>
              <p:cNvPr id="129" name="Rectangle 128">
                <a:extLst>
                  <a:ext uri="{FF2B5EF4-FFF2-40B4-BE49-F238E27FC236}">
                    <a16:creationId xmlns:a16="http://schemas.microsoft.com/office/drawing/2014/main" id="{5B731564-820D-49B1-BF82-FC28C747B278}"/>
                  </a:ext>
                </a:extLst>
              </p:cNvPr>
              <p:cNvSpPr/>
              <p:nvPr/>
            </p:nvSpPr>
            <p:spPr bwMode="auto">
              <a:xfrm>
                <a:off x="4705548" y="2774302"/>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0" name="Rectangle 129">
                <a:extLst>
                  <a:ext uri="{FF2B5EF4-FFF2-40B4-BE49-F238E27FC236}">
                    <a16:creationId xmlns:a16="http://schemas.microsoft.com/office/drawing/2014/main" id="{B4B1A7C9-8891-46BC-B724-0D31356E024A}"/>
                  </a:ext>
                </a:extLst>
              </p:cNvPr>
              <p:cNvSpPr/>
              <p:nvPr/>
            </p:nvSpPr>
            <p:spPr bwMode="auto">
              <a:xfrm>
                <a:off x="4705548" y="3341914"/>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1" name="Rectangle 130">
                <a:extLst>
                  <a:ext uri="{FF2B5EF4-FFF2-40B4-BE49-F238E27FC236}">
                    <a16:creationId xmlns:a16="http://schemas.microsoft.com/office/drawing/2014/main" id="{C42E8351-817B-4214-9835-B9172BD45406}"/>
                  </a:ext>
                </a:extLst>
              </p:cNvPr>
              <p:cNvSpPr/>
              <p:nvPr/>
            </p:nvSpPr>
            <p:spPr bwMode="auto">
              <a:xfrm>
                <a:off x="4475583"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2" name="Rectangle 131">
                <a:extLst>
                  <a:ext uri="{FF2B5EF4-FFF2-40B4-BE49-F238E27FC236}">
                    <a16:creationId xmlns:a16="http://schemas.microsoft.com/office/drawing/2014/main" id="{292894A4-514B-4F74-AF3B-0E74F0EED100}"/>
                  </a:ext>
                </a:extLst>
              </p:cNvPr>
              <p:cNvSpPr/>
              <p:nvPr/>
            </p:nvSpPr>
            <p:spPr bwMode="auto">
              <a:xfrm>
                <a:off x="4935512"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Rectangle 132">
                <a:extLst>
                  <a:ext uri="{FF2B5EF4-FFF2-40B4-BE49-F238E27FC236}">
                    <a16:creationId xmlns:a16="http://schemas.microsoft.com/office/drawing/2014/main" id="{83C247CB-8C39-426C-9C36-8614497B2BA1}"/>
                  </a:ext>
                </a:extLst>
              </p:cNvPr>
              <p:cNvSpPr/>
              <p:nvPr/>
            </p:nvSpPr>
            <p:spPr bwMode="auto">
              <a:xfrm>
                <a:off x="5162932"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4" name="Rectangle 133">
                <a:extLst>
                  <a:ext uri="{FF2B5EF4-FFF2-40B4-BE49-F238E27FC236}">
                    <a16:creationId xmlns:a16="http://schemas.microsoft.com/office/drawing/2014/main" id="{462B043D-1391-4FFE-A499-1375AD22AA1B}"/>
                  </a:ext>
                </a:extLst>
              </p:cNvPr>
              <p:cNvSpPr/>
              <p:nvPr/>
            </p:nvSpPr>
            <p:spPr bwMode="auto">
              <a:xfrm>
                <a:off x="4475583"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5" name="Rectangle 134">
                <a:extLst>
                  <a:ext uri="{FF2B5EF4-FFF2-40B4-BE49-F238E27FC236}">
                    <a16:creationId xmlns:a16="http://schemas.microsoft.com/office/drawing/2014/main" id="{410DC29F-E3BC-4C58-8FA7-CDC753F047FF}"/>
                  </a:ext>
                </a:extLst>
              </p:cNvPr>
              <p:cNvSpPr/>
              <p:nvPr/>
            </p:nvSpPr>
            <p:spPr bwMode="auto">
              <a:xfrm>
                <a:off x="4475583" y="3341914"/>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28" name="Freeform: Shape 127">
              <a:extLst>
                <a:ext uri="{FF2B5EF4-FFF2-40B4-BE49-F238E27FC236}">
                  <a16:creationId xmlns:a16="http://schemas.microsoft.com/office/drawing/2014/main" id="{2A0F5C5E-C21E-4129-B1DE-2B204FED9311}"/>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solidFill>
            <a:ln w="158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791D6FF8-203D-4F0C-B5B8-265EA3979A0E}"/>
              </a:ext>
            </a:extLst>
          </p:cNvPr>
          <p:cNvGrpSpPr/>
          <p:nvPr/>
        </p:nvGrpSpPr>
        <p:grpSpPr>
          <a:xfrm>
            <a:off x="3567280" y="3089039"/>
            <a:ext cx="348167" cy="341514"/>
            <a:chOff x="6594072" y="3095551"/>
            <a:chExt cx="795442" cy="780243"/>
          </a:xfrm>
        </p:grpSpPr>
        <p:sp>
          <p:nvSpPr>
            <p:cNvPr id="137" name="eye_2">
              <a:extLst>
                <a:ext uri="{FF2B5EF4-FFF2-40B4-BE49-F238E27FC236}">
                  <a16:creationId xmlns:a16="http://schemas.microsoft.com/office/drawing/2014/main" id="{86930E26-9EAF-4F81-9A9C-394F4C780114}"/>
                </a:ext>
              </a:extLst>
            </p:cNvPr>
            <p:cNvSpPr>
              <a:spLocks noChangeAspect="1" noEditPoints="1"/>
            </p:cNvSpPr>
            <p:nvPr/>
          </p:nvSpPr>
          <p:spPr bwMode="auto">
            <a:xfrm>
              <a:off x="6642379" y="3243080"/>
              <a:ext cx="413144" cy="22923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Freeform 5">
              <a:extLst>
                <a:ext uri="{FF2B5EF4-FFF2-40B4-BE49-F238E27FC236}">
                  <a16:creationId xmlns:a16="http://schemas.microsoft.com/office/drawing/2014/main" id="{11EE12AE-B22A-4C9C-A2AF-94931F8210BA}"/>
                </a:ext>
              </a:extLst>
            </p:cNvPr>
            <p:cNvSpPr>
              <a:spLocks noChangeAspect="1" noEditPoints="1"/>
            </p:cNvSpPr>
            <p:nvPr/>
          </p:nvSpPr>
          <p:spPr bwMode="auto">
            <a:xfrm>
              <a:off x="6594072" y="3095551"/>
              <a:ext cx="795442" cy="78024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A91F002-4DB4-46B7-A741-95AD00AD93D1}"/>
              </a:ext>
            </a:extLst>
          </p:cNvPr>
          <p:cNvGrpSpPr/>
          <p:nvPr/>
        </p:nvGrpSpPr>
        <p:grpSpPr>
          <a:xfrm>
            <a:off x="5747626" y="3092401"/>
            <a:ext cx="684364" cy="334791"/>
            <a:chOff x="5353195" y="1639796"/>
            <a:chExt cx="1063934" cy="520476"/>
          </a:xfrm>
        </p:grpSpPr>
        <p:grpSp>
          <p:nvGrpSpPr>
            <p:cNvPr id="140" name="Group 139">
              <a:extLst>
                <a:ext uri="{FF2B5EF4-FFF2-40B4-BE49-F238E27FC236}">
                  <a16:creationId xmlns:a16="http://schemas.microsoft.com/office/drawing/2014/main" id="{73DE433C-DC9E-4E4A-AC7D-B576BFB81998}"/>
                </a:ext>
              </a:extLst>
            </p:cNvPr>
            <p:cNvGrpSpPr/>
            <p:nvPr/>
          </p:nvGrpSpPr>
          <p:grpSpPr>
            <a:xfrm>
              <a:off x="5353195" y="1639796"/>
              <a:ext cx="1063934" cy="520476"/>
              <a:chOff x="4664380" y="1193273"/>
              <a:chExt cx="729819" cy="357027"/>
            </a:xfrm>
          </p:grpSpPr>
          <p:grpSp>
            <p:nvGrpSpPr>
              <p:cNvPr id="143" name="Group 142">
                <a:extLst>
                  <a:ext uri="{FF2B5EF4-FFF2-40B4-BE49-F238E27FC236}">
                    <a16:creationId xmlns:a16="http://schemas.microsoft.com/office/drawing/2014/main" id="{6902C393-4ECC-4E11-9D81-F8DC4AF46456}"/>
                  </a:ext>
                </a:extLst>
              </p:cNvPr>
              <p:cNvGrpSpPr/>
              <p:nvPr/>
            </p:nvGrpSpPr>
            <p:grpSpPr>
              <a:xfrm>
                <a:off x="4664380" y="1193273"/>
                <a:ext cx="312640" cy="353534"/>
                <a:chOff x="9005458" y="6149105"/>
                <a:chExt cx="1115922" cy="1261888"/>
              </a:xfrm>
            </p:grpSpPr>
            <p:sp>
              <p:nvSpPr>
                <p:cNvPr id="153" name="Freeform 938">
                  <a:extLst>
                    <a:ext uri="{FF2B5EF4-FFF2-40B4-BE49-F238E27FC236}">
                      <a16:creationId xmlns:a16="http://schemas.microsoft.com/office/drawing/2014/main" id="{D89B4A5C-888A-4A85-85AA-203BE7F80032}"/>
                    </a:ext>
                  </a:extLst>
                </p:cNvPr>
                <p:cNvSpPr/>
                <p:nvPr/>
              </p:nvSpPr>
              <p:spPr>
                <a:xfrm>
                  <a:off x="9005458" y="6282460"/>
                  <a:ext cx="555627"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4" name="Freeform 939">
                  <a:extLst>
                    <a:ext uri="{FF2B5EF4-FFF2-40B4-BE49-F238E27FC236}">
                      <a16:creationId xmlns:a16="http://schemas.microsoft.com/office/drawing/2014/main" id="{0211B76D-5F40-49DB-82C5-9E227B89AB00}"/>
                    </a:ext>
                  </a:extLst>
                </p:cNvPr>
                <p:cNvSpPr/>
                <p:nvPr/>
              </p:nvSpPr>
              <p:spPr>
                <a:xfrm>
                  <a:off x="9707132" y="6282460"/>
                  <a:ext cx="215899"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Freeform 940">
                  <a:extLst>
                    <a:ext uri="{FF2B5EF4-FFF2-40B4-BE49-F238E27FC236}">
                      <a16:creationId xmlns:a16="http://schemas.microsoft.com/office/drawing/2014/main" id="{28F7883D-DB9E-4C77-85C8-B91D4FEB5C1C}"/>
                    </a:ext>
                  </a:extLst>
                </p:cNvPr>
                <p:cNvSpPr/>
                <p:nvPr/>
              </p:nvSpPr>
              <p:spPr>
                <a:xfrm>
                  <a:off x="9221354" y="6149105"/>
                  <a:ext cx="482601"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6" name="Freeform 941">
                  <a:extLst>
                    <a:ext uri="{FF2B5EF4-FFF2-40B4-BE49-F238E27FC236}">
                      <a16:creationId xmlns:a16="http://schemas.microsoft.com/office/drawing/2014/main" id="{4D5D26A6-7957-4FE7-8B7E-99567C08B899}"/>
                    </a:ext>
                  </a:extLst>
                </p:cNvPr>
                <p:cNvSpPr/>
                <p:nvPr/>
              </p:nvSpPr>
              <p:spPr bwMode="auto">
                <a:xfrm>
                  <a:off x="9671567" y="7021830"/>
                  <a:ext cx="333570" cy="212269"/>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17F9DCA8-CA55-4486-9F76-BF84847E3285}"/>
                    </a:ext>
                  </a:extLst>
                </p:cNvPr>
                <p:cNvSpPr/>
                <p:nvPr/>
              </p:nvSpPr>
              <p:spPr bwMode="auto">
                <a:xfrm>
                  <a:off x="9555324" y="6844940"/>
                  <a:ext cx="566056" cy="566053"/>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B6762C97-9969-4236-AF74-187428C824CB}"/>
                  </a:ext>
                </a:extLst>
              </p:cNvPr>
              <p:cNvGrpSpPr/>
              <p:nvPr/>
            </p:nvGrpSpPr>
            <p:grpSpPr>
              <a:xfrm>
                <a:off x="5043788" y="1193273"/>
                <a:ext cx="350411" cy="357027"/>
                <a:chOff x="5302324" y="1193273"/>
                <a:chExt cx="350411" cy="357027"/>
              </a:xfrm>
            </p:grpSpPr>
            <p:grpSp>
              <p:nvGrpSpPr>
                <p:cNvPr id="145" name="Group 144">
                  <a:extLst>
                    <a:ext uri="{FF2B5EF4-FFF2-40B4-BE49-F238E27FC236}">
                      <a16:creationId xmlns:a16="http://schemas.microsoft.com/office/drawing/2014/main" id="{7A5B7CCE-DD13-494E-A7F5-4A148DBD325F}"/>
                    </a:ext>
                  </a:extLst>
                </p:cNvPr>
                <p:cNvGrpSpPr/>
                <p:nvPr/>
              </p:nvGrpSpPr>
              <p:grpSpPr>
                <a:xfrm>
                  <a:off x="5482948" y="1395938"/>
                  <a:ext cx="169787" cy="154362"/>
                  <a:chOff x="4530976" y="2990126"/>
                  <a:chExt cx="231285" cy="210274"/>
                </a:xfrm>
              </p:grpSpPr>
              <p:sp>
                <p:nvSpPr>
                  <p:cNvPr id="149" name="Freeform 5">
                    <a:extLst>
                      <a:ext uri="{FF2B5EF4-FFF2-40B4-BE49-F238E27FC236}">
                        <a16:creationId xmlns:a16="http://schemas.microsoft.com/office/drawing/2014/main" id="{83AAFDC9-82C0-4644-AAFD-4F2EC87119BF}"/>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ABA5264B-AB0D-4862-8385-8B4E4B7CCC96}"/>
                      </a:ext>
                    </a:extLst>
                  </p:cNvPr>
                  <p:cNvGrpSpPr/>
                  <p:nvPr/>
                </p:nvGrpSpPr>
                <p:grpSpPr>
                  <a:xfrm>
                    <a:off x="4646619" y="3052306"/>
                    <a:ext cx="0" cy="122254"/>
                    <a:chOff x="4791447" y="2616042"/>
                    <a:chExt cx="0" cy="1427764"/>
                  </a:xfrm>
                </p:grpSpPr>
                <p:cxnSp>
                  <p:nvCxnSpPr>
                    <p:cNvPr id="151" name="Straight Connector 150">
                      <a:extLst>
                        <a:ext uri="{FF2B5EF4-FFF2-40B4-BE49-F238E27FC236}">
                          <a16:creationId xmlns:a16="http://schemas.microsoft.com/office/drawing/2014/main" id="{470145D0-8BE1-4403-B45C-C2C0BEFCDCFE}"/>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F4A3AE8-A0B5-4104-B297-C3283D1677B2}"/>
                        </a:ext>
                      </a:extLst>
                    </p:cNvPr>
                    <p:cNvCxnSpPr>
                      <a:cxnSpLocks/>
                    </p:cNvCxnSpPr>
                    <p:nvPr/>
                  </p:nvCxnSpPr>
                  <p:spPr>
                    <a:xfrm>
                      <a:off x="4791447" y="3793908"/>
                      <a:ext cx="0" cy="24989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46" name="Freeform 938">
                  <a:extLst>
                    <a:ext uri="{FF2B5EF4-FFF2-40B4-BE49-F238E27FC236}">
                      <a16:creationId xmlns:a16="http://schemas.microsoft.com/office/drawing/2014/main" id="{C00D4B82-A074-4053-B20D-2D5435219FA3}"/>
                    </a:ext>
                  </a:extLst>
                </p:cNvPr>
                <p:cNvSpPr/>
                <p:nvPr/>
              </p:nvSpPr>
              <p:spPr>
                <a:xfrm>
                  <a:off x="5302324" y="1230634"/>
                  <a:ext cx="155666" cy="314889"/>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939">
                  <a:extLst>
                    <a:ext uri="{FF2B5EF4-FFF2-40B4-BE49-F238E27FC236}">
                      <a16:creationId xmlns:a16="http://schemas.microsoft.com/office/drawing/2014/main" id="{36F3CAFE-4346-4DD4-9CAE-BA32C9E4B13A}"/>
                    </a:ext>
                  </a:extLst>
                </p:cNvPr>
                <p:cNvSpPr/>
                <p:nvPr/>
              </p:nvSpPr>
              <p:spPr>
                <a:xfrm>
                  <a:off x="5498907" y="1230634"/>
                  <a:ext cx="60487" cy="136096"/>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Freeform 940">
                  <a:extLst>
                    <a:ext uri="{FF2B5EF4-FFF2-40B4-BE49-F238E27FC236}">
                      <a16:creationId xmlns:a16="http://schemas.microsoft.com/office/drawing/2014/main" id="{69372C4D-7609-4380-9E6E-19CB601E72A6}"/>
                    </a:ext>
                  </a:extLst>
                </p:cNvPr>
                <p:cNvSpPr/>
                <p:nvPr/>
              </p:nvSpPr>
              <p:spPr>
                <a:xfrm>
                  <a:off x="5362810" y="1193273"/>
                  <a:ext cx="135207" cy="53371"/>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41" name="Fingerprint_E928">
              <a:extLst>
                <a:ext uri="{FF2B5EF4-FFF2-40B4-BE49-F238E27FC236}">
                  <a16:creationId xmlns:a16="http://schemas.microsoft.com/office/drawing/2014/main" id="{54130F08-38C3-4261-ADAB-2A3C24AF7346}"/>
                </a:ext>
              </a:extLst>
            </p:cNvPr>
            <p:cNvSpPr>
              <a:spLocks noChangeAspect="1" noEditPoints="1"/>
            </p:cNvSpPr>
            <p:nvPr/>
          </p:nvSpPr>
          <p:spPr bwMode="auto">
            <a:xfrm>
              <a:off x="5406649"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42" name="Fingerprint_E928">
              <a:extLst>
                <a:ext uri="{FF2B5EF4-FFF2-40B4-BE49-F238E27FC236}">
                  <a16:creationId xmlns:a16="http://schemas.microsoft.com/office/drawing/2014/main" id="{56E311EE-35C1-4620-B243-103D6D9F0E97}"/>
                </a:ext>
              </a:extLst>
            </p:cNvPr>
            <p:cNvSpPr>
              <a:spLocks noChangeAspect="1" noEditPoints="1"/>
            </p:cNvSpPr>
            <p:nvPr/>
          </p:nvSpPr>
          <p:spPr bwMode="auto">
            <a:xfrm flipH="1">
              <a:off x="5985026"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58" name="Group 157">
            <a:extLst>
              <a:ext uri="{FF2B5EF4-FFF2-40B4-BE49-F238E27FC236}">
                <a16:creationId xmlns:a16="http://schemas.microsoft.com/office/drawing/2014/main" id="{556B774D-D526-4DE5-8817-958AC41F03E7}"/>
              </a:ext>
            </a:extLst>
          </p:cNvPr>
          <p:cNvGrpSpPr/>
          <p:nvPr/>
        </p:nvGrpSpPr>
        <p:grpSpPr>
          <a:xfrm>
            <a:off x="8306760" y="3071033"/>
            <a:ext cx="299945" cy="377527"/>
            <a:chOff x="8647329" y="1563765"/>
            <a:chExt cx="507345" cy="638572"/>
          </a:xfrm>
        </p:grpSpPr>
        <p:cxnSp>
          <p:nvCxnSpPr>
            <p:cNvPr id="159" name="Straight Connector 158">
              <a:extLst>
                <a:ext uri="{FF2B5EF4-FFF2-40B4-BE49-F238E27FC236}">
                  <a16:creationId xmlns:a16="http://schemas.microsoft.com/office/drawing/2014/main" id="{5047C3BF-FA3E-4E01-A2EB-E678A8784036}"/>
                </a:ext>
              </a:extLst>
            </p:cNvPr>
            <p:cNvCxnSpPr>
              <a:cxnSpLocks/>
            </p:cNvCxnSpPr>
            <p:nvPr/>
          </p:nvCxnSpPr>
          <p:spPr>
            <a:xfrm>
              <a:off x="8832383" y="1699197"/>
              <a:ext cx="209109"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BDB401D-8EBA-4ABD-BE41-D1BFE8A66101}"/>
                </a:ext>
              </a:extLst>
            </p:cNvPr>
            <p:cNvCxnSpPr>
              <a:cxnSpLocks/>
            </p:cNvCxnSpPr>
            <p:nvPr/>
          </p:nvCxnSpPr>
          <p:spPr>
            <a:xfrm>
              <a:off x="8832383" y="1813918"/>
              <a:ext cx="104904"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C0799F8-94B5-457A-86A9-B2CD79C3D3EC}"/>
                </a:ext>
              </a:extLst>
            </p:cNvPr>
            <p:cNvCxnSpPr>
              <a:cxnSpLocks/>
            </p:cNvCxnSpPr>
            <p:nvPr/>
          </p:nvCxnSpPr>
          <p:spPr>
            <a:xfrm>
              <a:off x="8832383" y="1928640"/>
              <a:ext cx="60060"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766CE0F-A720-474D-AFBA-14277DC61449}"/>
                </a:ext>
              </a:extLst>
            </p:cNvPr>
            <p:cNvCxnSpPr>
              <a:cxnSpLocks/>
            </p:cNvCxnSpPr>
            <p:nvPr/>
          </p:nvCxnSpPr>
          <p:spPr>
            <a:xfrm>
              <a:off x="8832383" y="2043361"/>
              <a:ext cx="25413"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66" name="Freeform 5">
              <a:extLst>
                <a:ext uri="{FF2B5EF4-FFF2-40B4-BE49-F238E27FC236}">
                  <a16:creationId xmlns:a16="http://schemas.microsoft.com/office/drawing/2014/main" id="{92DC882A-6B80-4727-A61B-3DD51036E3EB}"/>
                </a:ext>
              </a:extLst>
            </p:cNvPr>
            <p:cNvSpPr/>
            <p:nvPr/>
          </p:nvSpPr>
          <p:spPr bwMode="auto">
            <a:xfrm>
              <a:off x="8713449" y="167502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7" name="Freeform 5">
              <a:extLst>
                <a:ext uri="{FF2B5EF4-FFF2-40B4-BE49-F238E27FC236}">
                  <a16:creationId xmlns:a16="http://schemas.microsoft.com/office/drawing/2014/main" id="{277FA498-E4E8-455C-87C3-93AB96D3B75D}"/>
                </a:ext>
              </a:extLst>
            </p:cNvPr>
            <p:cNvSpPr/>
            <p:nvPr/>
          </p:nvSpPr>
          <p:spPr bwMode="auto">
            <a:xfrm>
              <a:off x="8713449" y="178974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Freeform 5">
              <a:extLst>
                <a:ext uri="{FF2B5EF4-FFF2-40B4-BE49-F238E27FC236}">
                  <a16:creationId xmlns:a16="http://schemas.microsoft.com/office/drawing/2014/main" id="{CF354F65-D392-44E8-988A-F08AFD167A18}"/>
                </a:ext>
              </a:extLst>
            </p:cNvPr>
            <p:cNvSpPr/>
            <p:nvPr/>
          </p:nvSpPr>
          <p:spPr bwMode="auto">
            <a:xfrm>
              <a:off x="8713449" y="190446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2" name="Freeform 5">
              <a:extLst>
                <a:ext uri="{FF2B5EF4-FFF2-40B4-BE49-F238E27FC236}">
                  <a16:creationId xmlns:a16="http://schemas.microsoft.com/office/drawing/2014/main" id="{965A6325-C643-4720-80EA-43BD0A68104A}"/>
                </a:ext>
              </a:extLst>
            </p:cNvPr>
            <p:cNvSpPr/>
            <p:nvPr/>
          </p:nvSpPr>
          <p:spPr bwMode="auto">
            <a:xfrm>
              <a:off x="8713449" y="2018921"/>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23" name="Group 222">
              <a:extLst>
                <a:ext uri="{FF2B5EF4-FFF2-40B4-BE49-F238E27FC236}">
                  <a16:creationId xmlns:a16="http://schemas.microsoft.com/office/drawing/2014/main" id="{749433DA-40B7-4E7D-8A8B-B64118EDC730}"/>
                </a:ext>
              </a:extLst>
            </p:cNvPr>
            <p:cNvGrpSpPr/>
            <p:nvPr/>
          </p:nvGrpSpPr>
          <p:grpSpPr>
            <a:xfrm>
              <a:off x="8647329" y="1563765"/>
              <a:ext cx="507345" cy="638572"/>
              <a:chOff x="9394158" y="2095500"/>
              <a:chExt cx="289216" cy="364023"/>
            </a:xfrm>
          </p:grpSpPr>
          <p:sp>
            <p:nvSpPr>
              <p:cNvPr id="224" name="Freeform 1388">
                <a:extLst>
                  <a:ext uri="{FF2B5EF4-FFF2-40B4-BE49-F238E27FC236}">
                    <a16:creationId xmlns:a16="http://schemas.microsoft.com/office/drawing/2014/main" id="{72DC41B4-D49C-4279-8D2D-9EEF6E523F8B}"/>
                  </a:ext>
                </a:extLst>
              </p:cNvPr>
              <p:cNvSpPr/>
              <p:nvPr/>
            </p:nvSpPr>
            <p:spPr bwMode="auto">
              <a:xfrm>
                <a:off x="9394158" y="2095500"/>
                <a:ext cx="265163" cy="354453"/>
              </a:xfrm>
              <a:custGeom>
                <a:avLst/>
                <a:gdLst>
                  <a:gd name="connsiteX0" fmla="*/ 367553 w 878541"/>
                  <a:gd name="connsiteY0" fmla="*/ 1174377 h 1174377"/>
                  <a:gd name="connsiteX1" fmla="*/ 0 w 878541"/>
                  <a:gd name="connsiteY1" fmla="*/ 1174377 h 1174377"/>
                  <a:gd name="connsiteX2" fmla="*/ 0 w 878541"/>
                  <a:gd name="connsiteY2" fmla="*/ 179294 h 1174377"/>
                  <a:gd name="connsiteX3" fmla="*/ 179294 w 878541"/>
                  <a:gd name="connsiteY3" fmla="*/ 0 h 1174377"/>
                  <a:gd name="connsiteX4" fmla="*/ 878541 w 878541"/>
                  <a:gd name="connsiteY4" fmla="*/ 0 h 1174377"/>
                  <a:gd name="connsiteX5" fmla="*/ 878541 w 878541"/>
                  <a:gd name="connsiteY5" fmla="*/ 457200 h 117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541" h="1174377">
                    <a:moveTo>
                      <a:pt x="367553" y="1174377"/>
                    </a:moveTo>
                    <a:lnTo>
                      <a:pt x="0" y="1174377"/>
                    </a:lnTo>
                    <a:lnTo>
                      <a:pt x="0" y="179294"/>
                    </a:lnTo>
                    <a:lnTo>
                      <a:pt x="179294" y="0"/>
                    </a:lnTo>
                    <a:lnTo>
                      <a:pt x="878541" y="0"/>
                    </a:lnTo>
                    <a:lnTo>
                      <a:pt x="878541" y="457200"/>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02F7FE2B-CBE1-43C7-8765-823AAFAE60C5}"/>
                  </a:ext>
                </a:extLst>
              </p:cNvPr>
              <p:cNvGrpSpPr/>
              <p:nvPr/>
            </p:nvGrpSpPr>
            <p:grpSpPr>
              <a:xfrm>
                <a:off x="9539576" y="2249677"/>
                <a:ext cx="143798" cy="209846"/>
                <a:chOff x="1103506" y="2567788"/>
                <a:chExt cx="405526" cy="591791"/>
              </a:xfrm>
            </p:grpSpPr>
            <p:sp>
              <p:nvSpPr>
                <p:cNvPr id="226" name="Freeform: Shape 225">
                  <a:extLst>
                    <a:ext uri="{FF2B5EF4-FFF2-40B4-BE49-F238E27FC236}">
                      <a16:creationId xmlns:a16="http://schemas.microsoft.com/office/drawing/2014/main" id="{E5A5E7B8-270C-4089-B4EC-1DC56AA263C8}"/>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Light" panose="020F0302020204030204"/>
                    <a:ea typeface="+mn-ea"/>
                    <a:cs typeface="+mn-cs"/>
                  </a:endParaRPr>
                </a:p>
              </p:txBody>
            </p:sp>
            <p:sp>
              <p:nvSpPr>
                <p:cNvPr id="227" name="Rectangle 226">
                  <a:extLst>
                    <a:ext uri="{FF2B5EF4-FFF2-40B4-BE49-F238E27FC236}">
                      <a16:creationId xmlns:a16="http://schemas.microsoft.com/office/drawing/2014/main" id="{0EE236CA-E37E-47F0-84F5-4B1599DEEC21}"/>
                    </a:ext>
                  </a:extLst>
                </p:cNvPr>
                <p:cNvSpPr/>
                <p:nvPr/>
              </p:nvSpPr>
              <p:spPr bwMode="auto">
                <a:xfrm>
                  <a:off x="1103506" y="2816110"/>
                  <a:ext cx="405526" cy="343469"/>
                </a:xfrm>
                <a:prstGeom prst="rect">
                  <a:avLst/>
                </a:prstGeom>
                <a:solidFill>
                  <a:srgbClr val="FFFFFF"/>
                </a:solid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Light" panose="020F0302020204030204"/>
                    <a:ea typeface="+mn-ea"/>
                    <a:cs typeface="+mn-cs"/>
                  </a:endParaRPr>
                </a:p>
              </p:txBody>
            </p:sp>
          </p:grpSp>
        </p:grpSp>
      </p:grpSp>
      <p:grpSp>
        <p:nvGrpSpPr>
          <p:cNvPr id="228" name="Group 227">
            <a:extLst>
              <a:ext uri="{FF2B5EF4-FFF2-40B4-BE49-F238E27FC236}">
                <a16:creationId xmlns:a16="http://schemas.microsoft.com/office/drawing/2014/main" id="{415C4851-5ADF-41CE-8874-2A9B017A8F1E}"/>
              </a:ext>
            </a:extLst>
          </p:cNvPr>
          <p:cNvGrpSpPr/>
          <p:nvPr/>
        </p:nvGrpSpPr>
        <p:grpSpPr>
          <a:xfrm>
            <a:off x="10509506" y="3071032"/>
            <a:ext cx="585444" cy="377528"/>
            <a:chOff x="4519600" y="4701742"/>
            <a:chExt cx="1295847" cy="835638"/>
          </a:xfrm>
        </p:grpSpPr>
        <p:grpSp>
          <p:nvGrpSpPr>
            <p:cNvPr id="229" name="Group 228">
              <a:extLst>
                <a:ext uri="{FF2B5EF4-FFF2-40B4-BE49-F238E27FC236}">
                  <a16:creationId xmlns:a16="http://schemas.microsoft.com/office/drawing/2014/main" id="{485F41FD-99E8-40D7-9A86-55CA6A80FD48}"/>
                </a:ext>
              </a:extLst>
            </p:cNvPr>
            <p:cNvGrpSpPr/>
            <p:nvPr/>
          </p:nvGrpSpPr>
          <p:grpSpPr>
            <a:xfrm>
              <a:off x="4736162" y="4701742"/>
              <a:ext cx="1079285" cy="681455"/>
              <a:chOff x="992778" y="1508263"/>
              <a:chExt cx="2777318" cy="1753581"/>
            </a:xfrm>
          </p:grpSpPr>
          <p:sp useBgFill="1">
            <p:nvSpPr>
              <p:cNvPr id="265" name="Freeform 52">
                <a:extLst>
                  <a:ext uri="{FF2B5EF4-FFF2-40B4-BE49-F238E27FC236}">
                    <a16:creationId xmlns:a16="http://schemas.microsoft.com/office/drawing/2014/main" id="{90D885C0-DDC4-42AB-9935-C3D44A342880}"/>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6" name="Line 54">
                <a:extLst>
                  <a:ext uri="{FF2B5EF4-FFF2-40B4-BE49-F238E27FC236}">
                    <a16:creationId xmlns:a16="http://schemas.microsoft.com/office/drawing/2014/main" id="{59671296-7CC2-49D7-92B2-021B5ED00376}"/>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7" name="Line 55">
                <a:extLst>
                  <a:ext uri="{FF2B5EF4-FFF2-40B4-BE49-F238E27FC236}">
                    <a16:creationId xmlns:a16="http://schemas.microsoft.com/office/drawing/2014/main" id="{B72794EE-BA1D-4009-8D08-793AACA7FDDF}"/>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8" name="Line 56">
                <a:extLst>
                  <a:ext uri="{FF2B5EF4-FFF2-40B4-BE49-F238E27FC236}">
                    <a16:creationId xmlns:a16="http://schemas.microsoft.com/office/drawing/2014/main" id="{6B2DEFBA-0B87-483A-A832-08BD87DD2398}"/>
                  </a:ext>
                </a:extLst>
              </p:cNvPr>
              <p:cNvSpPr>
                <a:spLocks noChangeShapeType="1"/>
              </p:cNvSpPr>
              <p:nvPr/>
            </p:nvSpPr>
            <p:spPr bwMode="auto">
              <a:xfrm flipH="1">
                <a:off x="2430969" y="2629965"/>
                <a:ext cx="1123608"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9" name="Freeform 57">
                <a:extLst>
                  <a:ext uri="{FF2B5EF4-FFF2-40B4-BE49-F238E27FC236}">
                    <a16:creationId xmlns:a16="http://schemas.microsoft.com/office/drawing/2014/main" id="{B582C8EE-8010-4162-AD15-CC5CAE94E592}"/>
                  </a:ext>
                </a:extLst>
              </p:cNvPr>
              <p:cNvSpPr>
                <a:spLocks noChangeArrowheads="1"/>
              </p:cNvSpPr>
              <p:nvPr/>
            </p:nvSpPr>
            <p:spPr bwMode="auto">
              <a:xfrm>
                <a:off x="2945530" y="2084042"/>
                <a:ext cx="298793" cy="298795"/>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0" name="Freeform 58">
                <a:extLst>
                  <a:ext uri="{FF2B5EF4-FFF2-40B4-BE49-F238E27FC236}">
                    <a16:creationId xmlns:a16="http://schemas.microsoft.com/office/drawing/2014/main" id="{F359F9DB-0184-4960-BE80-C435E167D92D}"/>
                  </a:ext>
                </a:extLst>
              </p:cNvPr>
              <p:cNvSpPr>
                <a:spLocks noChangeArrowheads="1"/>
              </p:cNvSpPr>
              <p:nvPr/>
            </p:nvSpPr>
            <p:spPr bwMode="auto">
              <a:xfrm>
                <a:off x="2301625" y="2075383"/>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1" name="Freeform 60">
                <a:extLst>
                  <a:ext uri="{FF2B5EF4-FFF2-40B4-BE49-F238E27FC236}">
                    <a16:creationId xmlns:a16="http://schemas.microsoft.com/office/drawing/2014/main" id="{E9949C96-F7DC-4932-A00F-979A80A88C81}"/>
                  </a:ext>
                </a:extLst>
              </p:cNvPr>
              <p:cNvSpPr>
                <a:spLocks noChangeArrowheads="1"/>
              </p:cNvSpPr>
              <p:nvPr/>
            </p:nvSpPr>
            <p:spPr bwMode="auto">
              <a:xfrm>
                <a:off x="2597752" y="1736269"/>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2" name="Freeform 61">
                <a:extLst>
                  <a:ext uri="{FF2B5EF4-FFF2-40B4-BE49-F238E27FC236}">
                    <a16:creationId xmlns:a16="http://schemas.microsoft.com/office/drawing/2014/main" id="{B9866760-65E7-4891-BA80-67CB225582D0}"/>
                  </a:ext>
                </a:extLst>
              </p:cNvPr>
              <p:cNvSpPr>
                <a:spLocks noChangeArrowheads="1"/>
              </p:cNvSpPr>
              <p:nvPr/>
            </p:nvSpPr>
            <p:spPr bwMode="auto">
              <a:xfrm>
                <a:off x="3298205" y="1736269"/>
                <a:ext cx="298793"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cxnSp>
            <p:nvCxnSpPr>
              <p:cNvPr id="273" name="Straight Connector 272">
                <a:extLst>
                  <a:ext uri="{FF2B5EF4-FFF2-40B4-BE49-F238E27FC236}">
                    <a16:creationId xmlns:a16="http://schemas.microsoft.com/office/drawing/2014/main" id="{541D3765-B120-40AD-BA18-B66FE2007662}"/>
                  </a:ext>
                </a:extLst>
              </p:cNvPr>
              <p:cNvCxnSpPr>
                <a:stCxn id="271" idx="3"/>
                <a:endCxn id="270" idx="7"/>
              </p:cNvCxnSpPr>
              <p:nvPr/>
            </p:nvCxnSpPr>
            <p:spPr>
              <a:xfrm flipH="1">
                <a:off x="2556664" y="1991305"/>
                <a:ext cx="84847" cy="12783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228CDE2-3959-41FF-AE89-A80B587ADA97}"/>
                  </a:ext>
                </a:extLst>
              </p:cNvPr>
              <p:cNvCxnSpPr>
                <a:cxnSpLocks/>
                <a:stCxn id="271" idx="5"/>
                <a:endCxn id="269" idx="1"/>
              </p:cNvCxnSpPr>
              <p:nvPr/>
            </p:nvCxnSpPr>
            <p:spPr>
              <a:xfrm>
                <a:off x="2852791" y="1991305"/>
                <a:ext cx="1364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F621B04A-8536-43AE-9A84-234526D45ECE}"/>
                  </a:ext>
                </a:extLst>
              </p:cNvPr>
              <p:cNvCxnSpPr>
                <a:cxnSpLocks/>
                <a:stCxn id="269" idx="7"/>
                <a:endCxn id="272" idx="3"/>
              </p:cNvCxnSpPr>
              <p:nvPr/>
            </p:nvCxnSpPr>
            <p:spPr>
              <a:xfrm flipV="1">
                <a:off x="3200567" y="1991305"/>
                <a:ext cx="1413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2B9F4FC9-1DF9-492E-98A8-BDEE8C532F85}"/>
                </a:ext>
              </a:extLst>
            </p:cNvPr>
            <p:cNvGrpSpPr/>
            <p:nvPr/>
          </p:nvGrpSpPr>
          <p:grpSpPr>
            <a:xfrm flipH="1">
              <a:off x="4790731" y="4757456"/>
              <a:ext cx="421180" cy="573360"/>
              <a:chOff x="6114879" y="4904463"/>
              <a:chExt cx="421180" cy="573360"/>
            </a:xfrm>
          </p:grpSpPr>
          <p:sp>
            <p:nvSpPr>
              <p:cNvPr id="245" name="Freeform 22">
                <a:extLst>
                  <a:ext uri="{FF2B5EF4-FFF2-40B4-BE49-F238E27FC236}">
                    <a16:creationId xmlns:a16="http://schemas.microsoft.com/office/drawing/2014/main" id="{56FC6D5A-993A-4E18-988C-1411499075E0}"/>
                  </a:ext>
                </a:extLst>
              </p:cNvPr>
              <p:cNvSpPr>
                <a:spLocks/>
              </p:cNvSpPr>
              <p:nvPr/>
            </p:nvSpPr>
            <p:spPr bwMode="auto">
              <a:xfrm>
                <a:off x="6237157"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23">
                <a:extLst>
                  <a:ext uri="{FF2B5EF4-FFF2-40B4-BE49-F238E27FC236}">
                    <a16:creationId xmlns:a16="http://schemas.microsoft.com/office/drawing/2014/main" id="{A728B4BA-0AF3-48BA-A09D-44FFB92DDACC}"/>
                  </a:ext>
                </a:extLst>
              </p:cNvPr>
              <p:cNvSpPr>
                <a:spLocks/>
              </p:cNvSpPr>
              <p:nvPr/>
            </p:nvSpPr>
            <p:spPr bwMode="auto">
              <a:xfrm>
                <a:off x="6415140"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24">
                <a:extLst>
                  <a:ext uri="{FF2B5EF4-FFF2-40B4-BE49-F238E27FC236}">
                    <a16:creationId xmlns:a16="http://schemas.microsoft.com/office/drawing/2014/main" id="{2B4E6D9F-5CE2-4951-9322-069C9FD66F65}"/>
                  </a:ext>
                </a:extLst>
              </p:cNvPr>
              <p:cNvSpPr>
                <a:spLocks/>
              </p:cNvSpPr>
              <p:nvPr/>
            </p:nvSpPr>
            <p:spPr bwMode="auto">
              <a:xfrm>
                <a:off x="6114879" y="4904463"/>
                <a:ext cx="63856"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25">
                <a:extLst>
                  <a:ext uri="{FF2B5EF4-FFF2-40B4-BE49-F238E27FC236}">
                    <a16:creationId xmlns:a16="http://schemas.microsoft.com/office/drawing/2014/main" id="{A4F73A0B-CCC0-4401-9EAA-D6AE09EC44EE}"/>
                  </a:ext>
                </a:extLst>
              </p:cNvPr>
              <p:cNvSpPr>
                <a:spLocks/>
              </p:cNvSpPr>
              <p:nvPr/>
            </p:nvSpPr>
            <p:spPr bwMode="auto">
              <a:xfrm>
                <a:off x="6295579" y="4904463"/>
                <a:ext cx="59780" cy="97823"/>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Freeform 26">
                <a:extLst>
                  <a:ext uri="{FF2B5EF4-FFF2-40B4-BE49-F238E27FC236}">
                    <a16:creationId xmlns:a16="http://schemas.microsoft.com/office/drawing/2014/main" id="{3152E7BF-1584-43D1-BCE8-0CA8B933FCCC}"/>
                  </a:ext>
                </a:extLst>
              </p:cNvPr>
              <p:cNvSpPr>
                <a:spLocks/>
              </p:cNvSpPr>
              <p:nvPr/>
            </p:nvSpPr>
            <p:spPr bwMode="auto">
              <a:xfrm>
                <a:off x="6473561" y="4904463"/>
                <a:ext cx="62498"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28">
                <a:extLst>
                  <a:ext uri="{FF2B5EF4-FFF2-40B4-BE49-F238E27FC236}">
                    <a16:creationId xmlns:a16="http://schemas.microsoft.com/office/drawing/2014/main" id="{C000E524-8D09-4F1A-A12C-D67A3ACFFA31}"/>
                  </a:ext>
                </a:extLst>
              </p:cNvPr>
              <p:cNvSpPr>
                <a:spLocks/>
              </p:cNvSpPr>
              <p:nvPr/>
            </p:nvSpPr>
            <p:spPr bwMode="auto">
              <a:xfrm>
                <a:off x="6237157"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29">
                <a:extLst>
                  <a:ext uri="{FF2B5EF4-FFF2-40B4-BE49-F238E27FC236}">
                    <a16:creationId xmlns:a16="http://schemas.microsoft.com/office/drawing/2014/main" id="{F0D79AD5-66F8-45BE-A7A9-DBC238403638}"/>
                  </a:ext>
                </a:extLst>
              </p:cNvPr>
              <p:cNvSpPr>
                <a:spLocks/>
              </p:cNvSpPr>
              <p:nvPr/>
            </p:nvSpPr>
            <p:spPr bwMode="auto">
              <a:xfrm>
                <a:off x="6415140"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0">
                <a:extLst>
                  <a:ext uri="{FF2B5EF4-FFF2-40B4-BE49-F238E27FC236}">
                    <a16:creationId xmlns:a16="http://schemas.microsoft.com/office/drawing/2014/main" id="{F2285CF7-8AD8-4F38-B2C3-DCF44AE45EBD}"/>
                  </a:ext>
                </a:extLst>
              </p:cNvPr>
              <p:cNvSpPr>
                <a:spLocks/>
              </p:cNvSpPr>
              <p:nvPr/>
            </p:nvSpPr>
            <p:spPr bwMode="auto">
              <a:xfrm>
                <a:off x="6114879" y="5226462"/>
                <a:ext cx="63856"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1">
                <a:extLst>
                  <a:ext uri="{FF2B5EF4-FFF2-40B4-BE49-F238E27FC236}">
                    <a16:creationId xmlns:a16="http://schemas.microsoft.com/office/drawing/2014/main" id="{06EBD697-4EAA-46D2-9E18-A5DF86DCA231}"/>
                  </a:ext>
                </a:extLst>
              </p:cNvPr>
              <p:cNvSpPr>
                <a:spLocks/>
              </p:cNvSpPr>
              <p:nvPr/>
            </p:nvSpPr>
            <p:spPr bwMode="auto">
              <a:xfrm>
                <a:off x="6295579" y="5226462"/>
                <a:ext cx="59780" cy="97823"/>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2">
                <a:extLst>
                  <a:ext uri="{FF2B5EF4-FFF2-40B4-BE49-F238E27FC236}">
                    <a16:creationId xmlns:a16="http://schemas.microsoft.com/office/drawing/2014/main" id="{337FF52A-FFD4-4300-B9A7-D6065DF85023}"/>
                  </a:ext>
                </a:extLst>
              </p:cNvPr>
              <p:cNvSpPr>
                <a:spLocks/>
              </p:cNvSpPr>
              <p:nvPr/>
            </p:nvSpPr>
            <p:spPr bwMode="auto">
              <a:xfrm>
                <a:off x="6473561" y="5226462"/>
                <a:ext cx="62498"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3">
                <a:extLst>
                  <a:ext uri="{FF2B5EF4-FFF2-40B4-BE49-F238E27FC236}">
                    <a16:creationId xmlns:a16="http://schemas.microsoft.com/office/drawing/2014/main" id="{51663CF1-7708-4571-A7AA-EC9E86F160B2}"/>
                  </a:ext>
                </a:extLst>
              </p:cNvPr>
              <p:cNvSpPr>
                <a:spLocks/>
              </p:cNvSpPr>
              <p:nvPr/>
            </p:nvSpPr>
            <p:spPr bwMode="auto">
              <a:xfrm>
                <a:off x="6178735"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6" name="Freeform 34">
                <a:extLst>
                  <a:ext uri="{FF2B5EF4-FFF2-40B4-BE49-F238E27FC236}">
                    <a16:creationId xmlns:a16="http://schemas.microsoft.com/office/drawing/2014/main" id="{D9839F9B-CD3B-4E97-81D8-CFDBA38428D2}"/>
                  </a:ext>
                </a:extLst>
              </p:cNvPr>
              <p:cNvSpPr>
                <a:spLocks/>
              </p:cNvSpPr>
              <p:nvPr/>
            </p:nvSpPr>
            <p:spPr bwMode="auto">
              <a:xfrm>
                <a:off x="63553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Freeform 36">
                <a:extLst>
                  <a:ext uri="{FF2B5EF4-FFF2-40B4-BE49-F238E27FC236}">
                    <a16:creationId xmlns:a16="http://schemas.microsoft.com/office/drawing/2014/main" id="{602AD0A6-0100-4221-B98B-DF06B020743D}"/>
                  </a:ext>
                </a:extLst>
              </p:cNvPr>
              <p:cNvSpPr>
                <a:spLocks/>
              </p:cNvSpPr>
              <p:nvPr/>
            </p:nvSpPr>
            <p:spPr bwMode="auto">
              <a:xfrm>
                <a:off x="6237157"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37">
                <a:extLst>
                  <a:ext uri="{FF2B5EF4-FFF2-40B4-BE49-F238E27FC236}">
                    <a16:creationId xmlns:a16="http://schemas.microsoft.com/office/drawing/2014/main" id="{B2031F70-4377-44B3-94BB-F4767D7DFA71}"/>
                  </a:ext>
                </a:extLst>
              </p:cNvPr>
              <p:cNvSpPr>
                <a:spLocks/>
              </p:cNvSpPr>
              <p:nvPr/>
            </p:nvSpPr>
            <p:spPr bwMode="auto">
              <a:xfrm>
                <a:off x="6415140"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Freeform 38">
                <a:extLst>
                  <a:ext uri="{FF2B5EF4-FFF2-40B4-BE49-F238E27FC236}">
                    <a16:creationId xmlns:a16="http://schemas.microsoft.com/office/drawing/2014/main" id="{6BBB7752-0972-4426-9633-3E521E7C76D5}"/>
                  </a:ext>
                </a:extLst>
              </p:cNvPr>
              <p:cNvSpPr>
                <a:spLocks/>
              </p:cNvSpPr>
              <p:nvPr/>
            </p:nvSpPr>
            <p:spPr bwMode="auto">
              <a:xfrm>
                <a:off x="65360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C9079562-8C0B-478A-97FB-168FE6F6B5DE}"/>
                  </a:ext>
                </a:extLst>
              </p:cNvPr>
              <p:cNvSpPr>
                <a:spLocks/>
              </p:cNvSpPr>
              <p:nvPr/>
            </p:nvSpPr>
            <p:spPr bwMode="auto">
              <a:xfrm>
                <a:off x="6178735"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4">
                <a:extLst>
                  <a:ext uri="{FF2B5EF4-FFF2-40B4-BE49-F238E27FC236}">
                    <a16:creationId xmlns:a16="http://schemas.microsoft.com/office/drawing/2014/main" id="{AFAF9165-8130-4097-A301-805E4815D013}"/>
                  </a:ext>
                </a:extLst>
              </p:cNvPr>
              <p:cNvSpPr>
                <a:spLocks/>
              </p:cNvSpPr>
              <p:nvPr/>
            </p:nvSpPr>
            <p:spPr bwMode="auto">
              <a:xfrm>
                <a:off x="63553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6">
                <a:extLst>
                  <a:ext uri="{FF2B5EF4-FFF2-40B4-BE49-F238E27FC236}">
                    <a16:creationId xmlns:a16="http://schemas.microsoft.com/office/drawing/2014/main" id="{0F8849FA-DB3F-4A1D-AF3D-21681EDB15C3}"/>
                  </a:ext>
                </a:extLst>
              </p:cNvPr>
              <p:cNvSpPr>
                <a:spLocks/>
              </p:cNvSpPr>
              <p:nvPr/>
            </p:nvSpPr>
            <p:spPr bwMode="auto">
              <a:xfrm>
                <a:off x="6237157"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7">
                <a:extLst>
                  <a:ext uri="{FF2B5EF4-FFF2-40B4-BE49-F238E27FC236}">
                    <a16:creationId xmlns:a16="http://schemas.microsoft.com/office/drawing/2014/main" id="{8836D527-6AA2-4BA9-BAD7-E24202228BE2}"/>
                  </a:ext>
                </a:extLst>
              </p:cNvPr>
              <p:cNvSpPr>
                <a:spLocks/>
              </p:cNvSpPr>
              <p:nvPr/>
            </p:nvSpPr>
            <p:spPr bwMode="auto">
              <a:xfrm>
                <a:off x="6415140"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Freeform 38">
                <a:extLst>
                  <a:ext uri="{FF2B5EF4-FFF2-40B4-BE49-F238E27FC236}">
                    <a16:creationId xmlns:a16="http://schemas.microsoft.com/office/drawing/2014/main" id="{1D7A59D6-A731-47A4-AECA-0DD35EDBABAC}"/>
                  </a:ext>
                </a:extLst>
              </p:cNvPr>
              <p:cNvSpPr>
                <a:spLocks/>
              </p:cNvSpPr>
              <p:nvPr/>
            </p:nvSpPr>
            <p:spPr bwMode="auto">
              <a:xfrm>
                <a:off x="65360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1" name="Group 230">
              <a:extLst>
                <a:ext uri="{FF2B5EF4-FFF2-40B4-BE49-F238E27FC236}">
                  <a16:creationId xmlns:a16="http://schemas.microsoft.com/office/drawing/2014/main" id="{9483DC84-42B7-41FB-B87B-7A26ED2AEE9D}"/>
                </a:ext>
              </a:extLst>
            </p:cNvPr>
            <p:cNvGrpSpPr/>
            <p:nvPr/>
          </p:nvGrpSpPr>
          <p:grpSpPr>
            <a:xfrm>
              <a:off x="4519600" y="5105285"/>
              <a:ext cx="588354" cy="432095"/>
              <a:chOff x="4519600" y="5105285"/>
              <a:chExt cx="588354" cy="432095"/>
            </a:xfrm>
          </p:grpSpPr>
          <p:sp useBgFill="1">
            <p:nvSpPr>
              <p:cNvPr id="232" name="Freeform 66">
                <a:extLst>
                  <a:ext uri="{FF2B5EF4-FFF2-40B4-BE49-F238E27FC236}">
                    <a16:creationId xmlns:a16="http://schemas.microsoft.com/office/drawing/2014/main" id="{CEBCE757-8EB1-4EFC-B6C7-DE4C357E2450}"/>
                  </a:ext>
                </a:extLst>
              </p:cNvPr>
              <p:cNvSpPr>
                <a:spLocks noChangeArrowheads="1"/>
              </p:cNvSpPr>
              <p:nvPr/>
            </p:nvSpPr>
            <p:spPr bwMode="auto">
              <a:xfrm>
                <a:off x="4519600" y="5105285"/>
                <a:ext cx="588354" cy="43209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233" name="Group 232">
                <a:extLst>
                  <a:ext uri="{FF2B5EF4-FFF2-40B4-BE49-F238E27FC236}">
                    <a16:creationId xmlns:a16="http://schemas.microsoft.com/office/drawing/2014/main" id="{45285E7D-C341-47F7-8D7E-6D30D690D7D0}"/>
                  </a:ext>
                </a:extLst>
              </p:cNvPr>
              <p:cNvGrpSpPr/>
              <p:nvPr/>
            </p:nvGrpSpPr>
            <p:grpSpPr>
              <a:xfrm>
                <a:off x="4883402" y="5290247"/>
                <a:ext cx="147374" cy="163703"/>
                <a:chOff x="1619756" y="3207967"/>
                <a:chExt cx="406559" cy="313488"/>
              </a:xfrm>
            </p:grpSpPr>
            <p:sp useBgFill="1">
              <p:nvSpPr>
                <p:cNvPr id="240" name="Line 68">
                  <a:extLst>
                    <a:ext uri="{FF2B5EF4-FFF2-40B4-BE49-F238E27FC236}">
                      <a16:creationId xmlns:a16="http://schemas.microsoft.com/office/drawing/2014/main" id="{B7EEDC5C-9CFB-4AE8-979B-A9E5B690EEDE}"/>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1" name="Line 69">
                  <a:extLst>
                    <a:ext uri="{FF2B5EF4-FFF2-40B4-BE49-F238E27FC236}">
                      <a16:creationId xmlns:a16="http://schemas.microsoft.com/office/drawing/2014/main" id="{2901B23C-F88A-4187-BEDD-3C756DCC6E2B}"/>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2" name="Line 70">
                  <a:extLst>
                    <a:ext uri="{FF2B5EF4-FFF2-40B4-BE49-F238E27FC236}">
                      <a16:creationId xmlns:a16="http://schemas.microsoft.com/office/drawing/2014/main" id="{45F554E1-0D30-4769-A3BD-9A945B3E78DE}"/>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3" name="Line 71">
                  <a:extLst>
                    <a:ext uri="{FF2B5EF4-FFF2-40B4-BE49-F238E27FC236}">
                      <a16:creationId xmlns:a16="http://schemas.microsoft.com/office/drawing/2014/main" id="{30BFFAA6-4DEE-4AE2-9083-CF6F642D9507}"/>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4" name="Line 72">
                  <a:extLst>
                    <a:ext uri="{FF2B5EF4-FFF2-40B4-BE49-F238E27FC236}">
                      <a16:creationId xmlns:a16="http://schemas.microsoft.com/office/drawing/2014/main" id="{57B43827-29F5-4523-AD01-B036AAD0826D}"/>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useBgFill="1">
            <p:nvSpPr>
              <p:cNvPr id="234" name="Line 78">
                <a:extLst>
                  <a:ext uri="{FF2B5EF4-FFF2-40B4-BE49-F238E27FC236}">
                    <a16:creationId xmlns:a16="http://schemas.microsoft.com/office/drawing/2014/main" id="{C3DF8EC0-3215-496B-B599-E26F4AFC4B06}"/>
                  </a:ext>
                </a:extLst>
              </p:cNvPr>
              <p:cNvSpPr>
                <a:spLocks noChangeShapeType="1"/>
              </p:cNvSpPr>
              <p:nvPr/>
            </p:nvSpPr>
            <p:spPr bwMode="auto">
              <a:xfrm>
                <a:off x="4903240" y="5225528"/>
                <a:ext cx="10524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5" name="Line 79">
                <a:extLst>
                  <a:ext uri="{FF2B5EF4-FFF2-40B4-BE49-F238E27FC236}">
                    <a16:creationId xmlns:a16="http://schemas.microsoft.com/office/drawing/2014/main" id="{EF1AE252-7CD9-498B-A11A-6E9C7BB047A9}"/>
                  </a:ext>
                </a:extLst>
              </p:cNvPr>
              <p:cNvSpPr>
                <a:spLocks noChangeShapeType="1"/>
              </p:cNvSpPr>
              <p:nvPr/>
            </p:nvSpPr>
            <p:spPr bwMode="auto">
              <a:xfrm>
                <a:off x="4987710" y="5177941"/>
                <a:ext cx="43067"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6" name="Line 80">
                <a:extLst>
                  <a:ext uri="{FF2B5EF4-FFF2-40B4-BE49-F238E27FC236}">
                    <a16:creationId xmlns:a16="http://schemas.microsoft.com/office/drawing/2014/main" id="{8E632126-E358-4AAB-88C1-A0B0A159E1FD}"/>
                  </a:ext>
                </a:extLst>
              </p:cNvPr>
              <p:cNvSpPr>
                <a:spLocks noChangeShapeType="1"/>
              </p:cNvSpPr>
              <p:nvPr/>
            </p:nvSpPr>
            <p:spPr bwMode="auto">
              <a:xfrm>
                <a:off x="4903240" y="5177941"/>
                <a:ext cx="3650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7" name="Freeform 81">
                <a:extLst>
                  <a:ext uri="{FF2B5EF4-FFF2-40B4-BE49-F238E27FC236}">
                    <a16:creationId xmlns:a16="http://schemas.microsoft.com/office/drawing/2014/main" id="{68915404-ACF1-4193-A115-5BCE354DA40D}"/>
                  </a:ext>
                </a:extLst>
              </p:cNvPr>
              <p:cNvSpPr>
                <a:spLocks noChangeArrowheads="1"/>
              </p:cNvSpPr>
              <p:nvPr/>
            </p:nvSpPr>
            <p:spPr bwMode="auto">
              <a:xfrm>
                <a:off x="4955788" y="5170003"/>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8" name="Freeform 82">
                <a:extLst>
                  <a:ext uri="{FF2B5EF4-FFF2-40B4-BE49-F238E27FC236}">
                    <a16:creationId xmlns:a16="http://schemas.microsoft.com/office/drawing/2014/main" id="{E29877BB-9189-4C7B-BDD5-6997B8625B7E}"/>
                  </a:ext>
                </a:extLst>
              </p:cNvPr>
              <p:cNvSpPr>
                <a:spLocks noChangeArrowheads="1"/>
              </p:cNvSpPr>
              <p:nvPr/>
            </p:nvSpPr>
            <p:spPr bwMode="auto">
              <a:xfrm>
                <a:off x="5023162" y="5217590"/>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239" name="Freeform 5">
                <a:extLst>
                  <a:ext uri="{FF2B5EF4-FFF2-40B4-BE49-F238E27FC236}">
                    <a16:creationId xmlns:a16="http://schemas.microsoft.com/office/drawing/2014/main" id="{DF6E2D86-3B16-43EF-AD38-C5C519BAEA81}"/>
                  </a:ext>
                </a:extLst>
              </p:cNvPr>
              <p:cNvSpPr>
                <a:spLocks noEditPoints="1"/>
              </p:cNvSpPr>
              <p:nvPr/>
            </p:nvSpPr>
            <p:spPr bwMode="auto">
              <a:xfrm>
                <a:off x="4581006" y="5178415"/>
                <a:ext cx="252278" cy="281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71" name="Text Placeholder 13">
            <a:extLst>
              <a:ext uri="{FF2B5EF4-FFF2-40B4-BE49-F238E27FC236}">
                <a16:creationId xmlns:a16="http://schemas.microsoft.com/office/drawing/2014/main" id="{FF02B6E7-9664-4180-91DC-FAB1BE732C8A}"/>
              </a:ext>
            </a:extLst>
          </p:cNvPr>
          <p:cNvSpPr txBox="1">
            <a:spLocks/>
          </p:cNvSpPr>
          <p:nvPr/>
        </p:nvSpPr>
        <p:spPr>
          <a:xfrm>
            <a:off x="4897135"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cs typeface="Segoe UI Semilight" panose="020B0402040204020203" pitchFamily="34" charset="0"/>
              <a:sym typeface="Source Sans Pro"/>
            </a:endParaRPr>
          </a:p>
        </p:txBody>
      </p:sp>
      <p:sp>
        <p:nvSpPr>
          <p:cNvPr id="172" name="Text Placeholder 14">
            <a:extLst>
              <a:ext uri="{FF2B5EF4-FFF2-40B4-BE49-F238E27FC236}">
                <a16:creationId xmlns:a16="http://schemas.microsoft.com/office/drawing/2014/main" id="{660FA8BA-8CB9-47E2-8FAA-B1814FA1A164}"/>
              </a:ext>
            </a:extLst>
          </p:cNvPr>
          <p:cNvSpPr txBox="1">
            <a:spLocks/>
          </p:cNvSpPr>
          <p:nvPr/>
        </p:nvSpPr>
        <p:spPr>
          <a:xfrm>
            <a:off x="7194537"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cs typeface="Segoe UI Semilight" panose="020B0402040204020203" pitchFamily="34" charset="0"/>
              <a:sym typeface="Source Sans Pro"/>
            </a:endParaRPr>
          </a:p>
        </p:txBody>
      </p:sp>
      <p:sp>
        <p:nvSpPr>
          <p:cNvPr id="185" name="Freeform 3">
            <a:extLst>
              <a:ext uri="{FF2B5EF4-FFF2-40B4-BE49-F238E27FC236}">
                <a16:creationId xmlns:a16="http://schemas.microsoft.com/office/drawing/2014/main" id="{A5B799B9-B231-4C5F-9D83-14378D604DD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77">
            <a:extLst>
              <a:ext uri="{FF2B5EF4-FFF2-40B4-BE49-F238E27FC236}">
                <a16:creationId xmlns:a16="http://schemas.microsoft.com/office/drawing/2014/main" id="{D5CD2029-FAF6-45C3-984F-2EBBB57660E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179">
            <a:extLst>
              <a:ext uri="{FF2B5EF4-FFF2-40B4-BE49-F238E27FC236}">
                <a16:creationId xmlns:a16="http://schemas.microsoft.com/office/drawing/2014/main" id="{8ADE2EDE-03F6-4900-BB83-769C0B53ACED}"/>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81">
            <a:extLst>
              <a:ext uri="{FF2B5EF4-FFF2-40B4-BE49-F238E27FC236}">
                <a16:creationId xmlns:a16="http://schemas.microsoft.com/office/drawing/2014/main" id="{B193C1E3-5177-4F80-B85D-42AC2A1DB874}"/>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183">
            <a:extLst>
              <a:ext uri="{FF2B5EF4-FFF2-40B4-BE49-F238E27FC236}">
                <a16:creationId xmlns:a16="http://schemas.microsoft.com/office/drawing/2014/main" id="{579BB4C7-FA81-471F-91E5-3BB02C7C942E}"/>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1128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par>
                                <p:cTn id="8" presetID="10" presetClass="entr" presetSubtype="0" fill="hold" nodeType="withEffect">
                                  <p:stCondLst>
                                    <p:cond delay="0"/>
                                  </p:stCondLst>
                                  <p:childTnLst>
                                    <p:set>
                                      <p:cBhvr>
                                        <p:cTn id="9" dur="1" fill="hold">
                                          <p:stCondLst>
                                            <p:cond delay="0"/>
                                          </p:stCondLst>
                                        </p:cTn>
                                        <p:tgtEl>
                                          <p:spTgt spid="168"/>
                                        </p:tgtEl>
                                        <p:attrNameLst>
                                          <p:attrName>style.visibility</p:attrName>
                                        </p:attrNameLst>
                                      </p:cBhvr>
                                      <p:to>
                                        <p:strVal val="visible"/>
                                      </p:to>
                                    </p:set>
                                    <p:animEffect transition="in" filter="fade">
                                      <p:cBhvr>
                                        <p:cTn id="10" dur="500"/>
                                        <p:tgtEl>
                                          <p:spTgt spid="1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0"/>
                                        </p:tgtEl>
                                        <p:attrNameLst>
                                          <p:attrName>style.visibility</p:attrName>
                                        </p:attrNameLst>
                                      </p:cBhvr>
                                      <p:to>
                                        <p:strVal val="visible"/>
                                      </p:to>
                                    </p:set>
                                    <p:animEffect transition="in" filter="fade">
                                      <p:cBhvr>
                                        <p:cTn id="13" dur="500"/>
                                        <p:tgtEl>
                                          <p:spTgt spid="18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animEffect transition="in" filter="fade">
                                      <p:cBhvr>
                                        <p:cTn id="16" dur="500"/>
                                        <p:tgtEl>
                                          <p:spTgt spid="10">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animEffect transition="in" filter="fade">
                                      <p:cBhvr>
                                        <p:cTn id="19" dur="500"/>
                                        <p:tgtEl>
                                          <p:spTgt spid="4">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26"/>
                                        </p:tgtEl>
                                        <p:attrNameLst>
                                          <p:attrName>style.visibility</p:attrName>
                                        </p:attrNameLst>
                                      </p:cBhvr>
                                      <p:to>
                                        <p:strVal val="visible"/>
                                      </p:to>
                                    </p:set>
                                    <p:animEffect transition="in" filter="fade">
                                      <p:cBhvr>
                                        <p:cTn id="31" dur="500"/>
                                        <p:tgtEl>
                                          <p:spTgt spid="126"/>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24"/>
                                        </p:tgtEl>
                                        <p:attrNameLst>
                                          <p:attrName>style.opacity</p:attrName>
                                        </p:attrNameLst>
                                      </p:cBhvr>
                                      <p:to>
                                        <p:strVal val="0.1"/>
                                      </p:to>
                                    </p:set>
                                    <p:animEffect filter="image" prLst="opacity: 0.1">
                                      <p:cBhvr rctx="IE">
                                        <p:cTn id="36" dur="indefinite"/>
                                        <p:tgtEl>
                                          <p:spTgt spid="124"/>
                                        </p:tgtEl>
                                      </p:cBhvr>
                                    </p:animEffect>
                                  </p:childTnLst>
                                </p:cTn>
                              </p:par>
                              <p:par>
                                <p:cTn id="37" presetID="9" presetClass="emph" presetSubtype="0" nodeType="withEffect">
                                  <p:stCondLst>
                                    <p:cond delay="0"/>
                                  </p:stCondLst>
                                  <p:childTnLst>
                                    <p:set>
                                      <p:cBhvr>
                                        <p:cTn id="38" dur="indefinite"/>
                                        <p:tgtEl>
                                          <p:spTgt spid="168"/>
                                        </p:tgtEl>
                                        <p:attrNameLst>
                                          <p:attrName>style.opacity</p:attrName>
                                        </p:attrNameLst>
                                      </p:cBhvr>
                                      <p:to>
                                        <p:strVal val="0.1"/>
                                      </p:to>
                                    </p:set>
                                    <p:animEffect filter="image" prLst="opacity: 0.1">
                                      <p:cBhvr rctx="IE">
                                        <p:cTn id="39" dur="indefinite"/>
                                        <p:tgtEl>
                                          <p:spTgt spid="168"/>
                                        </p:tgtEl>
                                      </p:cBhvr>
                                    </p:animEffect>
                                  </p:childTnLst>
                                </p:cTn>
                              </p:par>
                              <p:par>
                                <p:cTn id="40" presetID="9" presetClass="emph" presetSubtype="0" grpId="1" nodeType="withEffect">
                                  <p:stCondLst>
                                    <p:cond delay="0"/>
                                  </p:stCondLst>
                                  <p:childTnLst>
                                    <p:set>
                                      <p:cBhvr>
                                        <p:cTn id="41" dur="indefinite"/>
                                        <p:tgtEl>
                                          <p:spTgt spid="180"/>
                                        </p:tgtEl>
                                        <p:attrNameLst>
                                          <p:attrName>style.opacity</p:attrName>
                                        </p:attrNameLst>
                                      </p:cBhvr>
                                      <p:to>
                                        <p:strVal val="0.1"/>
                                      </p:to>
                                    </p:set>
                                    <p:animEffect filter="image" prLst="opacity: 0.1">
                                      <p:cBhvr rctx="IE">
                                        <p:cTn id="42" dur="indefinite"/>
                                        <p:tgtEl>
                                          <p:spTgt spid="180"/>
                                        </p:tgtEl>
                                      </p:cBhvr>
                                    </p:animEffect>
                                  </p:childTnLst>
                                </p:cTn>
                              </p:par>
                              <p:par>
                                <p:cTn id="43" presetID="9" presetClass="emph" presetSubtype="0" grpId="1" nodeType="withEffect">
                                  <p:stCondLst>
                                    <p:cond delay="0"/>
                                  </p:stCondLst>
                                  <p:childTnLst>
                                    <p:set>
                                      <p:cBhvr>
                                        <p:cTn id="44" dur="indefinite"/>
                                        <p:tgtEl>
                                          <p:spTgt spid="10">
                                            <p:txEl>
                                              <p:pRg st="0" end="0"/>
                                            </p:txEl>
                                          </p:spTgt>
                                        </p:tgtEl>
                                        <p:attrNameLst>
                                          <p:attrName>style.opacity</p:attrName>
                                        </p:attrNameLst>
                                      </p:cBhvr>
                                      <p:to>
                                        <p:strVal val="0.1"/>
                                      </p:to>
                                    </p:set>
                                    <p:animEffect filter="image" prLst="opacity: 0.1">
                                      <p:cBhvr rctx="IE">
                                        <p:cTn id="45" dur="indefinite"/>
                                        <p:tgtEl>
                                          <p:spTgt spid="10">
                                            <p:txEl>
                                              <p:pRg st="0" end="0"/>
                                            </p:txEl>
                                          </p:spTgt>
                                        </p:tgtEl>
                                      </p:cBhvr>
                                    </p:animEffect>
                                  </p:childTnLst>
                                </p:cTn>
                              </p:par>
                              <p:par>
                                <p:cTn id="46" presetID="9" presetClass="emph" presetSubtype="0" grpId="1" nodeType="withEffect">
                                  <p:stCondLst>
                                    <p:cond delay="0"/>
                                  </p:stCondLst>
                                  <p:childTnLst>
                                    <p:set>
                                      <p:cBhvr>
                                        <p:cTn id="47" dur="indefinite"/>
                                        <p:tgtEl>
                                          <p:spTgt spid="4">
                                            <p:txEl>
                                              <p:pRg st="0" end="0"/>
                                            </p:txEl>
                                          </p:spTgt>
                                        </p:tgtEl>
                                        <p:attrNameLst>
                                          <p:attrName>style.opacity</p:attrName>
                                        </p:attrNameLst>
                                      </p:cBhvr>
                                      <p:to>
                                        <p:strVal val="0.1"/>
                                      </p:to>
                                    </p:set>
                                    <p:animEffect filter="image" prLst="opacity: 0.1">
                                      <p:cBhvr rctx="IE">
                                        <p:cTn id="48" dur="indefinite"/>
                                        <p:tgtEl>
                                          <p:spTgt spid="4">
                                            <p:txEl>
                                              <p:pRg st="0" end="0"/>
                                            </p:txEl>
                                          </p:spTgt>
                                        </p:tgtEl>
                                      </p:cBhvr>
                                    </p:animEffect>
                                  </p:childTnLst>
                                </p:cTn>
                              </p:par>
                              <p:par>
                                <p:cTn id="49" presetID="9" presetClass="emph" presetSubtype="0" grpId="1" nodeType="withEffect">
                                  <p:stCondLst>
                                    <p:cond delay="0"/>
                                  </p:stCondLst>
                                  <p:childTnLst>
                                    <p:set>
                                      <p:cBhvr>
                                        <p:cTn id="50" dur="indefinite"/>
                                        <p:tgtEl>
                                          <p:spTgt spid="9"/>
                                        </p:tgtEl>
                                        <p:attrNameLst>
                                          <p:attrName>style.opacity</p:attrName>
                                        </p:attrNameLst>
                                      </p:cBhvr>
                                      <p:to>
                                        <p:strVal val="0.1"/>
                                      </p:to>
                                    </p:set>
                                    <p:animEffect filter="image" prLst="opacity: 0.1">
                                      <p:cBhvr rctx="IE">
                                        <p:cTn id="51" dur="indefinite"/>
                                        <p:tgtEl>
                                          <p:spTgt spid="9"/>
                                        </p:tgtEl>
                                      </p:cBhvr>
                                    </p:animEffect>
                                  </p:childTnLst>
                                </p:cTn>
                              </p:par>
                              <p:par>
                                <p:cTn id="52" presetID="9" presetClass="emph" presetSubtype="0" grpId="1" nodeType="withEffect">
                                  <p:stCondLst>
                                    <p:cond delay="0"/>
                                  </p:stCondLst>
                                  <p:childTnLst>
                                    <p:set>
                                      <p:cBhvr>
                                        <p:cTn id="53" dur="indefinite"/>
                                        <p:tgtEl>
                                          <p:spTgt spid="18"/>
                                        </p:tgtEl>
                                        <p:attrNameLst>
                                          <p:attrName>style.opacity</p:attrName>
                                        </p:attrNameLst>
                                      </p:cBhvr>
                                      <p:to>
                                        <p:strVal val="0.1"/>
                                      </p:to>
                                    </p:set>
                                    <p:animEffect filter="image" prLst="opacity: 0.1">
                                      <p:cBhvr rctx="IE">
                                        <p:cTn id="54" dur="indefinite"/>
                                        <p:tgtEl>
                                          <p:spTgt spid="18"/>
                                        </p:tgtEl>
                                      </p:cBhvr>
                                    </p:animEffect>
                                  </p:childTnLst>
                                </p:cTn>
                              </p:par>
                              <p:par>
                                <p:cTn id="55" presetID="9" presetClass="emph" presetSubtype="0" grpId="1" nodeType="withEffect">
                                  <p:stCondLst>
                                    <p:cond delay="0"/>
                                  </p:stCondLst>
                                  <p:childTnLst>
                                    <p:set>
                                      <p:cBhvr>
                                        <p:cTn id="56" dur="indefinite"/>
                                        <p:tgtEl>
                                          <p:spTgt spid="24">
                                            <p:txEl>
                                              <p:pRg st="0" end="0"/>
                                            </p:txEl>
                                          </p:spTgt>
                                        </p:tgtEl>
                                        <p:attrNameLst>
                                          <p:attrName>style.opacity</p:attrName>
                                        </p:attrNameLst>
                                      </p:cBhvr>
                                      <p:to>
                                        <p:strVal val="0.1"/>
                                      </p:to>
                                    </p:set>
                                    <p:animEffect filter="image" prLst="opacity: 0.1">
                                      <p:cBhvr rctx="IE">
                                        <p:cTn id="57" dur="indefinite"/>
                                        <p:tgtEl>
                                          <p:spTgt spid="24">
                                            <p:txEl>
                                              <p:pRg st="0" end="0"/>
                                            </p:txEl>
                                          </p:spTgt>
                                        </p:tgtEl>
                                      </p:cBhvr>
                                    </p:animEffect>
                                  </p:childTnLst>
                                </p:cTn>
                              </p:par>
                              <p:par>
                                <p:cTn id="58" presetID="9" presetClass="emph" presetSubtype="0" nodeType="withEffect">
                                  <p:stCondLst>
                                    <p:cond delay="0"/>
                                  </p:stCondLst>
                                  <p:childTnLst>
                                    <p:set>
                                      <p:cBhvr>
                                        <p:cTn id="59" dur="indefinite"/>
                                        <p:tgtEl>
                                          <p:spTgt spid="126"/>
                                        </p:tgtEl>
                                        <p:attrNameLst>
                                          <p:attrName>style.opacity</p:attrName>
                                        </p:attrNameLst>
                                      </p:cBhvr>
                                      <p:to>
                                        <p:strVal val="0.1"/>
                                      </p:to>
                                    </p:set>
                                    <p:animEffect filter="image" prLst="opacity: 0.1">
                                      <p:cBhvr rctx="IE">
                                        <p:cTn id="60" dur="indefinite"/>
                                        <p:tgtEl>
                                          <p:spTgt spid="12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5"/>
                                        </p:tgtEl>
                                        <p:attrNameLst>
                                          <p:attrName>style.visibility</p:attrName>
                                        </p:attrNameLst>
                                      </p:cBhvr>
                                      <p:to>
                                        <p:strVal val="visible"/>
                                      </p:to>
                                    </p:set>
                                    <p:animEffect transition="in" filter="fade">
                                      <p:cBhvr>
                                        <p:cTn id="63" dur="500"/>
                                        <p:tgtEl>
                                          <p:spTgt spid="125"/>
                                        </p:tgtEl>
                                      </p:cBhvr>
                                    </p:animEffect>
                                  </p:childTnLst>
                                </p:cTn>
                              </p:par>
                              <p:par>
                                <p:cTn id="64" presetID="10" presetClass="entr" presetSubtype="0" fill="hold" nodeType="withEffect">
                                  <p:stCondLst>
                                    <p:cond delay="0"/>
                                  </p:stCondLst>
                                  <p:childTnLst>
                                    <p:set>
                                      <p:cBhvr>
                                        <p:cTn id="65" dur="1" fill="hold">
                                          <p:stCondLst>
                                            <p:cond delay="0"/>
                                          </p:stCondLst>
                                        </p:cTn>
                                        <p:tgtEl>
                                          <p:spTgt spid="169"/>
                                        </p:tgtEl>
                                        <p:attrNameLst>
                                          <p:attrName>style.visibility</p:attrName>
                                        </p:attrNameLst>
                                      </p:cBhvr>
                                      <p:to>
                                        <p:strVal val="visible"/>
                                      </p:to>
                                    </p:set>
                                    <p:animEffect transition="in" filter="fade">
                                      <p:cBhvr>
                                        <p:cTn id="66" dur="500"/>
                                        <p:tgtEl>
                                          <p:spTgt spid="16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1"/>
                                        </p:tgtEl>
                                        <p:attrNameLst>
                                          <p:attrName>style.visibility</p:attrName>
                                        </p:attrNameLst>
                                      </p:cBhvr>
                                      <p:to>
                                        <p:strVal val="visible"/>
                                      </p:to>
                                    </p:set>
                                    <p:animEffect transition="in" filter="fade">
                                      <p:cBhvr>
                                        <p:cTn id="69" dur="500"/>
                                        <p:tgtEl>
                                          <p:spTgt spid="18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1">
                                            <p:txEl>
                                              <p:pRg st="0" end="0"/>
                                            </p:txEl>
                                          </p:spTgt>
                                        </p:tgtEl>
                                        <p:attrNameLst>
                                          <p:attrName>style.visibility</p:attrName>
                                        </p:attrNameLst>
                                      </p:cBhvr>
                                      <p:to>
                                        <p:strVal val="visible"/>
                                      </p:to>
                                    </p:set>
                                    <p:animEffect transition="in" filter="fade">
                                      <p:cBhvr>
                                        <p:cTn id="72" dur="500"/>
                                        <p:tgtEl>
                                          <p:spTgt spid="11">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xEl>
                                              <p:pRg st="0" end="0"/>
                                            </p:txEl>
                                          </p:spTgt>
                                        </p:tgtEl>
                                        <p:attrNameLst>
                                          <p:attrName>style.visibility</p:attrName>
                                        </p:attrNameLst>
                                      </p:cBhvr>
                                      <p:to>
                                        <p:strVal val="visible"/>
                                      </p:to>
                                    </p:set>
                                    <p:animEffect transition="in" filter="fade">
                                      <p:cBhvr>
                                        <p:cTn id="75" dur="500"/>
                                        <p:tgtEl>
                                          <p:spTgt spid="5">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Effect transition="in" filter="fade">
                                      <p:cBhvr>
                                        <p:cTn id="81" dur="500"/>
                                        <p:tgtEl>
                                          <p:spTgt spid="1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5">
                                            <p:txEl>
                                              <p:pRg st="0" end="0"/>
                                            </p:txEl>
                                          </p:spTgt>
                                        </p:tgtEl>
                                        <p:attrNameLst>
                                          <p:attrName>style.visibility</p:attrName>
                                        </p:attrNameLst>
                                      </p:cBhvr>
                                      <p:to>
                                        <p:strVal val="visible"/>
                                      </p:to>
                                    </p:set>
                                    <p:animEffect transition="in" filter="fade">
                                      <p:cBhvr>
                                        <p:cTn id="84" dur="500"/>
                                        <p:tgtEl>
                                          <p:spTgt spid="25">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36"/>
                                        </p:tgtEl>
                                        <p:attrNameLst>
                                          <p:attrName>style.visibility</p:attrName>
                                        </p:attrNameLst>
                                      </p:cBhvr>
                                      <p:to>
                                        <p:strVal val="visible"/>
                                      </p:to>
                                    </p:set>
                                    <p:animEffect transition="in" filter="fade">
                                      <p:cBhvr>
                                        <p:cTn id="87" dur="500"/>
                                        <p:tgtEl>
                                          <p:spTgt spid="136"/>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25"/>
                                        </p:tgtEl>
                                        <p:attrNameLst>
                                          <p:attrName>style.opacity</p:attrName>
                                        </p:attrNameLst>
                                      </p:cBhvr>
                                      <p:to>
                                        <p:strVal val="0.1"/>
                                      </p:to>
                                    </p:set>
                                    <p:animEffect filter="image" prLst="opacity: 0.1">
                                      <p:cBhvr rctx="IE">
                                        <p:cTn id="92" dur="indefinite"/>
                                        <p:tgtEl>
                                          <p:spTgt spid="125"/>
                                        </p:tgtEl>
                                      </p:cBhvr>
                                    </p:animEffect>
                                  </p:childTnLst>
                                </p:cTn>
                              </p:par>
                              <p:par>
                                <p:cTn id="93" presetID="9" presetClass="emph" presetSubtype="0" nodeType="withEffect">
                                  <p:stCondLst>
                                    <p:cond delay="0"/>
                                  </p:stCondLst>
                                  <p:childTnLst>
                                    <p:set>
                                      <p:cBhvr>
                                        <p:cTn id="94" dur="indefinite"/>
                                        <p:tgtEl>
                                          <p:spTgt spid="169"/>
                                        </p:tgtEl>
                                        <p:attrNameLst>
                                          <p:attrName>style.opacity</p:attrName>
                                        </p:attrNameLst>
                                      </p:cBhvr>
                                      <p:to>
                                        <p:strVal val="0.1"/>
                                      </p:to>
                                    </p:set>
                                    <p:animEffect filter="image" prLst="opacity: 0.1">
                                      <p:cBhvr rctx="IE">
                                        <p:cTn id="95" dur="indefinite"/>
                                        <p:tgtEl>
                                          <p:spTgt spid="169"/>
                                        </p:tgtEl>
                                      </p:cBhvr>
                                    </p:animEffect>
                                  </p:childTnLst>
                                </p:cTn>
                              </p:par>
                              <p:par>
                                <p:cTn id="96" presetID="9" presetClass="emph" presetSubtype="0" grpId="1" nodeType="withEffect">
                                  <p:stCondLst>
                                    <p:cond delay="0"/>
                                  </p:stCondLst>
                                  <p:childTnLst>
                                    <p:set>
                                      <p:cBhvr>
                                        <p:cTn id="97" dur="indefinite"/>
                                        <p:tgtEl>
                                          <p:spTgt spid="181"/>
                                        </p:tgtEl>
                                        <p:attrNameLst>
                                          <p:attrName>style.opacity</p:attrName>
                                        </p:attrNameLst>
                                      </p:cBhvr>
                                      <p:to>
                                        <p:strVal val="0.1"/>
                                      </p:to>
                                    </p:set>
                                    <p:animEffect filter="image" prLst="opacity: 0.1">
                                      <p:cBhvr rctx="IE">
                                        <p:cTn id="98" dur="indefinite"/>
                                        <p:tgtEl>
                                          <p:spTgt spid="181"/>
                                        </p:tgtEl>
                                      </p:cBhvr>
                                    </p:animEffect>
                                  </p:childTnLst>
                                </p:cTn>
                              </p:par>
                              <p:par>
                                <p:cTn id="99" presetID="9" presetClass="emph" presetSubtype="0" grpId="1" nodeType="withEffect">
                                  <p:stCondLst>
                                    <p:cond delay="0"/>
                                  </p:stCondLst>
                                  <p:childTnLst>
                                    <p:set>
                                      <p:cBhvr>
                                        <p:cTn id="100" dur="indefinite"/>
                                        <p:tgtEl>
                                          <p:spTgt spid="11">
                                            <p:txEl>
                                              <p:pRg st="0" end="0"/>
                                            </p:txEl>
                                          </p:spTgt>
                                        </p:tgtEl>
                                        <p:attrNameLst>
                                          <p:attrName>style.opacity</p:attrName>
                                        </p:attrNameLst>
                                      </p:cBhvr>
                                      <p:to>
                                        <p:strVal val="0.1"/>
                                      </p:to>
                                    </p:set>
                                    <p:animEffect filter="image" prLst="opacity: 0.1">
                                      <p:cBhvr rctx="IE">
                                        <p:cTn id="101" dur="indefinite"/>
                                        <p:tgtEl>
                                          <p:spTgt spid="11">
                                            <p:txEl>
                                              <p:pRg st="0" end="0"/>
                                            </p:txEl>
                                          </p:spTgt>
                                        </p:tgtEl>
                                      </p:cBhvr>
                                    </p:animEffect>
                                  </p:childTnLst>
                                </p:cTn>
                              </p:par>
                              <p:par>
                                <p:cTn id="102" presetID="9" presetClass="emph" presetSubtype="0" grpId="1" nodeType="withEffect">
                                  <p:stCondLst>
                                    <p:cond delay="0"/>
                                  </p:stCondLst>
                                  <p:childTnLst>
                                    <p:set>
                                      <p:cBhvr>
                                        <p:cTn id="103" dur="indefinite"/>
                                        <p:tgtEl>
                                          <p:spTgt spid="5">
                                            <p:txEl>
                                              <p:pRg st="0" end="0"/>
                                            </p:txEl>
                                          </p:spTgt>
                                        </p:tgtEl>
                                        <p:attrNameLst>
                                          <p:attrName>style.opacity</p:attrName>
                                        </p:attrNameLst>
                                      </p:cBhvr>
                                      <p:to>
                                        <p:strVal val="0.1"/>
                                      </p:to>
                                    </p:set>
                                    <p:animEffect filter="image" prLst="opacity: 0.1">
                                      <p:cBhvr rctx="IE">
                                        <p:cTn id="104" dur="indefinite"/>
                                        <p:tgtEl>
                                          <p:spTgt spid="5">
                                            <p:txEl>
                                              <p:pRg st="0" end="0"/>
                                            </p:txEl>
                                          </p:spTgt>
                                        </p:tgtEl>
                                      </p:cBhvr>
                                    </p:animEffect>
                                  </p:childTnLst>
                                </p:cTn>
                              </p:par>
                              <p:par>
                                <p:cTn id="105" presetID="9" presetClass="emph" presetSubtype="0" grpId="1" nodeType="withEffect">
                                  <p:stCondLst>
                                    <p:cond delay="0"/>
                                  </p:stCondLst>
                                  <p:childTnLst>
                                    <p:set>
                                      <p:cBhvr>
                                        <p:cTn id="106" dur="indefinite"/>
                                        <p:tgtEl>
                                          <p:spTgt spid="15"/>
                                        </p:tgtEl>
                                        <p:attrNameLst>
                                          <p:attrName>style.opacity</p:attrName>
                                        </p:attrNameLst>
                                      </p:cBhvr>
                                      <p:to>
                                        <p:strVal val="0.1"/>
                                      </p:to>
                                    </p:set>
                                    <p:animEffect filter="image" prLst="opacity: 0.1">
                                      <p:cBhvr rctx="IE">
                                        <p:cTn id="107" dur="indefinite"/>
                                        <p:tgtEl>
                                          <p:spTgt spid="15"/>
                                        </p:tgtEl>
                                      </p:cBhvr>
                                    </p:animEffect>
                                  </p:childTnLst>
                                </p:cTn>
                              </p:par>
                              <p:par>
                                <p:cTn id="108" presetID="9" presetClass="emph" presetSubtype="0" grpId="1" nodeType="withEffect">
                                  <p:stCondLst>
                                    <p:cond delay="0"/>
                                  </p:stCondLst>
                                  <p:childTnLst>
                                    <p:set>
                                      <p:cBhvr>
                                        <p:cTn id="109" dur="indefinite"/>
                                        <p:tgtEl>
                                          <p:spTgt spid="19"/>
                                        </p:tgtEl>
                                        <p:attrNameLst>
                                          <p:attrName>style.opacity</p:attrName>
                                        </p:attrNameLst>
                                      </p:cBhvr>
                                      <p:to>
                                        <p:strVal val="0.1"/>
                                      </p:to>
                                    </p:set>
                                    <p:animEffect filter="image" prLst="opacity: 0.1">
                                      <p:cBhvr rctx="IE">
                                        <p:cTn id="110" dur="indefinite"/>
                                        <p:tgtEl>
                                          <p:spTgt spid="19"/>
                                        </p:tgtEl>
                                      </p:cBhvr>
                                    </p:animEffect>
                                  </p:childTnLst>
                                </p:cTn>
                              </p:par>
                              <p:par>
                                <p:cTn id="111" presetID="9" presetClass="emph" presetSubtype="0" grpId="1" nodeType="withEffect">
                                  <p:stCondLst>
                                    <p:cond delay="0"/>
                                  </p:stCondLst>
                                  <p:childTnLst>
                                    <p:set>
                                      <p:cBhvr>
                                        <p:cTn id="112" dur="indefinite"/>
                                        <p:tgtEl>
                                          <p:spTgt spid="25">
                                            <p:txEl>
                                              <p:pRg st="0" end="0"/>
                                            </p:txEl>
                                          </p:spTgt>
                                        </p:tgtEl>
                                        <p:attrNameLst>
                                          <p:attrName>style.opacity</p:attrName>
                                        </p:attrNameLst>
                                      </p:cBhvr>
                                      <p:to>
                                        <p:strVal val="0.1"/>
                                      </p:to>
                                    </p:set>
                                    <p:animEffect filter="image" prLst="opacity: 0.1">
                                      <p:cBhvr rctx="IE">
                                        <p:cTn id="113" dur="indefinite"/>
                                        <p:tgtEl>
                                          <p:spTgt spid="25">
                                            <p:txEl>
                                              <p:pRg st="0" end="0"/>
                                            </p:txEl>
                                          </p:spTgt>
                                        </p:tgtEl>
                                      </p:cBhvr>
                                    </p:animEffect>
                                  </p:childTnLst>
                                </p:cTn>
                              </p:par>
                              <p:par>
                                <p:cTn id="114" presetID="9" presetClass="emph" presetSubtype="0" nodeType="withEffect">
                                  <p:stCondLst>
                                    <p:cond delay="0"/>
                                  </p:stCondLst>
                                  <p:childTnLst>
                                    <p:set>
                                      <p:cBhvr>
                                        <p:cTn id="115" dur="indefinite"/>
                                        <p:tgtEl>
                                          <p:spTgt spid="136"/>
                                        </p:tgtEl>
                                        <p:attrNameLst>
                                          <p:attrName>style.opacity</p:attrName>
                                        </p:attrNameLst>
                                      </p:cBhvr>
                                      <p:to>
                                        <p:strVal val="0.1"/>
                                      </p:to>
                                    </p:set>
                                    <p:animEffect filter="image" prLst="opacity: 0.1">
                                      <p:cBhvr rctx="IE">
                                        <p:cTn id="116" dur="indefinite"/>
                                        <p:tgtEl>
                                          <p:spTgt spid="136"/>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3"/>
                                        </p:tgtEl>
                                        <p:attrNameLst>
                                          <p:attrName>style.visibility</p:attrName>
                                        </p:attrNameLst>
                                      </p:cBhvr>
                                      <p:to>
                                        <p:strVal val="visible"/>
                                      </p:to>
                                    </p:set>
                                    <p:animEffect transition="in" filter="fade">
                                      <p:cBhvr>
                                        <p:cTn id="119" dur="500"/>
                                        <p:tgtEl>
                                          <p:spTgt spid="163"/>
                                        </p:tgtEl>
                                      </p:cBhvr>
                                    </p:animEffect>
                                  </p:childTnLst>
                                </p:cTn>
                              </p:par>
                              <p:par>
                                <p:cTn id="120" presetID="10" presetClass="entr" presetSubtype="0" fill="hold" nodeType="withEffect">
                                  <p:stCondLst>
                                    <p:cond delay="0"/>
                                  </p:stCondLst>
                                  <p:childTnLst>
                                    <p:set>
                                      <p:cBhvr>
                                        <p:cTn id="121" dur="1" fill="hold">
                                          <p:stCondLst>
                                            <p:cond delay="0"/>
                                          </p:stCondLst>
                                        </p:cTn>
                                        <p:tgtEl>
                                          <p:spTgt spid="170"/>
                                        </p:tgtEl>
                                        <p:attrNameLst>
                                          <p:attrName>style.visibility</p:attrName>
                                        </p:attrNameLst>
                                      </p:cBhvr>
                                      <p:to>
                                        <p:strVal val="visible"/>
                                      </p:to>
                                    </p:set>
                                    <p:animEffect transition="in" filter="fade">
                                      <p:cBhvr>
                                        <p:cTn id="122" dur="500"/>
                                        <p:tgtEl>
                                          <p:spTgt spid="170"/>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2"/>
                                        </p:tgtEl>
                                        <p:attrNameLst>
                                          <p:attrName>style.visibility</p:attrName>
                                        </p:attrNameLst>
                                      </p:cBhvr>
                                      <p:to>
                                        <p:strVal val="visible"/>
                                      </p:to>
                                    </p:set>
                                    <p:animEffect transition="in" filter="fade">
                                      <p:cBhvr>
                                        <p:cTn id="125" dur="500"/>
                                        <p:tgtEl>
                                          <p:spTgt spid="18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2">
                                            <p:txEl>
                                              <p:pRg st="0" end="0"/>
                                            </p:txEl>
                                          </p:spTgt>
                                        </p:tgtEl>
                                        <p:attrNameLst>
                                          <p:attrName>style.visibility</p:attrName>
                                        </p:attrNameLst>
                                      </p:cBhvr>
                                      <p:to>
                                        <p:strVal val="visible"/>
                                      </p:to>
                                    </p:set>
                                    <p:animEffect transition="in" filter="fade">
                                      <p:cBhvr>
                                        <p:cTn id="128" dur="500"/>
                                        <p:tgtEl>
                                          <p:spTgt spid="12">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6">
                                            <p:txEl>
                                              <p:pRg st="0" end="0"/>
                                            </p:txEl>
                                          </p:spTgt>
                                        </p:tgtEl>
                                        <p:attrNameLst>
                                          <p:attrName>style.visibility</p:attrName>
                                        </p:attrNameLst>
                                      </p:cBhvr>
                                      <p:to>
                                        <p:strVal val="visible"/>
                                      </p:to>
                                    </p:set>
                                    <p:animEffect transition="in" filter="fade">
                                      <p:cBhvr>
                                        <p:cTn id="131" dur="500"/>
                                        <p:tgtEl>
                                          <p:spTgt spid="6">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0"/>
                                        </p:tgtEl>
                                        <p:attrNameLst>
                                          <p:attrName>style.visibility</p:attrName>
                                        </p:attrNameLst>
                                      </p:cBhvr>
                                      <p:to>
                                        <p:strVal val="visible"/>
                                      </p:to>
                                    </p:set>
                                    <p:animEffect transition="in" filter="fade">
                                      <p:cBhvr>
                                        <p:cTn id="134" dur="500"/>
                                        <p:tgtEl>
                                          <p:spTgt spid="20"/>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23"/>
                                        </p:tgtEl>
                                        <p:attrNameLst>
                                          <p:attrName>style.visibility</p:attrName>
                                        </p:attrNameLst>
                                      </p:cBhvr>
                                      <p:to>
                                        <p:strVal val="visible"/>
                                      </p:to>
                                    </p:set>
                                    <p:animEffect transition="in" filter="fade">
                                      <p:cBhvr>
                                        <p:cTn id="137" dur="500"/>
                                        <p:tgtEl>
                                          <p:spTgt spid="2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6">
                                            <p:txEl>
                                              <p:pRg st="0" end="0"/>
                                            </p:txEl>
                                          </p:spTgt>
                                        </p:tgtEl>
                                        <p:attrNameLst>
                                          <p:attrName>style.visibility</p:attrName>
                                        </p:attrNameLst>
                                      </p:cBhvr>
                                      <p:to>
                                        <p:strVal val="visible"/>
                                      </p:to>
                                    </p:set>
                                    <p:animEffect transition="in" filter="fade">
                                      <p:cBhvr>
                                        <p:cTn id="140" dur="500"/>
                                        <p:tgtEl>
                                          <p:spTgt spid="26">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39"/>
                                        </p:tgtEl>
                                        <p:attrNameLst>
                                          <p:attrName>style.visibility</p:attrName>
                                        </p:attrNameLst>
                                      </p:cBhvr>
                                      <p:to>
                                        <p:strVal val="visible"/>
                                      </p:to>
                                    </p:set>
                                    <p:animEffect transition="in" filter="fade">
                                      <p:cBhvr>
                                        <p:cTn id="143" dur="500"/>
                                        <p:tgtEl>
                                          <p:spTgt spid="139"/>
                                        </p:tgtEl>
                                      </p:cBhvr>
                                    </p:animEffect>
                                  </p:childTnLst>
                                </p:cTn>
                              </p:par>
                              <p:par>
                                <p:cTn id="144" presetID="10" presetClass="entr" presetSubtype="0" fill="hold" grpId="0" nodeType="withEffect" nodePh="1">
                                  <p:stCondLst>
                                    <p:cond delay="0"/>
                                  </p:stCondLst>
                                  <p:endCondLst>
                                    <p:cond evt="begin" delay="0">
                                      <p:tn val="144"/>
                                    </p:cond>
                                  </p:endCondLst>
                                  <p:childTnLst>
                                    <p:set>
                                      <p:cBhvr>
                                        <p:cTn id="145" dur="1" fill="hold">
                                          <p:stCondLst>
                                            <p:cond delay="0"/>
                                          </p:stCondLst>
                                        </p:cTn>
                                        <p:tgtEl>
                                          <p:spTgt spid="171"/>
                                        </p:tgtEl>
                                        <p:attrNameLst>
                                          <p:attrName>style.visibility</p:attrName>
                                        </p:attrNameLst>
                                      </p:cBhvr>
                                      <p:to>
                                        <p:strVal val="visible"/>
                                      </p:to>
                                    </p:set>
                                    <p:animEffect transition="in" filter="fade">
                                      <p:cBhvr>
                                        <p:cTn id="146" dur="500"/>
                                        <p:tgtEl>
                                          <p:spTgt spid="171"/>
                                        </p:tgtEl>
                                      </p:cBhvr>
                                    </p:animEffect>
                                  </p:childTnLst>
                                </p:cTn>
                              </p:par>
                            </p:childTnLst>
                          </p:cTn>
                        </p:par>
                      </p:childTnLst>
                    </p:cTn>
                  </p:par>
                  <p:par>
                    <p:cTn id="147" fill="hold">
                      <p:stCondLst>
                        <p:cond delay="indefinite"/>
                      </p:stCondLst>
                      <p:childTnLst>
                        <p:par>
                          <p:cTn id="148" fill="hold">
                            <p:stCondLst>
                              <p:cond delay="0"/>
                            </p:stCondLst>
                            <p:childTnLst>
                              <p:par>
                                <p:cTn id="149" presetID="9" presetClass="emph" presetSubtype="0" grpId="1" nodeType="clickEffect">
                                  <p:stCondLst>
                                    <p:cond delay="0"/>
                                  </p:stCondLst>
                                  <p:childTnLst>
                                    <p:set>
                                      <p:cBhvr>
                                        <p:cTn id="150" dur="indefinite"/>
                                        <p:tgtEl>
                                          <p:spTgt spid="163"/>
                                        </p:tgtEl>
                                        <p:attrNameLst>
                                          <p:attrName>style.opacity</p:attrName>
                                        </p:attrNameLst>
                                      </p:cBhvr>
                                      <p:to>
                                        <p:strVal val="0.1"/>
                                      </p:to>
                                    </p:set>
                                    <p:animEffect filter="image" prLst="opacity: 0.1">
                                      <p:cBhvr rctx="IE">
                                        <p:cTn id="151" dur="indefinite"/>
                                        <p:tgtEl>
                                          <p:spTgt spid="163"/>
                                        </p:tgtEl>
                                      </p:cBhvr>
                                    </p:animEffect>
                                  </p:childTnLst>
                                </p:cTn>
                              </p:par>
                              <p:par>
                                <p:cTn id="152" presetID="9" presetClass="emph" presetSubtype="0" nodeType="withEffect">
                                  <p:stCondLst>
                                    <p:cond delay="0"/>
                                  </p:stCondLst>
                                  <p:childTnLst>
                                    <p:set>
                                      <p:cBhvr>
                                        <p:cTn id="153" dur="indefinite"/>
                                        <p:tgtEl>
                                          <p:spTgt spid="170"/>
                                        </p:tgtEl>
                                        <p:attrNameLst>
                                          <p:attrName>style.opacity</p:attrName>
                                        </p:attrNameLst>
                                      </p:cBhvr>
                                      <p:to>
                                        <p:strVal val="0.1"/>
                                      </p:to>
                                    </p:set>
                                    <p:animEffect filter="image" prLst="opacity: 0.1">
                                      <p:cBhvr rctx="IE">
                                        <p:cTn id="154" dur="indefinite"/>
                                        <p:tgtEl>
                                          <p:spTgt spid="170"/>
                                        </p:tgtEl>
                                      </p:cBhvr>
                                    </p:animEffect>
                                  </p:childTnLst>
                                </p:cTn>
                              </p:par>
                              <p:par>
                                <p:cTn id="155" presetID="9" presetClass="emph" presetSubtype="0" grpId="1" nodeType="withEffect">
                                  <p:stCondLst>
                                    <p:cond delay="0"/>
                                  </p:stCondLst>
                                  <p:childTnLst>
                                    <p:set>
                                      <p:cBhvr>
                                        <p:cTn id="156" dur="indefinite"/>
                                        <p:tgtEl>
                                          <p:spTgt spid="182"/>
                                        </p:tgtEl>
                                        <p:attrNameLst>
                                          <p:attrName>style.opacity</p:attrName>
                                        </p:attrNameLst>
                                      </p:cBhvr>
                                      <p:to>
                                        <p:strVal val="0.1"/>
                                      </p:to>
                                    </p:set>
                                    <p:animEffect filter="image" prLst="opacity: 0.1">
                                      <p:cBhvr rctx="IE">
                                        <p:cTn id="157" dur="indefinite"/>
                                        <p:tgtEl>
                                          <p:spTgt spid="182"/>
                                        </p:tgtEl>
                                      </p:cBhvr>
                                    </p:animEffect>
                                  </p:childTnLst>
                                </p:cTn>
                              </p:par>
                              <p:par>
                                <p:cTn id="158" presetID="9" presetClass="emph" presetSubtype="0" grpId="1" nodeType="withEffect">
                                  <p:stCondLst>
                                    <p:cond delay="0"/>
                                  </p:stCondLst>
                                  <p:childTnLst>
                                    <p:set>
                                      <p:cBhvr>
                                        <p:cTn id="159" dur="indefinite"/>
                                        <p:tgtEl>
                                          <p:spTgt spid="12">
                                            <p:txEl>
                                              <p:pRg st="0" end="0"/>
                                            </p:txEl>
                                          </p:spTgt>
                                        </p:tgtEl>
                                        <p:attrNameLst>
                                          <p:attrName>style.opacity</p:attrName>
                                        </p:attrNameLst>
                                      </p:cBhvr>
                                      <p:to>
                                        <p:strVal val="0.1"/>
                                      </p:to>
                                    </p:set>
                                    <p:animEffect filter="image" prLst="opacity: 0.1">
                                      <p:cBhvr rctx="IE">
                                        <p:cTn id="160" dur="indefinite"/>
                                        <p:tgtEl>
                                          <p:spTgt spid="12">
                                            <p:txEl>
                                              <p:pRg st="0" end="0"/>
                                            </p:txEl>
                                          </p:spTgt>
                                        </p:tgtEl>
                                      </p:cBhvr>
                                    </p:animEffect>
                                  </p:childTnLst>
                                </p:cTn>
                              </p:par>
                              <p:par>
                                <p:cTn id="161" presetID="9" presetClass="emph" presetSubtype="0" grpId="1" nodeType="withEffect">
                                  <p:stCondLst>
                                    <p:cond delay="0"/>
                                  </p:stCondLst>
                                  <p:childTnLst>
                                    <p:set>
                                      <p:cBhvr>
                                        <p:cTn id="162" dur="indefinite"/>
                                        <p:tgtEl>
                                          <p:spTgt spid="6">
                                            <p:txEl>
                                              <p:pRg st="0" end="0"/>
                                            </p:txEl>
                                          </p:spTgt>
                                        </p:tgtEl>
                                        <p:attrNameLst>
                                          <p:attrName>style.opacity</p:attrName>
                                        </p:attrNameLst>
                                      </p:cBhvr>
                                      <p:to>
                                        <p:strVal val="0.1"/>
                                      </p:to>
                                    </p:set>
                                    <p:animEffect filter="image" prLst="opacity: 0.1">
                                      <p:cBhvr rctx="IE">
                                        <p:cTn id="163" dur="indefinite"/>
                                        <p:tgtEl>
                                          <p:spTgt spid="6">
                                            <p:txEl>
                                              <p:pRg st="0" end="0"/>
                                            </p:txEl>
                                          </p:spTgt>
                                        </p:tgtEl>
                                      </p:cBhvr>
                                    </p:animEffect>
                                  </p:childTnLst>
                                </p:cTn>
                              </p:par>
                              <p:par>
                                <p:cTn id="164" presetID="9" presetClass="emph" presetSubtype="0" grpId="1" nodeType="withEffect">
                                  <p:stCondLst>
                                    <p:cond delay="0"/>
                                  </p:stCondLst>
                                  <p:childTnLst>
                                    <p:set>
                                      <p:cBhvr>
                                        <p:cTn id="165" dur="indefinite"/>
                                        <p:tgtEl>
                                          <p:spTgt spid="20"/>
                                        </p:tgtEl>
                                        <p:attrNameLst>
                                          <p:attrName>style.opacity</p:attrName>
                                        </p:attrNameLst>
                                      </p:cBhvr>
                                      <p:to>
                                        <p:strVal val="0.1"/>
                                      </p:to>
                                    </p:set>
                                    <p:animEffect filter="image" prLst="opacity: 0.1">
                                      <p:cBhvr rctx="IE">
                                        <p:cTn id="166" dur="indefinite"/>
                                        <p:tgtEl>
                                          <p:spTgt spid="20"/>
                                        </p:tgtEl>
                                      </p:cBhvr>
                                    </p:animEffect>
                                  </p:childTnLst>
                                </p:cTn>
                              </p:par>
                              <p:par>
                                <p:cTn id="167" presetID="9" presetClass="emph" presetSubtype="0" grpId="1" nodeType="withEffect">
                                  <p:stCondLst>
                                    <p:cond delay="0"/>
                                  </p:stCondLst>
                                  <p:childTnLst>
                                    <p:set>
                                      <p:cBhvr>
                                        <p:cTn id="168" dur="indefinite"/>
                                        <p:tgtEl>
                                          <p:spTgt spid="23"/>
                                        </p:tgtEl>
                                        <p:attrNameLst>
                                          <p:attrName>style.opacity</p:attrName>
                                        </p:attrNameLst>
                                      </p:cBhvr>
                                      <p:to>
                                        <p:strVal val="0.1"/>
                                      </p:to>
                                    </p:set>
                                    <p:animEffect filter="image" prLst="opacity: 0.1">
                                      <p:cBhvr rctx="IE">
                                        <p:cTn id="169" dur="indefinite"/>
                                        <p:tgtEl>
                                          <p:spTgt spid="23"/>
                                        </p:tgtEl>
                                      </p:cBhvr>
                                    </p:animEffect>
                                  </p:childTnLst>
                                </p:cTn>
                              </p:par>
                              <p:par>
                                <p:cTn id="170" presetID="9" presetClass="emph" presetSubtype="0" grpId="1" nodeType="withEffect">
                                  <p:stCondLst>
                                    <p:cond delay="0"/>
                                  </p:stCondLst>
                                  <p:childTnLst>
                                    <p:set>
                                      <p:cBhvr>
                                        <p:cTn id="171" dur="indefinite"/>
                                        <p:tgtEl>
                                          <p:spTgt spid="26">
                                            <p:txEl>
                                              <p:pRg st="0" end="0"/>
                                            </p:txEl>
                                          </p:spTgt>
                                        </p:tgtEl>
                                        <p:attrNameLst>
                                          <p:attrName>style.opacity</p:attrName>
                                        </p:attrNameLst>
                                      </p:cBhvr>
                                      <p:to>
                                        <p:strVal val="0.1"/>
                                      </p:to>
                                    </p:set>
                                    <p:animEffect filter="image" prLst="opacity: 0.1">
                                      <p:cBhvr rctx="IE">
                                        <p:cTn id="172" dur="indefinite"/>
                                        <p:tgtEl>
                                          <p:spTgt spid="26">
                                            <p:txEl>
                                              <p:pRg st="0" end="0"/>
                                            </p:txEl>
                                          </p:spTgt>
                                        </p:tgtEl>
                                      </p:cBhvr>
                                    </p:animEffect>
                                  </p:childTnLst>
                                </p:cTn>
                              </p:par>
                              <p:par>
                                <p:cTn id="173" presetID="9" presetClass="emph" presetSubtype="0" nodeType="withEffect">
                                  <p:stCondLst>
                                    <p:cond delay="0"/>
                                  </p:stCondLst>
                                  <p:childTnLst>
                                    <p:set>
                                      <p:cBhvr>
                                        <p:cTn id="174" dur="indefinite"/>
                                        <p:tgtEl>
                                          <p:spTgt spid="139"/>
                                        </p:tgtEl>
                                        <p:attrNameLst>
                                          <p:attrName>style.opacity</p:attrName>
                                        </p:attrNameLst>
                                      </p:cBhvr>
                                      <p:to>
                                        <p:strVal val="0.1"/>
                                      </p:to>
                                    </p:set>
                                    <p:animEffect filter="image" prLst="opacity: 0.1">
                                      <p:cBhvr rctx="IE">
                                        <p:cTn id="175" dur="indefinite"/>
                                        <p:tgtEl>
                                          <p:spTgt spid="139"/>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64"/>
                                        </p:tgtEl>
                                        <p:attrNameLst>
                                          <p:attrName>style.visibility</p:attrName>
                                        </p:attrNameLst>
                                      </p:cBhvr>
                                      <p:to>
                                        <p:strVal val="visible"/>
                                      </p:to>
                                    </p:set>
                                    <p:animEffect transition="in" filter="fade">
                                      <p:cBhvr>
                                        <p:cTn id="178" dur="500"/>
                                        <p:tgtEl>
                                          <p:spTgt spid="164"/>
                                        </p:tgtEl>
                                      </p:cBhvr>
                                    </p:animEffect>
                                  </p:childTnLst>
                                </p:cTn>
                              </p:par>
                              <p:par>
                                <p:cTn id="179" presetID="10" presetClass="entr" presetSubtype="0" fill="hold" nodeType="withEffect">
                                  <p:stCondLst>
                                    <p:cond delay="0"/>
                                  </p:stCondLst>
                                  <p:childTnLst>
                                    <p:set>
                                      <p:cBhvr>
                                        <p:cTn id="180" dur="1" fill="hold">
                                          <p:stCondLst>
                                            <p:cond delay="0"/>
                                          </p:stCondLst>
                                        </p:cTn>
                                        <p:tgtEl>
                                          <p:spTgt spid="173"/>
                                        </p:tgtEl>
                                        <p:attrNameLst>
                                          <p:attrName>style.visibility</p:attrName>
                                        </p:attrNameLst>
                                      </p:cBhvr>
                                      <p:to>
                                        <p:strVal val="visible"/>
                                      </p:to>
                                    </p:set>
                                    <p:animEffect transition="in" filter="fade">
                                      <p:cBhvr>
                                        <p:cTn id="181" dur="500"/>
                                        <p:tgtEl>
                                          <p:spTgt spid="173"/>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83"/>
                                        </p:tgtEl>
                                        <p:attrNameLst>
                                          <p:attrName>style.visibility</p:attrName>
                                        </p:attrNameLst>
                                      </p:cBhvr>
                                      <p:to>
                                        <p:strVal val="visible"/>
                                      </p:to>
                                    </p:set>
                                    <p:animEffect transition="in" filter="fade">
                                      <p:cBhvr>
                                        <p:cTn id="184" dur="500"/>
                                        <p:tgtEl>
                                          <p:spTgt spid="183"/>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3">
                                            <p:txEl>
                                              <p:pRg st="0" end="0"/>
                                            </p:txEl>
                                          </p:spTgt>
                                        </p:tgtEl>
                                        <p:attrNameLst>
                                          <p:attrName>style.visibility</p:attrName>
                                        </p:attrNameLst>
                                      </p:cBhvr>
                                      <p:to>
                                        <p:strVal val="visible"/>
                                      </p:to>
                                    </p:set>
                                    <p:animEffect transition="in" filter="fade">
                                      <p:cBhvr>
                                        <p:cTn id="187" dur="500"/>
                                        <p:tgtEl>
                                          <p:spTgt spid="13">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
                                            <p:txEl>
                                              <p:pRg st="0" end="0"/>
                                            </p:txEl>
                                          </p:spTgt>
                                        </p:tgtEl>
                                        <p:attrNameLst>
                                          <p:attrName>style.visibility</p:attrName>
                                        </p:attrNameLst>
                                      </p:cBhvr>
                                      <p:to>
                                        <p:strVal val="visible"/>
                                      </p:to>
                                    </p:set>
                                    <p:animEffect transition="in" filter="fade">
                                      <p:cBhvr>
                                        <p:cTn id="190" dur="500"/>
                                        <p:tgtEl>
                                          <p:spTgt spid="7">
                                            <p:txEl>
                                              <p:pRg st="0" end="0"/>
                                            </p:txEl>
                                          </p:spTgt>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6"/>
                                        </p:tgtEl>
                                        <p:attrNameLst>
                                          <p:attrName>style.visibility</p:attrName>
                                        </p:attrNameLst>
                                      </p:cBhvr>
                                      <p:to>
                                        <p:strVal val="visible"/>
                                      </p:to>
                                    </p:set>
                                    <p:animEffect transition="in" filter="fade">
                                      <p:cBhvr>
                                        <p:cTn id="193" dur="500"/>
                                        <p:tgtEl>
                                          <p:spTgt spid="16"/>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1"/>
                                        </p:tgtEl>
                                        <p:attrNameLst>
                                          <p:attrName>style.visibility</p:attrName>
                                        </p:attrNameLst>
                                      </p:cBhvr>
                                      <p:to>
                                        <p:strVal val="visible"/>
                                      </p:to>
                                    </p:set>
                                    <p:animEffect transition="in" filter="fade">
                                      <p:cBhvr>
                                        <p:cTn id="196" dur="500"/>
                                        <p:tgtEl>
                                          <p:spTgt spid="21"/>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27">
                                            <p:txEl>
                                              <p:pRg st="0" end="0"/>
                                            </p:txEl>
                                          </p:spTgt>
                                        </p:tgtEl>
                                        <p:attrNameLst>
                                          <p:attrName>style.visibility</p:attrName>
                                        </p:attrNameLst>
                                      </p:cBhvr>
                                      <p:to>
                                        <p:strVal val="visible"/>
                                      </p:to>
                                    </p:set>
                                    <p:animEffect transition="in" filter="fade">
                                      <p:cBhvr>
                                        <p:cTn id="199" dur="500"/>
                                        <p:tgtEl>
                                          <p:spTgt spid="27">
                                            <p:txEl>
                                              <p:pRg st="0" end="0"/>
                                            </p:txEl>
                                          </p:spTgt>
                                        </p:tgtEl>
                                      </p:cBhvr>
                                    </p:animEffect>
                                  </p:childTnLst>
                                </p:cTn>
                              </p:par>
                              <p:par>
                                <p:cTn id="200" presetID="10" presetClass="entr" presetSubtype="0" fill="hold" nodeType="withEffect">
                                  <p:stCondLst>
                                    <p:cond delay="0"/>
                                  </p:stCondLst>
                                  <p:childTnLst>
                                    <p:set>
                                      <p:cBhvr>
                                        <p:cTn id="201" dur="1" fill="hold">
                                          <p:stCondLst>
                                            <p:cond delay="0"/>
                                          </p:stCondLst>
                                        </p:cTn>
                                        <p:tgtEl>
                                          <p:spTgt spid="158"/>
                                        </p:tgtEl>
                                        <p:attrNameLst>
                                          <p:attrName>style.visibility</p:attrName>
                                        </p:attrNameLst>
                                      </p:cBhvr>
                                      <p:to>
                                        <p:strVal val="visible"/>
                                      </p:to>
                                    </p:set>
                                    <p:animEffect transition="in" filter="fade">
                                      <p:cBhvr>
                                        <p:cTn id="202" dur="500"/>
                                        <p:tgtEl>
                                          <p:spTgt spid="158"/>
                                        </p:tgtEl>
                                      </p:cBhvr>
                                    </p:animEffect>
                                  </p:childTnLst>
                                </p:cTn>
                              </p:par>
                            </p:childTnLst>
                          </p:cTn>
                        </p:par>
                      </p:childTnLst>
                    </p:cTn>
                  </p:par>
                  <p:par>
                    <p:cTn id="203" fill="hold">
                      <p:stCondLst>
                        <p:cond delay="indefinite"/>
                      </p:stCondLst>
                      <p:childTnLst>
                        <p:par>
                          <p:cTn id="204" fill="hold">
                            <p:stCondLst>
                              <p:cond delay="0"/>
                            </p:stCondLst>
                            <p:childTnLst>
                              <p:par>
                                <p:cTn id="205" presetID="9" presetClass="emph" presetSubtype="0" grpId="1" nodeType="clickEffect">
                                  <p:stCondLst>
                                    <p:cond delay="0"/>
                                  </p:stCondLst>
                                  <p:childTnLst>
                                    <p:set>
                                      <p:cBhvr>
                                        <p:cTn id="206" dur="indefinite"/>
                                        <p:tgtEl>
                                          <p:spTgt spid="164"/>
                                        </p:tgtEl>
                                        <p:attrNameLst>
                                          <p:attrName>style.opacity</p:attrName>
                                        </p:attrNameLst>
                                      </p:cBhvr>
                                      <p:to>
                                        <p:strVal val="0.1"/>
                                      </p:to>
                                    </p:set>
                                    <p:animEffect filter="image" prLst="opacity: 0.1">
                                      <p:cBhvr rctx="IE">
                                        <p:cTn id="207" dur="indefinite"/>
                                        <p:tgtEl>
                                          <p:spTgt spid="164"/>
                                        </p:tgtEl>
                                      </p:cBhvr>
                                    </p:animEffect>
                                  </p:childTnLst>
                                </p:cTn>
                              </p:par>
                              <p:par>
                                <p:cTn id="208" presetID="9" presetClass="emph" presetSubtype="0" nodeType="withEffect">
                                  <p:stCondLst>
                                    <p:cond delay="0"/>
                                  </p:stCondLst>
                                  <p:childTnLst>
                                    <p:set>
                                      <p:cBhvr>
                                        <p:cTn id="209" dur="indefinite"/>
                                        <p:tgtEl>
                                          <p:spTgt spid="173"/>
                                        </p:tgtEl>
                                        <p:attrNameLst>
                                          <p:attrName>style.opacity</p:attrName>
                                        </p:attrNameLst>
                                      </p:cBhvr>
                                      <p:to>
                                        <p:strVal val="0.1"/>
                                      </p:to>
                                    </p:set>
                                    <p:animEffect filter="image" prLst="opacity: 0.1">
                                      <p:cBhvr rctx="IE">
                                        <p:cTn id="210" dur="indefinite"/>
                                        <p:tgtEl>
                                          <p:spTgt spid="173"/>
                                        </p:tgtEl>
                                      </p:cBhvr>
                                    </p:animEffect>
                                  </p:childTnLst>
                                </p:cTn>
                              </p:par>
                              <p:par>
                                <p:cTn id="211" presetID="9" presetClass="emph" presetSubtype="0" grpId="1" nodeType="withEffect">
                                  <p:stCondLst>
                                    <p:cond delay="0"/>
                                  </p:stCondLst>
                                  <p:childTnLst>
                                    <p:set>
                                      <p:cBhvr>
                                        <p:cTn id="212" dur="indefinite"/>
                                        <p:tgtEl>
                                          <p:spTgt spid="183"/>
                                        </p:tgtEl>
                                        <p:attrNameLst>
                                          <p:attrName>style.opacity</p:attrName>
                                        </p:attrNameLst>
                                      </p:cBhvr>
                                      <p:to>
                                        <p:strVal val="0.1"/>
                                      </p:to>
                                    </p:set>
                                    <p:animEffect filter="image" prLst="opacity: 0.1">
                                      <p:cBhvr rctx="IE">
                                        <p:cTn id="213" dur="indefinite"/>
                                        <p:tgtEl>
                                          <p:spTgt spid="183"/>
                                        </p:tgtEl>
                                      </p:cBhvr>
                                    </p:animEffect>
                                  </p:childTnLst>
                                </p:cTn>
                              </p:par>
                              <p:par>
                                <p:cTn id="214" presetID="9" presetClass="emph" presetSubtype="0" grpId="1" nodeType="withEffect">
                                  <p:stCondLst>
                                    <p:cond delay="0"/>
                                  </p:stCondLst>
                                  <p:childTnLst>
                                    <p:set>
                                      <p:cBhvr>
                                        <p:cTn id="215" dur="indefinite"/>
                                        <p:tgtEl>
                                          <p:spTgt spid="13">
                                            <p:txEl>
                                              <p:pRg st="0" end="0"/>
                                            </p:txEl>
                                          </p:spTgt>
                                        </p:tgtEl>
                                        <p:attrNameLst>
                                          <p:attrName>style.opacity</p:attrName>
                                        </p:attrNameLst>
                                      </p:cBhvr>
                                      <p:to>
                                        <p:strVal val="0.1"/>
                                      </p:to>
                                    </p:set>
                                    <p:animEffect filter="image" prLst="opacity: 0.1">
                                      <p:cBhvr rctx="IE">
                                        <p:cTn id="216" dur="indefinite"/>
                                        <p:tgtEl>
                                          <p:spTgt spid="13">
                                            <p:txEl>
                                              <p:pRg st="0" end="0"/>
                                            </p:txEl>
                                          </p:spTgt>
                                        </p:tgtEl>
                                      </p:cBhvr>
                                    </p:animEffect>
                                  </p:childTnLst>
                                </p:cTn>
                              </p:par>
                              <p:par>
                                <p:cTn id="217" presetID="9" presetClass="emph" presetSubtype="0" grpId="1" nodeType="withEffect">
                                  <p:stCondLst>
                                    <p:cond delay="0"/>
                                  </p:stCondLst>
                                  <p:childTnLst>
                                    <p:set>
                                      <p:cBhvr>
                                        <p:cTn id="218" dur="indefinite"/>
                                        <p:tgtEl>
                                          <p:spTgt spid="7">
                                            <p:txEl>
                                              <p:pRg st="0" end="0"/>
                                            </p:txEl>
                                          </p:spTgt>
                                        </p:tgtEl>
                                        <p:attrNameLst>
                                          <p:attrName>style.opacity</p:attrName>
                                        </p:attrNameLst>
                                      </p:cBhvr>
                                      <p:to>
                                        <p:strVal val="0.1"/>
                                      </p:to>
                                    </p:set>
                                    <p:animEffect filter="image" prLst="opacity: 0.1">
                                      <p:cBhvr rctx="IE">
                                        <p:cTn id="219" dur="indefinite"/>
                                        <p:tgtEl>
                                          <p:spTgt spid="7">
                                            <p:txEl>
                                              <p:pRg st="0" end="0"/>
                                            </p:txEl>
                                          </p:spTgt>
                                        </p:tgtEl>
                                      </p:cBhvr>
                                    </p:animEffect>
                                  </p:childTnLst>
                                </p:cTn>
                              </p:par>
                              <p:par>
                                <p:cTn id="220" presetID="9" presetClass="emph" presetSubtype="0" grpId="1" nodeType="withEffect">
                                  <p:stCondLst>
                                    <p:cond delay="0"/>
                                  </p:stCondLst>
                                  <p:childTnLst>
                                    <p:set>
                                      <p:cBhvr>
                                        <p:cTn id="221" dur="indefinite"/>
                                        <p:tgtEl>
                                          <p:spTgt spid="16"/>
                                        </p:tgtEl>
                                        <p:attrNameLst>
                                          <p:attrName>style.opacity</p:attrName>
                                        </p:attrNameLst>
                                      </p:cBhvr>
                                      <p:to>
                                        <p:strVal val="0.1"/>
                                      </p:to>
                                    </p:set>
                                    <p:animEffect filter="image" prLst="opacity: 0.1">
                                      <p:cBhvr rctx="IE">
                                        <p:cTn id="222" dur="indefinite"/>
                                        <p:tgtEl>
                                          <p:spTgt spid="16"/>
                                        </p:tgtEl>
                                      </p:cBhvr>
                                    </p:animEffect>
                                  </p:childTnLst>
                                </p:cTn>
                              </p:par>
                              <p:par>
                                <p:cTn id="223" presetID="9" presetClass="emph" presetSubtype="0" grpId="1" nodeType="withEffect">
                                  <p:stCondLst>
                                    <p:cond delay="0"/>
                                  </p:stCondLst>
                                  <p:childTnLst>
                                    <p:set>
                                      <p:cBhvr>
                                        <p:cTn id="224" dur="indefinite"/>
                                        <p:tgtEl>
                                          <p:spTgt spid="21"/>
                                        </p:tgtEl>
                                        <p:attrNameLst>
                                          <p:attrName>style.opacity</p:attrName>
                                        </p:attrNameLst>
                                      </p:cBhvr>
                                      <p:to>
                                        <p:strVal val="0.1"/>
                                      </p:to>
                                    </p:set>
                                    <p:animEffect filter="image" prLst="opacity: 0.1">
                                      <p:cBhvr rctx="IE">
                                        <p:cTn id="225" dur="indefinite"/>
                                        <p:tgtEl>
                                          <p:spTgt spid="21"/>
                                        </p:tgtEl>
                                      </p:cBhvr>
                                    </p:animEffect>
                                  </p:childTnLst>
                                </p:cTn>
                              </p:par>
                              <p:par>
                                <p:cTn id="226" presetID="9" presetClass="emph" presetSubtype="0" grpId="1" nodeType="withEffect">
                                  <p:stCondLst>
                                    <p:cond delay="0"/>
                                  </p:stCondLst>
                                  <p:childTnLst>
                                    <p:set>
                                      <p:cBhvr>
                                        <p:cTn id="227" dur="indefinite"/>
                                        <p:tgtEl>
                                          <p:spTgt spid="27">
                                            <p:txEl>
                                              <p:pRg st="0" end="0"/>
                                            </p:txEl>
                                          </p:spTgt>
                                        </p:tgtEl>
                                        <p:attrNameLst>
                                          <p:attrName>style.opacity</p:attrName>
                                        </p:attrNameLst>
                                      </p:cBhvr>
                                      <p:to>
                                        <p:strVal val="0.1"/>
                                      </p:to>
                                    </p:set>
                                    <p:animEffect filter="image" prLst="opacity: 0.1">
                                      <p:cBhvr rctx="IE">
                                        <p:cTn id="228" dur="indefinite"/>
                                        <p:tgtEl>
                                          <p:spTgt spid="27">
                                            <p:txEl>
                                              <p:pRg st="0" end="0"/>
                                            </p:txEl>
                                          </p:spTgt>
                                        </p:tgtEl>
                                      </p:cBhvr>
                                    </p:animEffect>
                                  </p:childTnLst>
                                </p:cTn>
                              </p:par>
                              <p:par>
                                <p:cTn id="229" presetID="9" presetClass="emph" presetSubtype="0" nodeType="withEffect">
                                  <p:stCondLst>
                                    <p:cond delay="0"/>
                                  </p:stCondLst>
                                  <p:childTnLst>
                                    <p:set>
                                      <p:cBhvr>
                                        <p:cTn id="230" dur="indefinite"/>
                                        <p:tgtEl>
                                          <p:spTgt spid="158"/>
                                        </p:tgtEl>
                                        <p:attrNameLst>
                                          <p:attrName>style.opacity</p:attrName>
                                        </p:attrNameLst>
                                      </p:cBhvr>
                                      <p:to>
                                        <p:strVal val="0.1"/>
                                      </p:to>
                                    </p:set>
                                    <p:animEffect filter="image" prLst="opacity: 0.1">
                                      <p:cBhvr rctx="IE">
                                        <p:cTn id="231" dur="indefinite"/>
                                        <p:tgtEl>
                                          <p:spTgt spid="158"/>
                                        </p:tgtEl>
                                      </p:cBhvr>
                                    </p:animEffect>
                                  </p:childTnLst>
                                </p:cTn>
                              </p:par>
                              <p:par>
                                <p:cTn id="232" presetID="10" presetClass="entr" presetSubtype="0" fill="hold" grpId="0" nodeType="withEffect">
                                  <p:stCondLst>
                                    <p:cond delay="0"/>
                                  </p:stCondLst>
                                  <p:childTnLst>
                                    <p:set>
                                      <p:cBhvr>
                                        <p:cTn id="233" dur="1" fill="hold">
                                          <p:stCondLst>
                                            <p:cond delay="0"/>
                                          </p:stCondLst>
                                        </p:cTn>
                                        <p:tgtEl>
                                          <p:spTgt spid="165"/>
                                        </p:tgtEl>
                                        <p:attrNameLst>
                                          <p:attrName>style.visibility</p:attrName>
                                        </p:attrNameLst>
                                      </p:cBhvr>
                                      <p:to>
                                        <p:strVal val="visible"/>
                                      </p:to>
                                    </p:set>
                                    <p:animEffect transition="in" filter="fade">
                                      <p:cBhvr>
                                        <p:cTn id="234" dur="500"/>
                                        <p:tgtEl>
                                          <p:spTgt spid="165"/>
                                        </p:tgtEl>
                                      </p:cBhvr>
                                    </p:animEffect>
                                  </p:childTnLst>
                                </p:cTn>
                              </p:par>
                              <p:par>
                                <p:cTn id="235" presetID="10" presetClass="entr" presetSubtype="0" fill="hold" nodeType="withEffect">
                                  <p:stCondLst>
                                    <p:cond delay="0"/>
                                  </p:stCondLst>
                                  <p:childTnLst>
                                    <p:set>
                                      <p:cBhvr>
                                        <p:cTn id="236" dur="1" fill="hold">
                                          <p:stCondLst>
                                            <p:cond delay="0"/>
                                          </p:stCondLst>
                                        </p:cTn>
                                        <p:tgtEl>
                                          <p:spTgt spid="174"/>
                                        </p:tgtEl>
                                        <p:attrNameLst>
                                          <p:attrName>style.visibility</p:attrName>
                                        </p:attrNameLst>
                                      </p:cBhvr>
                                      <p:to>
                                        <p:strVal val="visible"/>
                                      </p:to>
                                    </p:set>
                                    <p:animEffect transition="in" filter="fade">
                                      <p:cBhvr>
                                        <p:cTn id="237" dur="500"/>
                                        <p:tgtEl>
                                          <p:spTgt spid="174"/>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84"/>
                                        </p:tgtEl>
                                        <p:attrNameLst>
                                          <p:attrName>style.visibility</p:attrName>
                                        </p:attrNameLst>
                                      </p:cBhvr>
                                      <p:to>
                                        <p:strVal val="visible"/>
                                      </p:to>
                                    </p:set>
                                    <p:animEffect transition="in" filter="fade">
                                      <p:cBhvr>
                                        <p:cTn id="240" dur="500"/>
                                        <p:tgtEl>
                                          <p:spTgt spid="184"/>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4">
                                            <p:txEl>
                                              <p:pRg st="0" end="0"/>
                                            </p:txEl>
                                          </p:spTgt>
                                        </p:tgtEl>
                                        <p:attrNameLst>
                                          <p:attrName>style.visibility</p:attrName>
                                        </p:attrNameLst>
                                      </p:cBhvr>
                                      <p:to>
                                        <p:strVal val="visible"/>
                                      </p:to>
                                    </p:set>
                                    <p:animEffect transition="in" filter="fade">
                                      <p:cBhvr>
                                        <p:cTn id="243" dur="500"/>
                                        <p:tgtEl>
                                          <p:spTgt spid="14">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8">
                                            <p:txEl>
                                              <p:pRg st="0" end="0"/>
                                            </p:txEl>
                                          </p:spTgt>
                                        </p:tgtEl>
                                        <p:attrNameLst>
                                          <p:attrName>style.visibility</p:attrName>
                                        </p:attrNameLst>
                                      </p:cBhvr>
                                      <p:to>
                                        <p:strVal val="visible"/>
                                      </p:to>
                                    </p:set>
                                    <p:animEffect transition="in" filter="fade">
                                      <p:cBhvr>
                                        <p:cTn id="246" dur="500"/>
                                        <p:tgtEl>
                                          <p:spTgt spid="8">
                                            <p:txEl>
                                              <p:pRg st="0" end="0"/>
                                            </p:txEl>
                                          </p:spTgt>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17"/>
                                        </p:tgtEl>
                                        <p:attrNameLst>
                                          <p:attrName>style.visibility</p:attrName>
                                        </p:attrNameLst>
                                      </p:cBhvr>
                                      <p:to>
                                        <p:strVal val="visible"/>
                                      </p:to>
                                    </p:set>
                                    <p:animEffect transition="in" filter="fade">
                                      <p:cBhvr>
                                        <p:cTn id="249" dur="500"/>
                                        <p:tgtEl>
                                          <p:spTgt spid="17"/>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2"/>
                                        </p:tgtEl>
                                        <p:attrNameLst>
                                          <p:attrName>style.visibility</p:attrName>
                                        </p:attrNameLst>
                                      </p:cBhvr>
                                      <p:to>
                                        <p:strVal val="visible"/>
                                      </p:to>
                                    </p:set>
                                    <p:animEffect transition="in" filter="fade">
                                      <p:cBhvr>
                                        <p:cTn id="252" dur="500"/>
                                        <p:tgtEl>
                                          <p:spTgt spid="22"/>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28">
                                            <p:txEl>
                                              <p:pRg st="0" end="0"/>
                                            </p:txEl>
                                          </p:spTgt>
                                        </p:tgtEl>
                                        <p:attrNameLst>
                                          <p:attrName>style.visibility</p:attrName>
                                        </p:attrNameLst>
                                      </p:cBhvr>
                                      <p:to>
                                        <p:strVal val="visible"/>
                                      </p:to>
                                    </p:set>
                                    <p:animEffect transition="in" filter="fade">
                                      <p:cBhvr>
                                        <p:cTn id="255" dur="500"/>
                                        <p:tgtEl>
                                          <p:spTgt spid="28">
                                            <p:txEl>
                                              <p:pRg st="0" end="0"/>
                                            </p:txEl>
                                          </p:spTgt>
                                        </p:tgtEl>
                                      </p:cBhvr>
                                    </p:animEffect>
                                  </p:childTnLst>
                                </p:cTn>
                              </p:par>
                              <p:par>
                                <p:cTn id="256" presetID="10" presetClass="entr" presetSubtype="0" fill="hold" nodeType="withEffect">
                                  <p:stCondLst>
                                    <p:cond delay="0"/>
                                  </p:stCondLst>
                                  <p:childTnLst>
                                    <p:set>
                                      <p:cBhvr>
                                        <p:cTn id="257" dur="1" fill="hold">
                                          <p:stCondLst>
                                            <p:cond delay="0"/>
                                          </p:stCondLst>
                                        </p:cTn>
                                        <p:tgtEl>
                                          <p:spTgt spid="228"/>
                                        </p:tgtEl>
                                        <p:attrNameLst>
                                          <p:attrName>style.visibility</p:attrName>
                                        </p:attrNameLst>
                                      </p:cBhvr>
                                      <p:to>
                                        <p:strVal val="visible"/>
                                      </p:to>
                                    </p:set>
                                    <p:animEffect transition="in" filter="fade">
                                      <p:cBhvr>
                                        <p:cTn id="258" dur="500"/>
                                        <p:tgtEl>
                                          <p:spTgt spid="228"/>
                                        </p:tgtEl>
                                      </p:cBhvr>
                                    </p:animEffect>
                                  </p:childTnLst>
                                </p:cTn>
                              </p:par>
                            </p:childTnLst>
                          </p:cTn>
                        </p:par>
                      </p:childTnLst>
                    </p:cTn>
                  </p:par>
                  <p:par>
                    <p:cTn id="259" fill="hold">
                      <p:stCondLst>
                        <p:cond delay="indefinite"/>
                      </p:stCondLst>
                      <p:childTnLst>
                        <p:par>
                          <p:cTn id="260" fill="hold">
                            <p:stCondLst>
                              <p:cond delay="0"/>
                            </p:stCondLst>
                            <p:childTnLst>
                              <p:par>
                                <p:cTn id="261" presetID="9" presetClass="emph" presetSubtype="0" grpId="2" nodeType="clickEffect">
                                  <p:stCondLst>
                                    <p:cond delay="0"/>
                                  </p:stCondLst>
                                  <p:childTnLst>
                                    <p:set>
                                      <p:cBhvr>
                                        <p:cTn id="262" dur="indefinite"/>
                                        <p:tgtEl>
                                          <p:spTgt spid="124"/>
                                        </p:tgtEl>
                                        <p:attrNameLst>
                                          <p:attrName>style.opacity</p:attrName>
                                        </p:attrNameLst>
                                      </p:cBhvr>
                                      <p:to>
                                        <p:strVal val="1"/>
                                      </p:to>
                                    </p:set>
                                    <p:animEffect filter="image" prLst="opacity: 1">
                                      <p:cBhvr rctx="IE">
                                        <p:cTn id="263" dur="indefinite"/>
                                        <p:tgtEl>
                                          <p:spTgt spid="124"/>
                                        </p:tgtEl>
                                      </p:cBhvr>
                                    </p:animEffect>
                                  </p:childTnLst>
                                </p:cTn>
                              </p:par>
                              <p:par>
                                <p:cTn id="264" presetID="9" presetClass="emph" presetSubtype="0" grpId="2" nodeType="withEffect">
                                  <p:stCondLst>
                                    <p:cond delay="0"/>
                                  </p:stCondLst>
                                  <p:childTnLst>
                                    <p:set>
                                      <p:cBhvr>
                                        <p:cTn id="265" dur="indefinite"/>
                                        <p:tgtEl>
                                          <p:spTgt spid="125"/>
                                        </p:tgtEl>
                                        <p:attrNameLst>
                                          <p:attrName>style.opacity</p:attrName>
                                        </p:attrNameLst>
                                      </p:cBhvr>
                                      <p:to>
                                        <p:strVal val="1"/>
                                      </p:to>
                                    </p:set>
                                    <p:animEffect filter="image" prLst="opacity: 1">
                                      <p:cBhvr rctx="IE">
                                        <p:cTn id="266" dur="indefinite"/>
                                        <p:tgtEl>
                                          <p:spTgt spid="125"/>
                                        </p:tgtEl>
                                      </p:cBhvr>
                                    </p:animEffect>
                                  </p:childTnLst>
                                </p:cTn>
                              </p:par>
                              <p:par>
                                <p:cTn id="267" presetID="9" presetClass="emph" presetSubtype="0" grpId="2" nodeType="withEffect">
                                  <p:stCondLst>
                                    <p:cond delay="0"/>
                                  </p:stCondLst>
                                  <p:childTnLst>
                                    <p:set>
                                      <p:cBhvr>
                                        <p:cTn id="268" dur="indefinite"/>
                                        <p:tgtEl>
                                          <p:spTgt spid="163"/>
                                        </p:tgtEl>
                                        <p:attrNameLst>
                                          <p:attrName>style.opacity</p:attrName>
                                        </p:attrNameLst>
                                      </p:cBhvr>
                                      <p:to>
                                        <p:strVal val="1"/>
                                      </p:to>
                                    </p:set>
                                    <p:animEffect filter="image" prLst="opacity: 1">
                                      <p:cBhvr rctx="IE">
                                        <p:cTn id="269" dur="indefinite"/>
                                        <p:tgtEl>
                                          <p:spTgt spid="163"/>
                                        </p:tgtEl>
                                      </p:cBhvr>
                                    </p:animEffect>
                                  </p:childTnLst>
                                </p:cTn>
                              </p:par>
                              <p:par>
                                <p:cTn id="270" presetID="9" presetClass="emph" presetSubtype="0" grpId="2" nodeType="withEffect">
                                  <p:stCondLst>
                                    <p:cond delay="0"/>
                                  </p:stCondLst>
                                  <p:childTnLst>
                                    <p:set>
                                      <p:cBhvr>
                                        <p:cTn id="271" dur="indefinite"/>
                                        <p:tgtEl>
                                          <p:spTgt spid="164"/>
                                        </p:tgtEl>
                                        <p:attrNameLst>
                                          <p:attrName>style.opacity</p:attrName>
                                        </p:attrNameLst>
                                      </p:cBhvr>
                                      <p:to>
                                        <p:strVal val="1"/>
                                      </p:to>
                                    </p:set>
                                    <p:animEffect filter="image" prLst="opacity: 1">
                                      <p:cBhvr rctx="IE">
                                        <p:cTn id="272" dur="indefinite"/>
                                        <p:tgtEl>
                                          <p:spTgt spid="164"/>
                                        </p:tgtEl>
                                      </p:cBhvr>
                                    </p:animEffect>
                                  </p:childTnLst>
                                </p:cTn>
                              </p:par>
                              <p:par>
                                <p:cTn id="273" presetID="9" presetClass="emph" presetSubtype="0" nodeType="withEffect">
                                  <p:stCondLst>
                                    <p:cond delay="0"/>
                                  </p:stCondLst>
                                  <p:childTnLst>
                                    <p:set>
                                      <p:cBhvr>
                                        <p:cTn id="274" dur="indefinite"/>
                                        <p:tgtEl>
                                          <p:spTgt spid="168"/>
                                        </p:tgtEl>
                                        <p:attrNameLst>
                                          <p:attrName>style.opacity</p:attrName>
                                        </p:attrNameLst>
                                      </p:cBhvr>
                                      <p:to>
                                        <p:strVal val="1"/>
                                      </p:to>
                                    </p:set>
                                    <p:animEffect filter="image" prLst="opacity: 1">
                                      <p:cBhvr rctx="IE">
                                        <p:cTn id="275" dur="indefinite"/>
                                        <p:tgtEl>
                                          <p:spTgt spid="168"/>
                                        </p:tgtEl>
                                      </p:cBhvr>
                                    </p:animEffect>
                                  </p:childTnLst>
                                </p:cTn>
                              </p:par>
                              <p:par>
                                <p:cTn id="276" presetID="9" presetClass="emph" presetSubtype="0" nodeType="withEffect">
                                  <p:stCondLst>
                                    <p:cond delay="0"/>
                                  </p:stCondLst>
                                  <p:childTnLst>
                                    <p:set>
                                      <p:cBhvr>
                                        <p:cTn id="277" dur="indefinite"/>
                                        <p:tgtEl>
                                          <p:spTgt spid="169"/>
                                        </p:tgtEl>
                                        <p:attrNameLst>
                                          <p:attrName>style.opacity</p:attrName>
                                        </p:attrNameLst>
                                      </p:cBhvr>
                                      <p:to>
                                        <p:strVal val="1"/>
                                      </p:to>
                                    </p:set>
                                    <p:animEffect filter="image" prLst="opacity: 1">
                                      <p:cBhvr rctx="IE">
                                        <p:cTn id="278" dur="indefinite"/>
                                        <p:tgtEl>
                                          <p:spTgt spid="169"/>
                                        </p:tgtEl>
                                      </p:cBhvr>
                                    </p:animEffect>
                                  </p:childTnLst>
                                </p:cTn>
                              </p:par>
                              <p:par>
                                <p:cTn id="279" presetID="9" presetClass="emph" presetSubtype="0" nodeType="withEffect">
                                  <p:stCondLst>
                                    <p:cond delay="0"/>
                                  </p:stCondLst>
                                  <p:childTnLst>
                                    <p:set>
                                      <p:cBhvr>
                                        <p:cTn id="280" dur="indefinite"/>
                                        <p:tgtEl>
                                          <p:spTgt spid="170"/>
                                        </p:tgtEl>
                                        <p:attrNameLst>
                                          <p:attrName>style.opacity</p:attrName>
                                        </p:attrNameLst>
                                      </p:cBhvr>
                                      <p:to>
                                        <p:strVal val="1"/>
                                      </p:to>
                                    </p:set>
                                    <p:animEffect filter="image" prLst="opacity: 1">
                                      <p:cBhvr rctx="IE">
                                        <p:cTn id="281" dur="indefinite"/>
                                        <p:tgtEl>
                                          <p:spTgt spid="170"/>
                                        </p:tgtEl>
                                      </p:cBhvr>
                                    </p:animEffect>
                                  </p:childTnLst>
                                </p:cTn>
                              </p:par>
                              <p:par>
                                <p:cTn id="282" presetID="9" presetClass="emph" presetSubtype="0" nodeType="withEffect">
                                  <p:stCondLst>
                                    <p:cond delay="0"/>
                                  </p:stCondLst>
                                  <p:childTnLst>
                                    <p:set>
                                      <p:cBhvr>
                                        <p:cTn id="283" dur="indefinite"/>
                                        <p:tgtEl>
                                          <p:spTgt spid="173"/>
                                        </p:tgtEl>
                                        <p:attrNameLst>
                                          <p:attrName>style.opacity</p:attrName>
                                        </p:attrNameLst>
                                      </p:cBhvr>
                                      <p:to>
                                        <p:strVal val="1"/>
                                      </p:to>
                                    </p:set>
                                    <p:animEffect filter="image" prLst="opacity: 1">
                                      <p:cBhvr rctx="IE">
                                        <p:cTn id="284" dur="indefinite"/>
                                        <p:tgtEl>
                                          <p:spTgt spid="173"/>
                                        </p:tgtEl>
                                      </p:cBhvr>
                                    </p:animEffect>
                                  </p:childTnLst>
                                </p:cTn>
                              </p:par>
                              <p:par>
                                <p:cTn id="285" presetID="9" presetClass="emph" presetSubtype="0" grpId="2" nodeType="withEffect">
                                  <p:stCondLst>
                                    <p:cond delay="0"/>
                                  </p:stCondLst>
                                  <p:childTnLst>
                                    <p:set>
                                      <p:cBhvr>
                                        <p:cTn id="286" dur="indefinite"/>
                                        <p:tgtEl>
                                          <p:spTgt spid="180"/>
                                        </p:tgtEl>
                                        <p:attrNameLst>
                                          <p:attrName>style.opacity</p:attrName>
                                        </p:attrNameLst>
                                      </p:cBhvr>
                                      <p:to>
                                        <p:strVal val="1"/>
                                      </p:to>
                                    </p:set>
                                    <p:animEffect filter="image" prLst="opacity: 1">
                                      <p:cBhvr rctx="IE">
                                        <p:cTn id="287" dur="indefinite"/>
                                        <p:tgtEl>
                                          <p:spTgt spid="180"/>
                                        </p:tgtEl>
                                      </p:cBhvr>
                                    </p:animEffect>
                                  </p:childTnLst>
                                </p:cTn>
                              </p:par>
                              <p:par>
                                <p:cTn id="288" presetID="9" presetClass="emph" presetSubtype="0" grpId="2" nodeType="withEffect">
                                  <p:stCondLst>
                                    <p:cond delay="0"/>
                                  </p:stCondLst>
                                  <p:childTnLst>
                                    <p:set>
                                      <p:cBhvr>
                                        <p:cTn id="289" dur="indefinite"/>
                                        <p:tgtEl>
                                          <p:spTgt spid="181"/>
                                        </p:tgtEl>
                                        <p:attrNameLst>
                                          <p:attrName>style.opacity</p:attrName>
                                        </p:attrNameLst>
                                      </p:cBhvr>
                                      <p:to>
                                        <p:strVal val="1"/>
                                      </p:to>
                                    </p:set>
                                    <p:animEffect filter="image" prLst="opacity: 1">
                                      <p:cBhvr rctx="IE">
                                        <p:cTn id="290" dur="indefinite"/>
                                        <p:tgtEl>
                                          <p:spTgt spid="181"/>
                                        </p:tgtEl>
                                      </p:cBhvr>
                                    </p:animEffect>
                                  </p:childTnLst>
                                </p:cTn>
                              </p:par>
                              <p:par>
                                <p:cTn id="291" presetID="9" presetClass="emph" presetSubtype="0" grpId="2" nodeType="withEffect">
                                  <p:stCondLst>
                                    <p:cond delay="0"/>
                                  </p:stCondLst>
                                  <p:childTnLst>
                                    <p:set>
                                      <p:cBhvr>
                                        <p:cTn id="292" dur="indefinite"/>
                                        <p:tgtEl>
                                          <p:spTgt spid="182"/>
                                        </p:tgtEl>
                                        <p:attrNameLst>
                                          <p:attrName>style.opacity</p:attrName>
                                        </p:attrNameLst>
                                      </p:cBhvr>
                                      <p:to>
                                        <p:strVal val="1"/>
                                      </p:to>
                                    </p:set>
                                    <p:animEffect filter="image" prLst="opacity: 1">
                                      <p:cBhvr rctx="IE">
                                        <p:cTn id="293" dur="indefinite"/>
                                        <p:tgtEl>
                                          <p:spTgt spid="182"/>
                                        </p:tgtEl>
                                      </p:cBhvr>
                                    </p:animEffect>
                                  </p:childTnLst>
                                </p:cTn>
                              </p:par>
                              <p:par>
                                <p:cTn id="294" presetID="9" presetClass="emph" presetSubtype="0" grpId="2" nodeType="withEffect">
                                  <p:stCondLst>
                                    <p:cond delay="0"/>
                                  </p:stCondLst>
                                  <p:childTnLst>
                                    <p:set>
                                      <p:cBhvr>
                                        <p:cTn id="295" dur="indefinite"/>
                                        <p:tgtEl>
                                          <p:spTgt spid="183"/>
                                        </p:tgtEl>
                                        <p:attrNameLst>
                                          <p:attrName>style.opacity</p:attrName>
                                        </p:attrNameLst>
                                      </p:cBhvr>
                                      <p:to>
                                        <p:strVal val="1"/>
                                      </p:to>
                                    </p:set>
                                    <p:animEffect filter="image" prLst="opacity: 1">
                                      <p:cBhvr rctx="IE">
                                        <p:cTn id="296" dur="indefinite"/>
                                        <p:tgtEl>
                                          <p:spTgt spid="183"/>
                                        </p:tgtEl>
                                      </p:cBhvr>
                                    </p:animEffect>
                                  </p:childTnLst>
                                </p:cTn>
                              </p:par>
                              <p:par>
                                <p:cTn id="297" presetID="9" presetClass="emph" presetSubtype="0" grpId="2" nodeType="withEffect">
                                  <p:stCondLst>
                                    <p:cond delay="0"/>
                                  </p:stCondLst>
                                  <p:childTnLst>
                                    <p:set>
                                      <p:cBhvr>
                                        <p:cTn id="298" dur="indefinite"/>
                                        <p:tgtEl>
                                          <p:spTgt spid="10">
                                            <p:txEl>
                                              <p:pRg st="0" end="0"/>
                                            </p:txEl>
                                          </p:spTgt>
                                        </p:tgtEl>
                                        <p:attrNameLst>
                                          <p:attrName>style.opacity</p:attrName>
                                        </p:attrNameLst>
                                      </p:cBhvr>
                                      <p:to>
                                        <p:strVal val="1"/>
                                      </p:to>
                                    </p:set>
                                    <p:animEffect filter="image" prLst="opacity: 1">
                                      <p:cBhvr rctx="IE">
                                        <p:cTn id="299" dur="indefinite"/>
                                        <p:tgtEl>
                                          <p:spTgt spid="10">
                                            <p:txEl>
                                              <p:pRg st="0" end="0"/>
                                            </p:txEl>
                                          </p:spTgt>
                                        </p:tgtEl>
                                      </p:cBhvr>
                                    </p:animEffect>
                                  </p:childTnLst>
                                </p:cTn>
                              </p:par>
                              <p:par>
                                <p:cTn id="300" presetID="9" presetClass="emph" presetSubtype="0" grpId="2" nodeType="withEffect">
                                  <p:stCondLst>
                                    <p:cond delay="0"/>
                                  </p:stCondLst>
                                  <p:childTnLst>
                                    <p:set>
                                      <p:cBhvr>
                                        <p:cTn id="301" dur="indefinite"/>
                                        <p:tgtEl>
                                          <p:spTgt spid="11">
                                            <p:txEl>
                                              <p:pRg st="0" end="0"/>
                                            </p:txEl>
                                          </p:spTgt>
                                        </p:tgtEl>
                                        <p:attrNameLst>
                                          <p:attrName>style.opacity</p:attrName>
                                        </p:attrNameLst>
                                      </p:cBhvr>
                                      <p:to>
                                        <p:strVal val="1"/>
                                      </p:to>
                                    </p:set>
                                    <p:animEffect filter="image" prLst="opacity: 1">
                                      <p:cBhvr rctx="IE">
                                        <p:cTn id="302" dur="indefinite"/>
                                        <p:tgtEl>
                                          <p:spTgt spid="11">
                                            <p:txEl>
                                              <p:pRg st="0" end="0"/>
                                            </p:txEl>
                                          </p:spTgt>
                                        </p:tgtEl>
                                      </p:cBhvr>
                                    </p:animEffect>
                                  </p:childTnLst>
                                </p:cTn>
                              </p:par>
                              <p:par>
                                <p:cTn id="303" presetID="9" presetClass="emph" presetSubtype="0" grpId="2" nodeType="withEffect">
                                  <p:stCondLst>
                                    <p:cond delay="0"/>
                                  </p:stCondLst>
                                  <p:childTnLst>
                                    <p:set>
                                      <p:cBhvr>
                                        <p:cTn id="304" dur="indefinite"/>
                                        <p:tgtEl>
                                          <p:spTgt spid="12">
                                            <p:txEl>
                                              <p:pRg st="0" end="0"/>
                                            </p:txEl>
                                          </p:spTgt>
                                        </p:tgtEl>
                                        <p:attrNameLst>
                                          <p:attrName>style.opacity</p:attrName>
                                        </p:attrNameLst>
                                      </p:cBhvr>
                                      <p:to>
                                        <p:strVal val="1"/>
                                      </p:to>
                                    </p:set>
                                    <p:animEffect filter="image" prLst="opacity: 1">
                                      <p:cBhvr rctx="IE">
                                        <p:cTn id="305" dur="indefinite"/>
                                        <p:tgtEl>
                                          <p:spTgt spid="12">
                                            <p:txEl>
                                              <p:pRg st="0" end="0"/>
                                            </p:txEl>
                                          </p:spTgt>
                                        </p:tgtEl>
                                      </p:cBhvr>
                                    </p:animEffect>
                                  </p:childTnLst>
                                </p:cTn>
                              </p:par>
                              <p:par>
                                <p:cTn id="306" presetID="9" presetClass="emph" presetSubtype="0" grpId="2" nodeType="withEffect">
                                  <p:stCondLst>
                                    <p:cond delay="0"/>
                                  </p:stCondLst>
                                  <p:childTnLst>
                                    <p:set>
                                      <p:cBhvr>
                                        <p:cTn id="307" dur="indefinite"/>
                                        <p:tgtEl>
                                          <p:spTgt spid="13">
                                            <p:txEl>
                                              <p:pRg st="0" end="0"/>
                                            </p:txEl>
                                          </p:spTgt>
                                        </p:tgtEl>
                                        <p:attrNameLst>
                                          <p:attrName>style.opacity</p:attrName>
                                        </p:attrNameLst>
                                      </p:cBhvr>
                                      <p:to>
                                        <p:strVal val="1"/>
                                      </p:to>
                                    </p:set>
                                    <p:animEffect filter="image" prLst="opacity: 1">
                                      <p:cBhvr rctx="IE">
                                        <p:cTn id="308" dur="indefinite"/>
                                        <p:tgtEl>
                                          <p:spTgt spid="13">
                                            <p:txEl>
                                              <p:pRg st="0" end="0"/>
                                            </p:txEl>
                                          </p:spTgt>
                                        </p:tgtEl>
                                      </p:cBhvr>
                                    </p:animEffect>
                                  </p:childTnLst>
                                </p:cTn>
                              </p:par>
                              <p:par>
                                <p:cTn id="309" presetID="9" presetClass="emph" presetSubtype="0" grpId="2" nodeType="withEffect">
                                  <p:stCondLst>
                                    <p:cond delay="0"/>
                                  </p:stCondLst>
                                  <p:childTnLst>
                                    <p:set>
                                      <p:cBhvr>
                                        <p:cTn id="310" dur="indefinite"/>
                                        <p:tgtEl>
                                          <p:spTgt spid="4">
                                            <p:txEl>
                                              <p:pRg st="0" end="0"/>
                                            </p:txEl>
                                          </p:spTgt>
                                        </p:tgtEl>
                                        <p:attrNameLst>
                                          <p:attrName>style.opacity</p:attrName>
                                        </p:attrNameLst>
                                      </p:cBhvr>
                                      <p:to>
                                        <p:strVal val="1"/>
                                      </p:to>
                                    </p:set>
                                    <p:animEffect filter="image" prLst="opacity: 1">
                                      <p:cBhvr rctx="IE">
                                        <p:cTn id="311" dur="indefinite"/>
                                        <p:tgtEl>
                                          <p:spTgt spid="4">
                                            <p:txEl>
                                              <p:pRg st="0" end="0"/>
                                            </p:txEl>
                                          </p:spTgt>
                                        </p:tgtEl>
                                      </p:cBhvr>
                                    </p:animEffect>
                                  </p:childTnLst>
                                </p:cTn>
                              </p:par>
                              <p:par>
                                <p:cTn id="312" presetID="9" presetClass="emph" presetSubtype="0" grpId="2" nodeType="withEffect">
                                  <p:stCondLst>
                                    <p:cond delay="0"/>
                                  </p:stCondLst>
                                  <p:childTnLst>
                                    <p:set>
                                      <p:cBhvr>
                                        <p:cTn id="313" dur="indefinite"/>
                                        <p:tgtEl>
                                          <p:spTgt spid="5">
                                            <p:txEl>
                                              <p:pRg st="0" end="0"/>
                                            </p:txEl>
                                          </p:spTgt>
                                        </p:tgtEl>
                                        <p:attrNameLst>
                                          <p:attrName>style.opacity</p:attrName>
                                        </p:attrNameLst>
                                      </p:cBhvr>
                                      <p:to>
                                        <p:strVal val="1"/>
                                      </p:to>
                                    </p:set>
                                    <p:animEffect filter="image" prLst="opacity: 1">
                                      <p:cBhvr rctx="IE">
                                        <p:cTn id="314" dur="indefinite"/>
                                        <p:tgtEl>
                                          <p:spTgt spid="5">
                                            <p:txEl>
                                              <p:pRg st="0" end="0"/>
                                            </p:txEl>
                                          </p:spTgt>
                                        </p:tgtEl>
                                      </p:cBhvr>
                                    </p:animEffect>
                                  </p:childTnLst>
                                </p:cTn>
                              </p:par>
                              <p:par>
                                <p:cTn id="315" presetID="9" presetClass="emph" presetSubtype="0" grpId="2" nodeType="withEffect">
                                  <p:stCondLst>
                                    <p:cond delay="0"/>
                                  </p:stCondLst>
                                  <p:childTnLst>
                                    <p:set>
                                      <p:cBhvr>
                                        <p:cTn id="316" dur="indefinite"/>
                                        <p:tgtEl>
                                          <p:spTgt spid="6">
                                            <p:txEl>
                                              <p:pRg st="0" end="0"/>
                                            </p:txEl>
                                          </p:spTgt>
                                        </p:tgtEl>
                                        <p:attrNameLst>
                                          <p:attrName>style.opacity</p:attrName>
                                        </p:attrNameLst>
                                      </p:cBhvr>
                                      <p:to>
                                        <p:strVal val="1"/>
                                      </p:to>
                                    </p:set>
                                    <p:animEffect filter="image" prLst="opacity: 1">
                                      <p:cBhvr rctx="IE">
                                        <p:cTn id="317" dur="indefinite"/>
                                        <p:tgtEl>
                                          <p:spTgt spid="6">
                                            <p:txEl>
                                              <p:pRg st="0" end="0"/>
                                            </p:txEl>
                                          </p:spTgt>
                                        </p:tgtEl>
                                      </p:cBhvr>
                                    </p:animEffect>
                                  </p:childTnLst>
                                </p:cTn>
                              </p:par>
                              <p:par>
                                <p:cTn id="318" presetID="9" presetClass="emph" presetSubtype="0" grpId="2" nodeType="withEffect">
                                  <p:stCondLst>
                                    <p:cond delay="0"/>
                                  </p:stCondLst>
                                  <p:childTnLst>
                                    <p:set>
                                      <p:cBhvr>
                                        <p:cTn id="319" dur="indefinite"/>
                                        <p:tgtEl>
                                          <p:spTgt spid="7">
                                            <p:txEl>
                                              <p:pRg st="0" end="0"/>
                                            </p:txEl>
                                          </p:spTgt>
                                        </p:tgtEl>
                                        <p:attrNameLst>
                                          <p:attrName>style.opacity</p:attrName>
                                        </p:attrNameLst>
                                      </p:cBhvr>
                                      <p:to>
                                        <p:strVal val="1"/>
                                      </p:to>
                                    </p:set>
                                    <p:animEffect filter="image" prLst="opacity: 1">
                                      <p:cBhvr rctx="IE">
                                        <p:cTn id="320" dur="indefinite"/>
                                        <p:tgtEl>
                                          <p:spTgt spid="7">
                                            <p:txEl>
                                              <p:pRg st="0" end="0"/>
                                            </p:txEl>
                                          </p:spTgt>
                                        </p:tgtEl>
                                      </p:cBhvr>
                                    </p:animEffect>
                                  </p:childTnLst>
                                </p:cTn>
                              </p:par>
                              <p:par>
                                <p:cTn id="321" presetID="9" presetClass="emph" presetSubtype="0" grpId="2" nodeType="withEffect">
                                  <p:stCondLst>
                                    <p:cond delay="0"/>
                                  </p:stCondLst>
                                  <p:childTnLst>
                                    <p:set>
                                      <p:cBhvr>
                                        <p:cTn id="322" dur="indefinite"/>
                                        <p:tgtEl>
                                          <p:spTgt spid="9"/>
                                        </p:tgtEl>
                                        <p:attrNameLst>
                                          <p:attrName>style.opacity</p:attrName>
                                        </p:attrNameLst>
                                      </p:cBhvr>
                                      <p:to>
                                        <p:strVal val="1"/>
                                      </p:to>
                                    </p:set>
                                    <p:animEffect filter="image" prLst="opacity: 1">
                                      <p:cBhvr rctx="IE">
                                        <p:cTn id="323" dur="indefinite"/>
                                        <p:tgtEl>
                                          <p:spTgt spid="9"/>
                                        </p:tgtEl>
                                      </p:cBhvr>
                                    </p:animEffect>
                                  </p:childTnLst>
                                </p:cTn>
                              </p:par>
                              <p:par>
                                <p:cTn id="324" presetID="9" presetClass="emph" presetSubtype="0" grpId="2" nodeType="withEffect">
                                  <p:stCondLst>
                                    <p:cond delay="0"/>
                                  </p:stCondLst>
                                  <p:childTnLst>
                                    <p:set>
                                      <p:cBhvr>
                                        <p:cTn id="325" dur="indefinite"/>
                                        <p:tgtEl>
                                          <p:spTgt spid="15"/>
                                        </p:tgtEl>
                                        <p:attrNameLst>
                                          <p:attrName>style.opacity</p:attrName>
                                        </p:attrNameLst>
                                      </p:cBhvr>
                                      <p:to>
                                        <p:strVal val="1"/>
                                      </p:to>
                                    </p:set>
                                    <p:animEffect filter="image" prLst="opacity: 1">
                                      <p:cBhvr rctx="IE">
                                        <p:cTn id="326" dur="indefinite"/>
                                        <p:tgtEl>
                                          <p:spTgt spid="15"/>
                                        </p:tgtEl>
                                      </p:cBhvr>
                                    </p:animEffect>
                                  </p:childTnLst>
                                </p:cTn>
                              </p:par>
                              <p:par>
                                <p:cTn id="327" presetID="9" presetClass="emph" presetSubtype="0" grpId="2" nodeType="withEffect">
                                  <p:stCondLst>
                                    <p:cond delay="0"/>
                                  </p:stCondLst>
                                  <p:childTnLst>
                                    <p:set>
                                      <p:cBhvr>
                                        <p:cTn id="328" dur="indefinite"/>
                                        <p:tgtEl>
                                          <p:spTgt spid="16"/>
                                        </p:tgtEl>
                                        <p:attrNameLst>
                                          <p:attrName>style.opacity</p:attrName>
                                        </p:attrNameLst>
                                      </p:cBhvr>
                                      <p:to>
                                        <p:strVal val="1"/>
                                      </p:to>
                                    </p:set>
                                    <p:animEffect filter="image" prLst="opacity: 1">
                                      <p:cBhvr rctx="IE">
                                        <p:cTn id="329" dur="indefinite"/>
                                        <p:tgtEl>
                                          <p:spTgt spid="16"/>
                                        </p:tgtEl>
                                      </p:cBhvr>
                                    </p:animEffect>
                                  </p:childTnLst>
                                </p:cTn>
                              </p:par>
                              <p:par>
                                <p:cTn id="330" presetID="9" presetClass="emph" presetSubtype="0" grpId="2" nodeType="withEffect">
                                  <p:stCondLst>
                                    <p:cond delay="0"/>
                                  </p:stCondLst>
                                  <p:childTnLst>
                                    <p:set>
                                      <p:cBhvr>
                                        <p:cTn id="331" dur="indefinite"/>
                                        <p:tgtEl>
                                          <p:spTgt spid="18"/>
                                        </p:tgtEl>
                                        <p:attrNameLst>
                                          <p:attrName>style.opacity</p:attrName>
                                        </p:attrNameLst>
                                      </p:cBhvr>
                                      <p:to>
                                        <p:strVal val="1"/>
                                      </p:to>
                                    </p:set>
                                    <p:animEffect filter="image" prLst="opacity: 1">
                                      <p:cBhvr rctx="IE">
                                        <p:cTn id="332" dur="indefinite"/>
                                        <p:tgtEl>
                                          <p:spTgt spid="18"/>
                                        </p:tgtEl>
                                      </p:cBhvr>
                                    </p:animEffect>
                                  </p:childTnLst>
                                </p:cTn>
                              </p:par>
                              <p:par>
                                <p:cTn id="333" presetID="9" presetClass="emph" presetSubtype="0" grpId="2" nodeType="withEffect">
                                  <p:stCondLst>
                                    <p:cond delay="0"/>
                                  </p:stCondLst>
                                  <p:childTnLst>
                                    <p:set>
                                      <p:cBhvr>
                                        <p:cTn id="334" dur="indefinite"/>
                                        <p:tgtEl>
                                          <p:spTgt spid="19"/>
                                        </p:tgtEl>
                                        <p:attrNameLst>
                                          <p:attrName>style.opacity</p:attrName>
                                        </p:attrNameLst>
                                      </p:cBhvr>
                                      <p:to>
                                        <p:strVal val="1"/>
                                      </p:to>
                                    </p:set>
                                    <p:animEffect filter="image" prLst="opacity: 1">
                                      <p:cBhvr rctx="IE">
                                        <p:cTn id="335" dur="indefinite"/>
                                        <p:tgtEl>
                                          <p:spTgt spid="19"/>
                                        </p:tgtEl>
                                      </p:cBhvr>
                                    </p:animEffect>
                                  </p:childTnLst>
                                </p:cTn>
                              </p:par>
                              <p:par>
                                <p:cTn id="336" presetID="9" presetClass="emph" presetSubtype="0" grpId="2" nodeType="withEffect">
                                  <p:stCondLst>
                                    <p:cond delay="0"/>
                                  </p:stCondLst>
                                  <p:childTnLst>
                                    <p:set>
                                      <p:cBhvr>
                                        <p:cTn id="337" dur="indefinite"/>
                                        <p:tgtEl>
                                          <p:spTgt spid="20"/>
                                        </p:tgtEl>
                                        <p:attrNameLst>
                                          <p:attrName>style.opacity</p:attrName>
                                        </p:attrNameLst>
                                      </p:cBhvr>
                                      <p:to>
                                        <p:strVal val="1"/>
                                      </p:to>
                                    </p:set>
                                    <p:animEffect filter="image" prLst="opacity: 1">
                                      <p:cBhvr rctx="IE">
                                        <p:cTn id="338" dur="indefinite"/>
                                        <p:tgtEl>
                                          <p:spTgt spid="20"/>
                                        </p:tgtEl>
                                      </p:cBhvr>
                                    </p:animEffect>
                                  </p:childTnLst>
                                </p:cTn>
                              </p:par>
                              <p:par>
                                <p:cTn id="339" presetID="9" presetClass="emph" presetSubtype="0" grpId="2" nodeType="withEffect">
                                  <p:stCondLst>
                                    <p:cond delay="0"/>
                                  </p:stCondLst>
                                  <p:childTnLst>
                                    <p:set>
                                      <p:cBhvr>
                                        <p:cTn id="340" dur="indefinite"/>
                                        <p:tgtEl>
                                          <p:spTgt spid="21"/>
                                        </p:tgtEl>
                                        <p:attrNameLst>
                                          <p:attrName>style.opacity</p:attrName>
                                        </p:attrNameLst>
                                      </p:cBhvr>
                                      <p:to>
                                        <p:strVal val="1"/>
                                      </p:to>
                                    </p:set>
                                    <p:animEffect filter="image" prLst="opacity: 1">
                                      <p:cBhvr rctx="IE">
                                        <p:cTn id="341" dur="indefinite"/>
                                        <p:tgtEl>
                                          <p:spTgt spid="21"/>
                                        </p:tgtEl>
                                      </p:cBhvr>
                                    </p:animEffect>
                                  </p:childTnLst>
                                </p:cTn>
                              </p:par>
                              <p:par>
                                <p:cTn id="342" presetID="9" presetClass="emph" presetSubtype="0" grpId="2" nodeType="withEffect">
                                  <p:stCondLst>
                                    <p:cond delay="0"/>
                                  </p:stCondLst>
                                  <p:childTnLst>
                                    <p:set>
                                      <p:cBhvr>
                                        <p:cTn id="343" dur="indefinite"/>
                                        <p:tgtEl>
                                          <p:spTgt spid="23"/>
                                        </p:tgtEl>
                                        <p:attrNameLst>
                                          <p:attrName>style.opacity</p:attrName>
                                        </p:attrNameLst>
                                      </p:cBhvr>
                                      <p:to>
                                        <p:strVal val="1"/>
                                      </p:to>
                                    </p:set>
                                    <p:animEffect filter="image" prLst="opacity: 1">
                                      <p:cBhvr rctx="IE">
                                        <p:cTn id="344" dur="indefinite"/>
                                        <p:tgtEl>
                                          <p:spTgt spid="23"/>
                                        </p:tgtEl>
                                      </p:cBhvr>
                                    </p:animEffect>
                                  </p:childTnLst>
                                </p:cTn>
                              </p:par>
                              <p:par>
                                <p:cTn id="345" presetID="9" presetClass="emph" presetSubtype="0" grpId="2" nodeType="withEffect">
                                  <p:stCondLst>
                                    <p:cond delay="0"/>
                                  </p:stCondLst>
                                  <p:childTnLst>
                                    <p:set>
                                      <p:cBhvr>
                                        <p:cTn id="346" dur="indefinite"/>
                                        <p:tgtEl>
                                          <p:spTgt spid="24">
                                            <p:txEl>
                                              <p:pRg st="0" end="0"/>
                                            </p:txEl>
                                          </p:spTgt>
                                        </p:tgtEl>
                                        <p:attrNameLst>
                                          <p:attrName>style.opacity</p:attrName>
                                        </p:attrNameLst>
                                      </p:cBhvr>
                                      <p:to>
                                        <p:strVal val="1"/>
                                      </p:to>
                                    </p:set>
                                    <p:animEffect filter="image" prLst="opacity: 1">
                                      <p:cBhvr rctx="IE">
                                        <p:cTn id="347" dur="indefinite"/>
                                        <p:tgtEl>
                                          <p:spTgt spid="24">
                                            <p:txEl>
                                              <p:pRg st="0" end="0"/>
                                            </p:txEl>
                                          </p:spTgt>
                                        </p:tgtEl>
                                      </p:cBhvr>
                                    </p:animEffect>
                                  </p:childTnLst>
                                </p:cTn>
                              </p:par>
                              <p:par>
                                <p:cTn id="348" presetID="9" presetClass="emph" presetSubtype="0" grpId="2" nodeType="withEffect">
                                  <p:stCondLst>
                                    <p:cond delay="0"/>
                                  </p:stCondLst>
                                  <p:childTnLst>
                                    <p:set>
                                      <p:cBhvr>
                                        <p:cTn id="349" dur="indefinite"/>
                                        <p:tgtEl>
                                          <p:spTgt spid="25">
                                            <p:txEl>
                                              <p:pRg st="0" end="0"/>
                                            </p:txEl>
                                          </p:spTgt>
                                        </p:tgtEl>
                                        <p:attrNameLst>
                                          <p:attrName>style.opacity</p:attrName>
                                        </p:attrNameLst>
                                      </p:cBhvr>
                                      <p:to>
                                        <p:strVal val="1"/>
                                      </p:to>
                                    </p:set>
                                    <p:animEffect filter="image" prLst="opacity: 1">
                                      <p:cBhvr rctx="IE">
                                        <p:cTn id="350" dur="indefinite"/>
                                        <p:tgtEl>
                                          <p:spTgt spid="25">
                                            <p:txEl>
                                              <p:pRg st="0" end="0"/>
                                            </p:txEl>
                                          </p:spTgt>
                                        </p:tgtEl>
                                      </p:cBhvr>
                                    </p:animEffect>
                                  </p:childTnLst>
                                </p:cTn>
                              </p:par>
                              <p:par>
                                <p:cTn id="351" presetID="9" presetClass="emph" presetSubtype="0" grpId="2" nodeType="withEffect">
                                  <p:stCondLst>
                                    <p:cond delay="0"/>
                                  </p:stCondLst>
                                  <p:childTnLst>
                                    <p:set>
                                      <p:cBhvr>
                                        <p:cTn id="352" dur="indefinite"/>
                                        <p:tgtEl>
                                          <p:spTgt spid="26">
                                            <p:txEl>
                                              <p:pRg st="0" end="0"/>
                                            </p:txEl>
                                          </p:spTgt>
                                        </p:tgtEl>
                                        <p:attrNameLst>
                                          <p:attrName>style.opacity</p:attrName>
                                        </p:attrNameLst>
                                      </p:cBhvr>
                                      <p:to>
                                        <p:strVal val="1"/>
                                      </p:to>
                                    </p:set>
                                    <p:animEffect filter="image" prLst="opacity: 1">
                                      <p:cBhvr rctx="IE">
                                        <p:cTn id="353" dur="indefinite"/>
                                        <p:tgtEl>
                                          <p:spTgt spid="26">
                                            <p:txEl>
                                              <p:pRg st="0" end="0"/>
                                            </p:txEl>
                                          </p:spTgt>
                                        </p:tgtEl>
                                      </p:cBhvr>
                                    </p:animEffect>
                                  </p:childTnLst>
                                </p:cTn>
                              </p:par>
                              <p:par>
                                <p:cTn id="354" presetID="9" presetClass="emph" presetSubtype="0" grpId="2" nodeType="withEffect">
                                  <p:stCondLst>
                                    <p:cond delay="0"/>
                                  </p:stCondLst>
                                  <p:childTnLst>
                                    <p:set>
                                      <p:cBhvr>
                                        <p:cTn id="355" dur="indefinite"/>
                                        <p:tgtEl>
                                          <p:spTgt spid="27">
                                            <p:txEl>
                                              <p:pRg st="0" end="0"/>
                                            </p:txEl>
                                          </p:spTgt>
                                        </p:tgtEl>
                                        <p:attrNameLst>
                                          <p:attrName>style.opacity</p:attrName>
                                        </p:attrNameLst>
                                      </p:cBhvr>
                                      <p:to>
                                        <p:strVal val="1"/>
                                      </p:to>
                                    </p:set>
                                    <p:animEffect filter="image" prLst="opacity: 1">
                                      <p:cBhvr rctx="IE">
                                        <p:cTn id="356" dur="indefinite"/>
                                        <p:tgtEl>
                                          <p:spTgt spid="27">
                                            <p:txEl>
                                              <p:pRg st="0" end="0"/>
                                            </p:txEl>
                                          </p:spTgt>
                                        </p:tgtEl>
                                      </p:cBhvr>
                                    </p:animEffect>
                                  </p:childTnLst>
                                </p:cTn>
                              </p:par>
                              <p:par>
                                <p:cTn id="357" presetID="9" presetClass="emph" presetSubtype="0" nodeType="withEffect">
                                  <p:stCondLst>
                                    <p:cond delay="0"/>
                                  </p:stCondLst>
                                  <p:childTnLst>
                                    <p:set>
                                      <p:cBhvr>
                                        <p:cTn id="358" dur="indefinite"/>
                                        <p:tgtEl>
                                          <p:spTgt spid="126"/>
                                        </p:tgtEl>
                                        <p:attrNameLst>
                                          <p:attrName>style.opacity</p:attrName>
                                        </p:attrNameLst>
                                      </p:cBhvr>
                                      <p:to>
                                        <p:strVal val="1"/>
                                      </p:to>
                                    </p:set>
                                    <p:animEffect filter="image" prLst="opacity: 1">
                                      <p:cBhvr rctx="IE">
                                        <p:cTn id="359" dur="indefinite"/>
                                        <p:tgtEl>
                                          <p:spTgt spid="126"/>
                                        </p:tgtEl>
                                      </p:cBhvr>
                                    </p:animEffect>
                                  </p:childTnLst>
                                </p:cTn>
                              </p:par>
                              <p:par>
                                <p:cTn id="360" presetID="9" presetClass="emph" presetSubtype="0" nodeType="withEffect">
                                  <p:stCondLst>
                                    <p:cond delay="0"/>
                                  </p:stCondLst>
                                  <p:childTnLst>
                                    <p:set>
                                      <p:cBhvr>
                                        <p:cTn id="361" dur="indefinite"/>
                                        <p:tgtEl>
                                          <p:spTgt spid="136"/>
                                        </p:tgtEl>
                                        <p:attrNameLst>
                                          <p:attrName>style.opacity</p:attrName>
                                        </p:attrNameLst>
                                      </p:cBhvr>
                                      <p:to>
                                        <p:strVal val="1"/>
                                      </p:to>
                                    </p:set>
                                    <p:animEffect filter="image" prLst="opacity: 1">
                                      <p:cBhvr rctx="IE">
                                        <p:cTn id="362" dur="indefinite"/>
                                        <p:tgtEl>
                                          <p:spTgt spid="136"/>
                                        </p:tgtEl>
                                      </p:cBhvr>
                                    </p:animEffect>
                                  </p:childTnLst>
                                </p:cTn>
                              </p:par>
                              <p:par>
                                <p:cTn id="363" presetID="9" presetClass="emph" presetSubtype="0" nodeType="withEffect">
                                  <p:stCondLst>
                                    <p:cond delay="0"/>
                                  </p:stCondLst>
                                  <p:childTnLst>
                                    <p:set>
                                      <p:cBhvr>
                                        <p:cTn id="364" dur="indefinite"/>
                                        <p:tgtEl>
                                          <p:spTgt spid="139"/>
                                        </p:tgtEl>
                                        <p:attrNameLst>
                                          <p:attrName>style.opacity</p:attrName>
                                        </p:attrNameLst>
                                      </p:cBhvr>
                                      <p:to>
                                        <p:strVal val="1"/>
                                      </p:to>
                                    </p:set>
                                    <p:animEffect filter="image" prLst="opacity: 1">
                                      <p:cBhvr rctx="IE">
                                        <p:cTn id="365" dur="indefinite"/>
                                        <p:tgtEl>
                                          <p:spTgt spid="139"/>
                                        </p:tgtEl>
                                      </p:cBhvr>
                                    </p:animEffect>
                                  </p:childTnLst>
                                </p:cTn>
                              </p:par>
                              <p:par>
                                <p:cTn id="366" presetID="9" presetClass="emph" presetSubtype="0" nodeType="withEffect">
                                  <p:stCondLst>
                                    <p:cond delay="0"/>
                                  </p:stCondLst>
                                  <p:childTnLst>
                                    <p:set>
                                      <p:cBhvr>
                                        <p:cTn id="367" dur="indefinite"/>
                                        <p:tgtEl>
                                          <p:spTgt spid="158"/>
                                        </p:tgtEl>
                                        <p:attrNameLst>
                                          <p:attrName>style.opacity</p:attrName>
                                        </p:attrNameLst>
                                      </p:cBhvr>
                                      <p:to>
                                        <p:strVal val="1"/>
                                      </p:to>
                                    </p:set>
                                    <p:animEffect filter="image" prLst="opacity: 1">
                                      <p:cBhvr rctx="IE">
                                        <p:cTn id="368" dur="indefinite"/>
                                        <p:tgtEl>
                                          <p:spTgt spid="158"/>
                                        </p:tgtEl>
                                      </p:cBhvr>
                                    </p:animEffect>
                                  </p:childTnLst>
                                </p:cTn>
                              </p:par>
                              <p:par>
                                <p:cTn id="369" presetID="9" presetClass="emph" presetSubtype="0" grpId="1" nodeType="withEffect" nodePh="1">
                                  <p:stCondLst>
                                    <p:cond delay="0"/>
                                  </p:stCondLst>
                                  <p:endCondLst>
                                    <p:cond evt="begin" delay="0">
                                      <p:tn val="369"/>
                                    </p:cond>
                                  </p:endCondLst>
                                  <p:childTnLst>
                                    <p:set>
                                      <p:cBhvr>
                                        <p:cTn id="370" dur="indefinite"/>
                                        <p:tgtEl>
                                          <p:spTgt spid="171"/>
                                        </p:tgtEl>
                                        <p:attrNameLst>
                                          <p:attrName>style.opacity</p:attrName>
                                        </p:attrNameLst>
                                      </p:cBhvr>
                                      <p:to>
                                        <p:strVal val="1"/>
                                      </p:to>
                                    </p:set>
                                    <p:animEffect filter="image" prLst="opacity: 1">
                                      <p:cBhvr rctx="IE">
                                        <p:cTn id="371" dur="indefinite"/>
                                        <p:tgtEl>
                                          <p:spTgt spid="171"/>
                                        </p:tgtEl>
                                      </p:cBhvr>
                                    </p:animEffect>
                                  </p:childTnLst>
                                </p:cTn>
                              </p:par>
                              <p:par>
                                <p:cTn id="372" presetID="9" presetClass="emph" presetSubtype="0" grpId="0" nodeType="withEffect" nodePh="1">
                                  <p:stCondLst>
                                    <p:cond delay="0"/>
                                  </p:stCondLst>
                                  <p:endCondLst>
                                    <p:cond evt="begin" delay="0">
                                      <p:tn val="372"/>
                                    </p:cond>
                                  </p:endCondLst>
                                  <p:childTnLst>
                                    <p:set>
                                      <p:cBhvr>
                                        <p:cTn id="373" dur="indefinite"/>
                                        <p:tgtEl>
                                          <p:spTgt spid="172"/>
                                        </p:tgtEl>
                                        <p:attrNameLst>
                                          <p:attrName>style.opacity</p:attrName>
                                        </p:attrNameLst>
                                      </p:cBhvr>
                                      <p:to>
                                        <p:strVal val="1"/>
                                      </p:to>
                                    </p:set>
                                    <p:animEffect filter="image" prLst="opacity: 1">
                                      <p:cBhvr rctx="IE">
                                        <p:cTn id="374" dur="indefinite"/>
                                        <p:tgtEl>
                                          <p:spTgt spid="172"/>
                                        </p:tgtEl>
                                      </p:cBhvr>
                                    </p:animEffect>
                                  </p:childTnLst>
                                </p:cTn>
                              </p:par>
                              <p:par>
                                <p:cTn id="375" presetID="10" presetClass="entr" presetSubtype="0" fill="hold" grpId="0" nodeType="withEffect">
                                  <p:stCondLst>
                                    <p:cond delay="0"/>
                                  </p:stCondLst>
                                  <p:childTnLst>
                                    <p:set>
                                      <p:cBhvr>
                                        <p:cTn id="376" dur="1" fill="hold">
                                          <p:stCondLst>
                                            <p:cond delay="0"/>
                                          </p:stCondLst>
                                        </p:cTn>
                                        <p:tgtEl>
                                          <p:spTgt spid="185"/>
                                        </p:tgtEl>
                                        <p:attrNameLst>
                                          <p:attrName>style.visibility</p:attrName>
                                        </p:attrNameLst>
                                      </p:cBhvr>
                                      <p:to>
                                        <p:strVal val="visible"/>
                                      </p:to>
                                    </p:set>
                                    <p:animEffect transition="in" filter="fade">
                                      <p:cBhvr>
                                        <p:cTn id="377" dur="500"/>
                                        <p:tgtEl>
                                          <p:spTgt spid="185"/>
                                        </p:tgtEl>
                                      </p:cBhvr>
                                    </p:animEffect>
                                  </p:childTnLst>
                                </p:cTn>
                              </p:par>
                              <p:par>
                                <p:cTn id="378" presetID="9" presetClass="emph" presetSubtype="0" grpId="1" nodeType="withEffect">
                                  <p:stCondLst>
                                    <p:cond delay="0"/>
                                  </p:stCondLst>
                                  <p:childTnLst>
                                    <p:set>
                                      <p:cBhvr>
                                        <p:cTn id="379" dur="indefinite"/>
                                        <p:tgtEl>
                                          <p:spTgt spid="185"/>
                                        </p:tgtEl>
                                        <p:attrNameLst>
                                          <p:attrName>style.opacity</p:attrName>
                                        </p:attrNameLst>
                                      </p:cBhvr>
                                      <p:to>
                                        <p:strVal val="0.1"/>
                                      </p:to>
                                    </p:set>
                                    <p:animEffect filter="image" prLst="opacity: 0.1">
                                      <p:cBhvr rctx="IE">
                                        <p:cTn id="380" dur="indefinite"/>
                                        <p:tgtEl>
                                          <p:spTgt spid="185"/>
                                        </p:tgtEl>
                                      </p:cBhvr>
                                    </p:animEffect>
                                  </p:childTnLst>
                                </p:cTn>
                              </p:par>
                              <p:par>
                                <p:cTn id="381" presetID="10" presetClass="entr" presetSubtype="0" fill="hold" grpId="0" nodeType="withEffect">
                                  <p:stCondLst>
                                    <p:cond delay="0"/>
                                  </p:stCondLst>
                                  <p:childTnLst>
                                    <p:set>
                                      <p:cBhvr>
                                        <p:cTn id="382" dur="1" fill="hold">
                                          <p:stCondLst>
                                            <p:cond delay="0"/>
                                          </p:stCondLst>
                                        </p:cTn>
                                        <p:tgtEl>
                                          <p:spTgt spid="186"/>
                                        </p:tgtEl>
                                        <p:attrNameLst>
                                          <p:attrName>style.visibility</p:attrName>
                                        </p:attrNameLst>
                                      </p:cBhvr>
                                      <p:to>
                                        <p:strVal val="visible"/>
                                      </p:to>
                                    </p:set>
                                    <p:animEffect transition="in" filter="fade">
                                      <p:cBhvr>
                                        <p:cTn id="383" dur="500"/>
                                        <p:tgtEl>
                                          <p:spTgt spid="186"/>
                                        </p:tgtEl>
                                      </p:cBhvr>
                                    </p:animEffect>
                                  </p:childTnLst>
                                </p:cTn>
                              </p:par>
                              <p:par>
                                <p:cTn id="384" presetID="9" presetClass="emph" presetSubtype="0" grpId="1" nodeType="withEffect">
                                  <p:stCondLst>
                                    <p:cond delay="0"/>
                                  </p:stCondLst>
                                  <p:childTnLst>
                                    <p:set>
                                      <p:cBhvr>
                                        <p:cTn id="385" dur="indefinite"/>
                                        <p:tgtEl>
                                          <p:spTgt spid="186"/>
                                        </p:tgtEl>
                                        <p:attrNameLst>
                                          <p:attrName>style.opacity</p:attrName>
                                        </p:attrNameLst>
                                      </p:cBhvr>
                                      <p:to>
                                        <p:strVal val="0.1"/>
                                      </p:to>
                                    </p:set>
                                    <p:animEffect filter="image" prLst="opacity: 0.1">
                                      <p:cBhvr rctx="IE">
                                        <p:cTn id="386" dur="indefinite"/>
                                        <p:tgtEl>
                                          <p:spTgt spid="186"/>
                                        </p:tgtEl>
                                      </p:cBhvr>
                                    </p:animEffect>
                                  </p:childTnLst>
                                </p:cTn>
                              </p:par>
                              <p:par>
                                <p:cTn id="387" presetID="10" presetClass="entr" presetSubtype="0" fill="hold" grpId="0" nodeType="withEffect">
                                  <p:stCondLst>
                                    <p:cond delay="0"/>
                                  </p:stCondLst>
                                  <p:childTnLst>
                                    <p:set>
                                      <p:cBhvr>
                                        <p:cTn id="388" dur="1" fill="hold">
                                          <p:stCondLst>
                                            <p:cond delay="0"/>
                                          </p:stCondLst>
                                        </p:cTn>
                                        <p:tgtEl>
                                          <p:spTgt spid="187"/>
                                        </p:tgtEl>
                                        <p:attrNameLst>
                                          <p:attrName>style.visibility</p:attrName>
                                        </p:attrNameLst>
                                      </p:cBhvr>
                                      <p:to>
                                        <p:strVal val="visible"/>
                                      </p:to>
                                    </p:set>
                                    <p:animEffect transition="in" filter="fade">
                                      <p:cBhvr>
                                        <p:cTn id="389" dur="500"/>
                                        <p:tgtEl>
                                          <p:spTgt spid="187"/>
                                        </p:tgtEl>
                                      </p:cBhvr>
                                    </p:animEffect>
                                  </p:childTnLst>
                                </p:cTn>
                              </p:par>
                              <p:par>
                                <p:cTn id="390" presetID="9" presetClass="emph" presetSubtype="0" grpId="1" nodeType="withEffect">
                                  <p:stCondLst>
                                    <p:cond delay="0"/>
                                  </p:stCondLst>
                                  <p:childTnLst>
                                    <p:set>
                                      <p:cBhvr>
                                        <p:cTn id="391" dur="indefinite"/>
                                        <p:tgtEl>
                                          <p:spTgt spid="187"/>
                                        </p:tgtEl>
                                        <p:attrNameLst>
                                          <p:attrName>style.opacity</p:attrName>
                                        </p:attrNameLst>
                                      </p:cBhvr>
                                      <p:to>
                                        <p:strVal val="0.1"/>
                                      </p:to>
                                    </p:set>
                                    <p:animEffect filter="image" prLst="opacity: 0.1">
                                      <p:cBhvr rctx="IE">
                                        <p:cTn id="392" dur="indefinite"/>
                                        <p:tgtEl>
                                          <p:spTgt spid="187"/>
                                        </p:tgtEl>
                                      </p:cBhvr>
                                    </p:animEffect>
                                  </p:childTnLst>
                                </p:cTn>
                              </p:par>
                              <p:par>
                                <p:cTn id="393" presetID="10" presetClass="entr" presetSubtype="0" fill="hold" grpId="0" nodeType="withEffect">
                                  <p:stCondLst>
                                    <p:cond delay="0"/>
                                  </p:stCondLst>
                                  <p:childTnLst>
                                    <p:set>
                                      <p:cBhvr>
                                        <p:cTn id="394" dur="1" fill="hold">
                                          <p:stCondLst>
                                            <p:cond delay="0"/>
                                          </p:stCondLst>
                                        </p:cTn>
                                        <p:tgtEl>
                                          <p:spTgt spid="188"/>
                                        </p:tgtEl>
                                        <p:attrNameLst>
                                          <p:attrName>style.visibility</p:attrName>
                                        </p:attrNameLst>
                                      </p:cBhvr>
                                      <p:to>
                                        <p:strVal val="visible"/>
                                      </p:to>
                                    </p:set>
                                    <p:animEffect transition="in" filter="fade">
                                      <p:cBhvr>
                                        <p:cTn id="395" dur="500"/>
                                        <p:tgtEl>
                                          <p:spTgt spid="188"/>
                                        </p:tgtEl>
                                      </p:cBhvr>
                                    </p:animEffect>
                                  </p:childTnLst>
                                </p:cTn>
                              </p:par>
                              <p:par>
                                <p:cTn id="396" presetID="9" presetClass="emph" presetSubtype="0" grpId="1" nodeType="withEffect">
                                  <p:stCondLst>
                                    <p:cond delay="0"/>
                                  </p:stCondLst>
                                  <p:childTnLst>
                                    <p:set>
                                      <p:cBhvr>
                                        <p:cTn id="397" dur="indefinite"/>
                                        <p:tgtEl>
                                          <p:spTgt spid="188"/>
                                        </p:tgtEl>
                                        <p:attrNameLst>
                                          <p:attrName>style.opacity</p:attrName>
                                        </p:attrNameLst>
                                      </p:cBhvr>
                                      <p:to>
                                        <p:strVal val="0.1"/>
                                      </p:to>
                                    </p:set>
                                    <p:animEffect filter="image" prLst="opacity: 0.1">
                                      <p:cBhvr rctx="IE">
                                        <p:cTn id="398" dur="indefinite"/>
                                        <p:tgtEl>
                                          <p:spTgt spid="188"/>
                                        </p:tgtEl>
                                      </p:cBhvr>
                                    </p:animEffect>
                                  </p:childTnLst>
                                </p:cTn>
                              </p:par>
                              <p:par>
                                <p:cTn id="399" presetID="10" presetClass="entr" presetSubtype="0" fill="hold" grpId="0" nodeType="withEffect">
                                  <p:stCondLst>
                                    <p:cond delay="0"/>
                                  </p:stCondLst>
                                  <p:childTnLst>
                                    <p:set>
                                      <p:cBhvr>
                                        <p:cTn id="400" dur="1" fill="hold">
                                          <p:stCondLst>
                                            <p:cond delay="0"/>
                                          </p:stCondLst>
                                        </p:cTn>
                                        <p:tgtEl>
                                          <p:spTgt spid="189"/>
                                        </p:tgtEl>
                                        <p:attrNameLst>
                                          <p:attrName>style.visibility</p:attrName>
                                        </p:attrNameLst>
                                      </p:cBhvr>
                                      <p:to>
                                        <p:strVal val="visible"/>
                                      </p:to>
                                    </p:set>
                                    <p:animEffect transition="in" filter="fade">
                                      <p:cBhvr>
                                        <p:cTn id="401" dur="500"/>
                                        <p:tgtEl>
                                          <p:spTgt spid="189"/>
                                        </p:tgtEl>
                                      </p:cBhvr>
                                    </p:animEffect>
                                  </p:childTnLst>
                                </p:cTn>
                              </p:par>
                              <p:par>
                                <p:cTn id="402" presetID="9" presetClass="emph" presetSubtype="0" grpId="2" nodeType="withEffect">
                                  <p:stCondLst>
                                    <p:cond delay="0"/>
                                  </p:stCondLst>
                                  <p:childTnLst>
                                    <p:set>
                                      <p:cBhvr>
                                        <p:cTn id="403" dur="indefinite"/>
                                        <p:tgtEl>
                                          <p:spTgt spid="185"/>
                                        </p:tgtEl>
                                        <p:attrNameLst>
                                          <p:attrName>style.opacity</p:attrName>
                                        </p:attrNameLst>
                                      </p:cBhvr>
                                      <p:to>
                                        <p:strVal val="1"/>
                                      </p:to>
                                    </p:set>
                                    <p:animEffect filter="image" prLst="opacity: 1">
                                      <p:cBhvr rctx="IE">
                                        <p:cTn id="404" dur="indefinite"/>
                                        <p:tgtEl>
                                          <p:spTgt spid="185"/>
                                        </p:tgtEl>
                                      </p:cBhvr>
                                    </p:animEffect>
                                  </p:childTnLst>
                                </p:cTn>
                              </p:par>
                              <p:par>
                                <p:cTn id="405" presetID="9" presetClass="emph" presetSubtype="0" grpId="2" nodeType="withEffect">
                                  <p:stCondLst>
                                    <p:cond delay="0"/>
                                  </p:stCondLst>
                                  <p:childTnLst>
                                    <p:set>
                                      <p:cBhvr>
                                        <p:cTn id="406" dur="indefinite"/>
                                        <p:tgtEl>
                                          <p:spTgt spid="186"/>
                                        </p:tgtEl>
                                        <p:attrNameLst>
                                          <p:attrName>style.opacity</p:attrName>
                                        </p:attrNameLst>
                                      </p:cBhvr>
                                      <p:to>
                                        <p:strVal val="1"/>
                                      </p:to>
                                    </p:set>
                                    <p:animEffect filter="image" prLst="opacity: 1">
                                      <p:cBhvr rctx="IE">
                                        <p:cTn id="407" dur="indefinite"/>
                                        <p:tgtEl>
                                          <p:spTgt spid="186"/>
                                        </p:tgtEl>
                                      </p:cBhvr>
                                    </p:animEffect>
                                  </p:childTnLst>
                                </p:cTn>
                              </p:par>
                              <p:par>
                                <p:cTn id="408" presetID="9" presetClass="emph" presetSubtype="0" grpId="2" nodeType="withEffect">
                                  <p:stCondLst>
                                    <p:cond delay="0"/>
                                  </p:stCondLst>
                                  <p:childTnLst>
                                    <p:set>
                                      <p:cBhvr>
                                        <p:cTn id="409" dur="indefinite"/>
                                        <p:tgtEl>
                                          <p:spTgt spid="187"/>
                                        </p:tgtEl>
                                        <p:attrNameLst>
                                          <p:attrName>style.opacity</p:attrName>
                                        </p:attrNameLst>
                                      </p:cBhvr>
                                      <p:to>
                                        <p:strVal val="1"/>
                                      </p:to>
                                    </p:set>
                                    <p:animEffect filter="image" prLst="opacity: 1">
                                      <p:cBhvr rctx="IE">
                                        <p:cTn id="410" dur="indefinite"/>
                                        <p:tgtEl>
                                          <p:spTgt spid="187"/>
                                        </p:tgtEl>
                                      </p:cBhvr>
                                    </p:animEffect>
                                  </p:childTnLst>
                                </p:cTn>
                              </p:par>
                              <p:par>
                                <p:cTn id="411" presetID="9" presetClass="emph" presetSubtype="0" grpId="2" nodeType="withEffect">
                                  <p:stCondLst>
                                    <p:cond delay="0"/>
                                  </p:stCondLst>
                                  <p:childTnLst>
                                    <p:set>
                                      <p:cBhvr>
                                        <p:cTn id="412" dur="indefinite"/>
                                        <p:tgtEl>
                                          <p:spTgt spid="188"/>
                                        </p:tgtEl>
                                        <p:attrNameLst>
                                          <p:attrName>style.opacity</p:attrName>
                                        </p:attrNameLst>
                                      </p:cBhvr>
                                      <p:to>
                                        <p:strVal val="1"/>
                                      </p:to>
                                    </p:set>
                                    <p:animEffect filter="image" prLst="opacity: 1">
                                      <p:cBhvr rctx="IE">
                                        <p:cTn id="413" dur="indefinite"/>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P spid="124" grpId="2" animBg="1"/>
      <p:bldP spid="125" grpId="0" animBg="1"/>
      <p:bldP spid="125" grpId="1" animBg="1"/>
      <p:bldP spid="125" grpId="2" animBg="1"/>
      <p:bldP spid="163" grpId="0" animBg="1"/>
      <p:bldP spid="163" grpId="1" animBg="1"/>
      <p:bldP spid="163" grpId="2" animBg="1"/>
      <p:bldP spid="164" grpId="0" animBg="1"/>
      <p:bldP spid="164" grpId="1" animBg="1"/>
      <p:bldP spid="164" grpId="2" animBg="1"/>
      <p:bldP spid="165" grpId="0" animBg="1"/>
      <p:bldP spid="180" grpId="0" animBg="1"/>
      <p:bldP spid="180" grpId="1" animBg="1"/>
      <p:bldP spid="180" grpId="2" animBg="1"/>
      <p:bldP spid="181" grpId="0" animBg="1"/>
      <p:bldP spid="181" grpId="1" animBg="1"/>
      <p:bldP spid="181" grpId="2" animBg="1"/>
      <p:bldP spid="182" grpId="0" animBg="1"/>
      <p:bldP spid="182" grpId="1" animBg="1"/>
      <p:bldP spid="182" grpId="2" animBg="1"/>
      <p:bldP spid="183" grpId="0" animBg="1"/>
      <p:bldP spid="183" grpId="1" animBg="1"/>
      <p:bldP spid="183" grpId="2" animBg="1"/>
      <p:bldP spid="184" grpId="0" animBg="1"/>
      <p:bldP spid="10" grpId="0" build="p"/>
      <p:bldP spid="10" grpId="1" build="p"/>
      <p:bldP spid="10" grpId="2" build="p"/>
      <p:bldP spid="11" grpId="0" build="p"/>
      <p:bldP spid="11" grpId="1" build="p"/>
      <p:bldP spid="11" grpId="2" build="p"/>
      <p:bldP spid="12" grpId="0" build="p"/>
      <p:bldP spid="12" grpId="1" build="p"/>
      <p:bldP spid="12" grpId="2" build="p"/>
      <p:bldP spid="13" grpId="0" build="p"/>
      <p:bldP spid="13" grpId="1" build="p"/>
      <p:bldP spid="13" grpId="2" build="p"/>
      <p:bldP spid="14" grpId="0" build="p"/>
      <p:bldP spid="4" grpId="0" build="p"/>
      <p:bldP spid="4" grpId="1" build="p"/>
      <p:bldP spid="4" grpId="2" build="p"/>
      <p:bldP spid="5" grpId="0" build="p"/>
      <p:bldP spid="5" grpId="1" build="p"/>
      <p:bldP spid="5" grpId="2" build="p"/>
      <p:bldP spid="6" grpId="0" build="p"/>
      <p:bldP spid="6" grpId="1" build="p"/>
      <p:bldP spid="6" grpId="2" build="p"/>
      <p:bldP spid="7" grpId="0" build="p"/>
      <p:bldP spid="7" grpId="1" build="p"/>
      <p:bldP spid="7" grpId="2" build="p"/>
      <p:bldP spid="8" grpId="0" build="p"/>
      <p:bldP spid="9" grpId="0"/>
      <p:bldP spid="9" grpId="1"/>
      <p:bldP spid="9" grpId="2"/>
      <p:bldP spid="15" grpId="0"/>
      <p:bldP spid="15" grpId="1"/>
      <p:bldP spid="15" grpId="2"/>
      <p:bldP spid="16" grpId="0"/>
      <p:bldP spid="16" grpId="1"/>
      <p:bldP spid="16" grpId="2"/>
      <p:bldP spid="17" grpId="0"/>
      <p:bldP spid="18" grpId="0"/>
      <p:bldP spid="18" grpId="1"/>
      <p:bldP spid="18" grpId="2"/>
      <p:bldP spid="19" grpId="0"/>
      <p:bldP spid="19" grpId="1"/>
      <p:bldP spid="19" grpId="2"/>
      <p:bldP spid="20" grpId="0"/>
      <p:bldP spid="20" grpId="1"/>
      <p:bldP spid="20" grpId="2"/>
      <p:bldP spid="21" grpId="0"/>
      <p:bldP spid="21" grpId="1"/>
      <p:bldP spid="21" grpId="2"/>
      <p:bldP spid="22" grpId="0"/>
      <p:bldP spid="23" grpId="0"/>
      <p:bldP spid="23" grpId="1"/>
      <p:bldP spid="23"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P spid="171" grpId="0"/>
      <p:bldP spid="171" grpId="1"/>
      <p:bldP spid="172" grpId="0"/>
      <p:bldP spid="185" grpId="0" animBg="1"/>
      <p:bldP spid="185" grpId="1" animBg="1"/>
      <p:bldP spid="185" grpId="2" animBg="1"/>
      <p:bldP spid="186" grpId="0" animBg="1"/>
      <p:bldP spid="186" grpId="1" animBg="1"/>
      <p:bldP spid="186" grpId="2" animBg="1"/>
      <p:bldP spid="187" grpId="0" animBg="1"/>
      <p:bldP spid="187" grpId="1" animBg="1"/>
      <p:bldP spid="187" grpId="2" animBg="1"/>
      <p:bldP spid="188" grpId="0" animBg="1"/>
      <p:bldP spid="188" grpId="1" animBg="1"/>
      <p:bldP spid="188" grpId="2" animBg="1"/>
      <p:bldP spid="18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7CEB24A-4BE6-4D07-85F0-18319A1E917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flipH="1">
            <a:off x="8240026" y="1"/>
            <a:ext cx="3951974" cy="5231187"/>
          </a:xfrm>
          <a:custGeom>
            <a:avLst/>
            <a:gdLst>
              <a:gd name="connsiteX0" fmla="*/ 3951974 w 3951974"/>
              <a:gd name="connsiteY0" fmla="*/ 0 h 5231187"/>
              <a:gd name="connsiteX1" fmla="*/ 0 w 3951974"/>
              <a:gd name="connsiteY1" fmla="*/ 0 h 5231187"/>
              <a:gd name="connsiteX2" fmla="*/ 0 w 3951974"/>
              <a:gd name="connsiteY2" fmla="*/ 5231187 h 5231187"/>
              <a:gd name="connsiteX3" fmla="*/ 3951974 w 3951974"/>
              <a:gd name="connsiteY3" fmla="*/ 5231187 h 5231187"/>
            </a:gdLst>
            <a:ahLst/>
            <a:cxnLst>
              <a:cxn ang="0">
                <a:pos x="connsiteX0" y="connsiteY0"/>
              </a:cxn>
              <a:cxn ang="0">
                <a:pos x="connsiteX1" y="connsiteY1"/>
              </a:cxn>
              <a:cxn ang="0">
                <a:pos x="connsiteX2" y="connsiteY2"/>
              </a:cxn>
              <a:cxn ang="0">
                <a:pos x="connsiteX3" y="connsiteY3"/>
              </a:cxn>
            </a:cxnLst>
            <a:rect l="l" t="t" r="r" b="b"/>
            <a:pathLst>
              <a:path w="3951974" h="5231187">
                <a:moveTo>
                  <a:pt x="3951974" y="0"/>
                </a:moveTo>
                <a:lnTo>
                  <a:pt x="0" y="0"/>
                </a:lnTo>
                <a:lnTo>
                  <a:pt x="0" y="5231187"/>
                </a:lnTo>
                <a:lnTo>
                  <a:pt x="3951974" y="5231187"/>
                </a:lnTo>
                <a:close/>
              </a:path>
            </a:pathLst>
          </a:custGeom>
        </p:spPr>
      </p:pic>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Pct val="90000"/>
              <a:buFontTx/>
              <a:buNone/>
              <a:tabLst/>
              <a:defRPr/>
            </a:pPr>
            <a: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SOS delivers 15.4 million personalized experiences </a:t>
            </a:r>
            <a:b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ith 33 orders per second </a:t>
            </a:r>
          </a:p>
        </p:txBody>
      </p:sp>
      <p:pic>
        <p:nvPicPr>
          <p:cNvPr id="33" name="Picture 8" descr="Image result for asos logo vector">
            <a:extLst>
              <a:ext uri="{FF2B5EF4-FFF2-40B4-BE49-F238E27FC236}">
                <a16:creationId xmlns:a16="http://schemas.microsoft.com/office/drawing/2014/main" id="{44A895E1-680C-4199-91D0-24FA827B18A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21007" y="4521586"/>
            <a:ext cx="1906968" cy="705689"/>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0C90A925-5D0A-43B8-B479-149E995C6D8D}"/>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3" name="Title 1"/>
          <p:cNvSpPr>
            <a:spLocks noGrp="1"/>
          </p:cNvSpPr>
          <p:nvPr>
            <p:ph type="title"/>
          </p:nvPr>
        </p:nvSpPr>
        <p:spPr/>
        <p:txBody>
          <a:bodyPr/>
          <a:lstStyle/>
          <a:p>
            <a:r>
              <a:rPr lang="en-US" sz="3529" spc="-150" dirty="0">
                <a:solidFill>
                  <a:srgbClr val="0078D7"/>
                </a:solidFill>
              </a:rPr>
              <a:t>Product recommendation</a:t>
            </a:r>
            <a:br>
              <a:rPr lang="en-US" sz="3529" spc="-150" dirty="0">
                <a:solidFill>
                  <a:srgbClr val="0078D7"/>
                </a:solidFill>
              </a:rPr>
            </a:br>
            <a:r>
              <a:rPr lang="en-US" sz="2400" dirty="0"/>
              <a:t>Delight customers with improved shopping experiences</a:t>
            </a:r>
            <a:endParaRPr lang="en-US" sz="3200" dirty="0"/>
          </a:p>
        </p:txBody>
      </p:sp>
      <p:sp>
        <p:nvSpPr>
          <p:cNvPr id="21" name="Oval 20">
            <a:extLst>
              <a:ext uri="{FF2B5EF4-FFF2-40B4-BE49-F238E27FC236}">
                <a16:creationId xmlns:a16="http://schemas.microsoft.com/office/drawing/2014/main" id="{B7E21E37-73E4-4DE7-90F3-F8E17D38AFE0}"/>
              </a:ext>
            </a:extLst>
          </p:cNvPr>
          <p:cNvSpPr/>
          <p:nvPr/>
        </p:nvSpPr>
        <p:spPr bwMode="auto">
          <a:xfrm>
            <a:off x="457200" y="195011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475EABB8-0055-4FAD-88EB-35DC8154B917}"/>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5A748529-2991-4101-B720-7A52F6915FD3}"/>
              </a:ext>
            </a:extLst>
          </p:cNvPr>
          <p:cNvSpPr/>
          <p:nvPr/>
        </p:nvSpPr>
        <p:spPr>
          <a:xfrm>
            <a:off x="1529839" y="2008368"/>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he average size of a single cart has decreased</a:t>
            </a:r>
          </a:p>
        </p:txBody>
      </p:sp>
      <p:sp>
        <p:nvSpPr>
          <p:cNvPr id="27" name="Rectangle 26">
            <a:extLst>
              <a:ext uri="{FF2B5EF4-FFF2-40B4-BE49-F238E27FC236}">
                <a16:creationId xmlns:a16="http://schemas.microsoft.com/office/drawing/2014/main" id="{09EF3CA5-94DC-46AE-848A-056FC7CC9946}"/>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vide personalized digital content to shoppers</a:t>
            </a:r>
          </a:p>
        </p:txBody>
      </p:sp>
      <p:sp>
        <p:nvSpPr>
          <p:cNvPr id="22" name="Oval 21">
            <a:extLst>
              <a:ext uri="{FF2B5EF4-FFF2-40B4-BE49-F238E27FC236}">
                <a16:creationId xmlns:a16="http://schemas.microsoft.com/office/drawing/2014/main" id="{18B45FD8-4F9C-4828-8777-03F94B218508}"/>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3A2B757E-9D16-42D5-A7BB-00BFC343D6F3}"/>
              </a:ext>
            </a:extLst>
          </p:cNvPr>
          <p:cNvSpPr/>
          <p:nvPr/>
        </p:nvSpPr>
        <p:spPr>
          <a:xfrm>
            <a:off x="2264644"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Engage customers</a:t>
            </a:r>
          </a:p>
        </p:txBody>
      </p:sp>
      <p:sp>
        <p:nvSpPr>
          <p:cNvPr id="23" name="Oval 22">
            <a:extLst>
              <a:ext uri="{FF2B5EF4-FFF2-40B4-BE49-F238E27FC236}">
                <a16:creationId xmlns:a16="http://schemas.microsoft.com/office/drawing/2014/main" id="{F01E3D0C-E160-4CA8-9196-BD62B69CD998}"/>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8E7A7709-EC8F-4B20-93DA-24BB3818911B}"/>
              </a:ext>
            </a:extLst>
          </p:cNvPr>
          <p:cNvSpPr/>
          <p:nvPr/>
        </p:nvSpPr>
        <p:spPr>
          <a:xfrm>
            <a:off x="4697559" y="4924599"/>
            <a:ext cx="1008122"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eliver relevant content</a:t>
            </a:r>
          </a:p>
        </p:txBody>
      </p:sp>
      <p:sp>
        <p:nvSpPr>
          <p:cNvPr id="24" name="Oval 23">
            <a:extLst>
              <a:ext uri="{FF2B5EF4-FFF2-40B4-BE49-F238E27FC236}">
                <a16:creationId xmlns:a16="http://schemas.microsoft.com/office/drawing/2014/main" id="{76E56E5E-57A0-43BF-BC61-F3C7E5ED3A44}"/>
              </a:ext>
            </a:extLst>
          </p:cNvPr>
          <p:cNvSpPr/>
          <p:nvPr/>
        </p:nvSpPr>
        <p:spPr bwMode="auto">
          <a:xfrm>
            <a:off x="6239945"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6E44324B-B139-432A-9663-AE612246AE57}"/>
              </a:ext>
            </a:extLst>
          </p:cNvPr>
          <p:cNvSpPr/>
          <p:nvPr/>
        </p:nvSpPr>
        <p:spPr>
          <a:xfrm>
            <a:off x="7130473"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crease </a:t>
            </a:r>
            <a:b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art size</a:t>
            </a:r>
          </a:p>
        </p:txBody>
      </p:sp>
      <p:sp>
        <p:nvSpPr>
          <p:cNvPr id="36" name="Warning_E7BA" title="Icon of a triangle with an exclaimation point inside">
            <a:extLst>
              <a:ext uri="{FF2B5EF4-FFF2-40B4-BE49-F238E27FC236}">
                <a16:creationId xmlns:a16="http://schemas.microsoft.com/office/drawing/2014/main" id="{18185A92-3C0A-44F6-A60C-DE2C4271DCCA}"/>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7" name="light" title="Icon of a lightbulb">
            <a:extLst>
              <a:ext uri="{FF2B5EF4-FFF2-40B4-BE49-F238E27FC236}">
                <a16:creationId xmlns:a16="http://schemas.microsoft.com/office/drawing/2014/main" id="{DFFAC522-BF71-4A98-86B5-E84E3A475BE1}"/>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39" name="Commitments_EC4D" title="Icon of a handshake">
            <a:extLst>
              <a:ext uri="{FF2B5EF4-FFF2-40B4-BE49-F238E27FC236}">
                <a16:creationId xmlns:a16="http://schemas.microsoft.com/office/drawing/2014/main" id="{2825304C-83CB-4E4B-A847-677D057D8795}"/>
              </a:ext>
            </a:extLst>
          </p:cNvPr>
          <p:cNvSpPr>
            <a:spLocks noChangeAspect="1" noEditPoints="1"/>
          </p:cNvSpPr>
          <p:nvPr/>
        </p:nvSpPr>
        <p:spPr bwMode="auto">
          <a:xfrm>
            <a:off x="1593156" y="5100320"/>
            <a:ext cx="478838" cy="44897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 name="CRMArticles_EFF5" title="Icon of two documents stacked together with writing on them">
            <a:extLst>
              <a:ext uri="{FF2B5EF4-FFF2-40B4-BE49-F238E27FC236}">
                <a16:creationId xmlns:a16="http://schemas.microsoft.com/office/drawing/2014/main" id="{12B779B2-D2A4-4439-9D7B-9000685C3284}"/>
              </a:ext>
            </a:extLst>
          </p:cNvPr>
          <p:cNvSpPr>
            <a:spLocks noChangeAspect="1" noEditPoints="1"/>
          </p:cNvSpPr>
          <p:nvPr/>
        </p:nvSpPr>
        <p:spPr bwMode="auto">
          <a:xfrm>
            <a:off x="4068227" y="5100320"/>
            <a:ext cx="388940" cy="44897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41" name="Group 40">
            <a:extLst>
              <a:ext uri="{FF2B5EF4-FFF2-40B4-BE49-F238E27FC236}">
                <a16:creationId xmlns:a16="http://schemas.microsoft.com/office/drawing/2014/main" id="{3964C236-8BBC-4FD3-AFEF-9A61808EF5A6}"/>
              </a:ext>
            </a:extLst>
          </p:cNvPr>
          <p:cNvGrpSpPr/>
          <p:nvPr/>
        </p:nvGrpSpPr>
        <p:grpSpPr>
          <a:xfrm>
            <a:off x="6434413" y="5006661"/>
            <a:ext cx="527982" cy="636293"/>
            <a:chOff x="6028389" y="5004757"/>
            <a:chExt cx="430127" cy="518367"/>
          </a:xfrm>
        </p:grpSpPr>
        <p:sp>
          <p:nvSpPr>
            <p:cNvPr id="42" name="ShoppingCart_E7BF" title="Icon of a shopping cart">
              <a:extLst>
                <a:ext uri="{FF2B5EF4-FFF2-40B4-BE49-F238E27FC236}">
                  <a16:creationId xmlns:a16="http://schemas.microsoft.com/office/drawing/2014/main" id="{6E429981-6FE5-477A-9EA7-141894B3241C}"/>
                </a:ext>
              </a:extLst>
            </p:cNvPr>
            <p:cNvSpPr>
              <a:spLocks noChangeAspect="1" noEditPoints="1"/>
            </p:cNvSpPr>
            <p:nvPr/>
          </p:nvSpPr>
          <p:spPr bwMode="auto">
            <a:xfrm>
              <a:off x="6028389" y="5157364"/>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pic>
          <p:nvPicPr>
            <p:cNvPr id="44" name="Graphic 43">
              <a:extLst>
                <a:ext uri="{FF2B5EF4-FFF2-40B4-BE49-F238E27FC236}">
                  <a16:creationId xmlns:a16="http://schemas.microsoft.com/office/drawing/2014/main" id="{CC57D470-124C-4C1E-AB83-28D1658CE7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8697" y="5004757"/>
              <a:ext cx="161925" cy="161925"/>
            </a:xfrm>
            <a:prstGeom prst="rect">
              <a:avLst/>
            </a:prstGeom>
            <a:ln w="15875">
              <a:noFill/>
            </a:ln>
          </p:spPr>
        </p:pic>
      </p:grpSp>
    </p:spTree>
    <p:extLst>
      <p:ext uri="{BB962C8B-B14F-4D97-AF65-F5344CB8AC3E}">
        <p14:creationId xmlns:p14="http://schemas.microsoft.com/office/powerpoint/2010/main" val="143623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A606D59C-C10A-4204-B2CE-4C84D702D2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27"/>
          <a:stretch/>
        </p:blipFill>
        <p:spPr>
          <a:xfrm>
            <a:off x="8240027" y="0"/>
            <a:ext cx="3992309" cy="4654296"/>
          </a:xfrm>
          <a:custGeom>
            <a:avLst/>
            <a:gdLst>
              <a:gd name="connsiteX0" fmla="*/ 0 w 3959352"/>
              <a:gd name="connsiteY0" fmla="*/ 0 h 4654296"/>
              <a:gd name="connsiteX1" fmla="*/ 3959352 w 3959352"/>
              <a:gd name="connsiteY1" fmla="*/ 0 h 4654296"/>
              <a:gd name="connsiteX2" fmla="*/ 3959352 w 3959352"/>
              <a:gd name="connsiteY2" fmla="*/ 4654296 h 4654296"/>
              <a:gd name="connsiteX3" fmla="*/ 0 w 3959352"/>
              <a:gd name="connsiteY3" fmla="*/ 4654296 h 4654296"/>
            </a:gdLst>
            <a:ahLst/>
            <a:cxnLst>
              <a:cxn ang="0">
                <a:pos x="connsiteX0" y="connsiteY0"/>
              </a:cxn>
              <a:cxn ang="0">
                <a:pos x="connsiteX1" y="connsiteY1"/>
              </a:cxn>
              <a:cxn ang="0">
                <a:pos x="connsiteX2" y="connsiteY2"/>
              </a:cxn>
              <a:cxn ang="0">
                <a:pos x="connsiteX3" y="connsiteY3"/>
              </a:cxn>
            </a:cxnLst>
            <a:rect l="l" t="t" r="r" b="b"/>
            <a:pathLst>
              <a:path w="3959352" h="4654296">
                <a:moveTo>
                  <a:pt x="0" y="0"/>
                </a:moveTo>
                <a:lnTo>
                  <a:pt x="3959352" y="0"/>
                </a:lnTo>
                <a:lnTo>
                  <a:pt x="3959352" y="4654296"/>
                </a:lnTo>
                <a:lnTo>
                  <a:pt x="0" y="4654296"/>
                </a:lnTo>
                <a:close/>
              </a:path>
            </a:pathLst>
          </a:custGeom>
        </p:spPr>
      </p:pic>
      <p:sp>
        <p:nvSpPr>
          <p:cNvPr id="3" name="Title 1"/>
          <p:cNvSpPr>
            <a:spLocks noGrp="1"/>
          </p:cNvSpPr>
          <p:nvPr>
            <p:ph type="title"/>
          </p:nvPr>
        </p:nvSpPr>
        <p:spPr/>
        <p:txBody>
          <a:bodyPr/>
          <a:lstStyle/>
          <a:p>
            <a:r>
              <a:rPr lang="en-US" sz="3529" spc="-150" dirty="0">
                <a:solidFill>
                  <a:srgbClr val="0078D7"/>
                </a:solidFill>
              </a:rPr>
              <a:t>Predictive maintenance</a:t>
            </a:r>
            <a:br>
              <a:rPr lang="en-US" sz="3529" spc="-147" dirty="0">
                <a:solidFill>
                  <a:srgbClr val="0078D7"/>
                </a:solidFill>
              </a:rPr>
            </a:br>
            <a:r>
              <a:rPr lang="en-US" sz="2400" dirty="0"/>
              <a:t>Optimize operations by minimizing downtime</a:t>
            </a:r>
          </a:p>
        </p:txBody>
      </p:sp>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lang="en-US" sz="2400" dirty="0">
                <a:solidFill>
                  <a:schemeClr val="bg1"/>
                </a:solidFill>
                <a:latin typeface="Segoe UI" panose="020B0502040204020203" pitchFamily="34" charset="0"/>
                <a:cs typeface="Segoe UI" panose="020B0502040204020203" pitchFamily="34" charset="0"/>
              </a:rPr>
              <a:t>Hybrid solution predicts onboard water usage, </a:t>
            </a:r>
            <a:br>
              <a:rPr lang="en-US" sz="2400" dirty="0">
                <a:solidFill>
                  <a:schemeClr val="bg1"/>
                </a:solidFill>
                <a:latin typeface="Segoe UI" panose="020B0502040204020203" pitchFamily="34" charset="0"/>
                <a:cs typeface="Segoe UI" panose="020B0502040204020203" pitchFamily="34" charset="0"/>
              </a:rPr>
            </a:br>
            <a:r>
              <a:rPr lang="en-US" sz="2400" dirty="0">
                <a:solidFill>
                  <a:schemeClr val="bg1"/>
                </a:solidFill>
                <a:latin typeface="Segoe UI" panose="020B0502040204020203" pitchFamily="34" charset="0"/>
                <a:cs typeface="Segoe UI" panose="020B0502040204020203" pitchFamily="34" charset="0"/>
              </a:rPr>
              <a:t>saving $200k/ship/year</a:t>
            </a:r>
          </a:p>
        </p:txBody>
      </p:sp>
      <p:pic>
        <p:nvPicPr>
          <p:cNvPr id="33" name="Picture Placeholder 1">
            <a:extLst>
              <a:ext uri="{FF2B5EF4-FFF2-40B4-BE49-F238E27FC236}">
                <a16:creationId xmlns:a16="http://schemas.microsoft.com/office/drawing/2014/main" id="{A4F6F1FC-371B-4C23-8767-787147439A40}"/>
              </a:ext>
            </a:extLst>
          </p:cNvPr>
          <p:cNvPicPr>
            <a:picLocks noChangeAspect="1"/>
          </p:cNvPicPr>
          <p:nvPr/>
        </p:nvPicPr>
        <p:blipFill rotWithShape="1">
          <a:blip r:embed="rId4" cstate="email">
            <a:extLst>
              <a:ext uri="{28A0092B-C50C-407E-A947-70E740481C1C}">
                <a14:useLocalDpi xmlns:a14="http://schemas.microsoft.com/office/drawing/2010/main"/>
              </a:ext>
            </a:extLst>
          </a:blip>
          <a:stretch/>
        </p:blipFill>
        <p:spPr>
          <a:xfrm>
            <a:off x="8498815" y="4546310"/>
            <a:ext cx="1560725" cy="617031"/>
          </a:xfrm>
          <a:prstGeom prst="rect">
            <a:avLst/>
          </a:prstGeom>
        </p:spPr>
      </p:pic>
      <p:sp>
        <p:nvSpPr>
          <p:cNvPr id="36" name="Freeform: Shape 35">
            <a:extLst>
              <a:ext uri="{FF2B5EF4-FFF2-40B4-BE49-F238E27FC236}">
                <a16:creationId xmlns:a16="http://schemas.microsoft.com/office/drawing/2014/main" id="{833447E0-5126-4F4B-A652-2D2280F4839A}"/>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44" name="Oval 43">
            <a:extLst>
              <a:ext uri="{FF2B5EF4-FFF2-40B4-BE49-F238E27FC236}">
                <a16:creationId xmlns:a16="http://schemas.microsoft.com/office/drawing/2014/main" id="{3895C481-62C5-4583-8748-660A1795D39B}"/>
              </a:ext>
            </a:extLst>
          </p:cNvPr>
          <p:cNvSpPr/>
          <p:nvPr/>
        </p:nvSpPr>
        <p:spPr bwMode="auto">
          <a:xfrm>
            <a:off x="457200" y="195011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Oval 44">
            <a:extLst>
              <a:ext uri="{FF2B5EF4-FFF2-40B4-BE49-F238E27FC236}">
                <a16:creationId xmlns:a16="http://schemas.microsoft.com/office/drawing/2014/main" id="{3D6BB565-D609-4C8B-83EE-B586AA120099}"/>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2E75C10F-F002-42D9-8557-65474F744CB2}"/>
              </a:ext>
            </a:extLst>
          </p:cNvPr>
          <p:cNvSpPr/>
          <p:nvPr/>
        </p:nvSpPr>
        <p:spPr>
          <a:xfrm>
            <a:off x="1529839" y="2008368"/>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Unplanned downtime results in cost overruns</a:t>
            </a:r>
          </a:p>
        </p:txBody>
      </p:sp>
      <p:sp>
        <p:nvSpPr>
          <p:cNvPr id="47" name="Rectangle 46">
            <a:extLst>
              <a:ext uri="{FF2B5EF4-FFF2-40B4-BE49-F238E27FC236}">
                <a16:creationId xmlns:a16="http://schemas.microsoft.com/office/drawing/2014/main" id="{E38D4764-C1FE-4147-BC0F-BE486471E3B9}"/>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Predict when maintenance should be performed</a:t>
            </a:r>
          </a:p>
        </p:txBody>
      </p:sp>
      <p:sp>
        <p:nvSpPr>
          <p:cNvPr id="48" name="Oval 47">
            <a:extLst>
              <a:ext uri="{FF2B5EF4-FFF2-40B4-BE49-F238E27FC236}">
                <a16:creationId xmlns:a16="http://schemas.microsoft.com/office/drawing/2014/main" id="{C0BD1AB6-A899-4B64-B72F-893892ADE4AB}"/>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Rectangle 57">
            <a:extLst>
              <a:ext uri="{FF2B5EF4-FFF2-40B4-BE49-F238E27FC236}">
                <a16:creationId xmlns:a16="http://schemas.microsoft.com/office/drawing/2014/main" id="{A24E3271-08A8-443A-A69D-B05D1AB89D29}"/>
              </a:ext>
            </a:extLst>
          </p:cNvPr>
          <p:cNvSpPr/>
          <p:nvPr/>
        </p:nvSpPr>
        <p:spPr>
          <a:xfrm>
            <a:off x="2264644" y="4924599"/>
            <a:ext cx="1082328"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Predict equipment failures</a:t>
            </a:r>
          </a:p>
        </p:txBody>
      </p:sp>
      <p:sp>
        <p:nvSpPr>
          <p:cNvPr id="59" name="Oval 58">
            <a:extLst>
              <a:ext uri="{FF2B5EF4-FFF2-40B4-BE49-F238E27FC236}">
                <a16:creationId xmlns:a16="http://schemas.microsoft.com/office/drawing/2014/main" id="{E15BBA12-E7BB-429A-BA66-A2102C69BC3B}"/>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8121B6F4-1232-492F-B470-538C18EF8CD6}"/>
              </a:ext>
            </a:extLst>
          </p:cNvPr>
          <p:cNvSpPr/>
          <p:nvPr/>
        </p:nvSpPr>
        <p:spPr>
          <a:xfrm>
            <a:off x="4697559" y="4924599"/>
            <a:ext cx="1098086"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Prevent disruptions</a:t>
            </a:r>
          </a:p>
        </p:txBody>
      </p:sp>
      <p:sp>
        <p:nvSpPr>
          <p:cNvPr id="61" name="Oval 60">
            <a:extLst>
              <a:ext uri="{FF2B5EF4-FFF2-40B4-BE49-F238E27FC236}">
                <a16:creationId xmlns:a16="http://schemas.microsoft.com/office/drawing/2014/main" id="{B5E952E0-A447-46C4-B4DE-D757F766DF3A}"/>
              </a:ext>
            </a:extLst>
          </p:cNvPr>
          <p:cNvSpPr/>
          <p:nvPr/>
        </p:nvSpPr>
        <p:spPr bwMode="auto">
          <a:xfrm>
            <a:off x="6266688"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9F4BA848-B6ED-4339-93C4-D3350C832F19}"/>
              </a:ext>
            </a:extLst>
          </p:cNvPr>
          <p:cNvSpPr/>
          <p:nvPr/>
        </p:nvSpPr>
        <p:spPr>
          <a:xfrm>
            <a:off x="7130473"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Manage cost of supplies</a:t>
            </a:r>
          </a:p>
        </p:txBody>
      </p:sp>
      <p:sp>
        <p:nvSpPr>
          <p:cNvPr id="63" name="Warning_E7BA" title="Icon of a triangle with an exclaimation point inside">
            <a:extLst>
              <a:ext uri="{FF2B5EF4-FFF2-40B4-BE49-F238E27FC236}">
                <a16:creationId xmlns:a16="http://schemas.microsoft.com/office/drawing/2014/main" id="{200A2779-5FA7-4E9C-9376-D9A3341F6E05}"/>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67" name="light" title="Icon of a lightbulb">
            <a:extLst>
              <a:ext uri="{FF2B5EF4-FFF2-40B4-BE49-F238E27FC236}">
                <a16:creationId xmlns:a16="http://schemas.microsoft.com/office/drawing/2014/main" id="{99314B38-F88B-4C5A-8BB4-F2D8A2F5D931}"/>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73" name="PaymentCard_E8C7" title="Icon of a credit card">
            <a:extLst>
              <a:ext uri="{FF2B5EF4-FFF2-40B4-BE49-F238E27FC236}">
                <a16:creationId xmlns:a16="http://schemas.microsoft.com/office/drawing/2014/main" id="{BDD5FC34-A6FF-4033-AD94-FE7CBD391549}"/>
              </a:ext>
            </a:extLst>
          </p:cNvPr>
          <p:cNvSpPr>
            <a:spLocks noChangeAspect="1" noEditPoints="1"/>
          </p:cNvSpPr>
          <p:nvPr/>
        </p:nvSpPr>
        <p:spPr bwMode="auto">
          <a:xfrm>
            <a:off x="6431735" y="5146863"/>
            <a:ext cx="533336" cy="355884"/>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4DA722C3-38DB-4C3D-8544-A023A11DF62F}"/>
              </a:ext>
            </a:extLst>
          </p:cNvPr>
          <p:cNvGrpSpPr/>
          <p:nvPr/>
        </p:nvGrpSpPr>
        <p:grpSpPr>
          <a:xfrm>
            <a:off x="3975562" y="5086668"/>
            <a:ext cx="576181" cy="476274"/>
            <a:chOff x="4457167" y="5876030"/>
            <a:chExt cx="697031" cy="576168"/>
          </a:xfrm>
        </p:grpSpPr>
        <p:sp>
          <p:nvSpPr>
            <p:cNvPr id="74" name="clock_10" title="Icon of an hourglass">
              <a:extLst>
                <a:ext uri="{FF2B5EF4-FFF2-40B4-BE49-F238E27FC236}">
                  <a16:creationId xmlns:a16="http://schemas.microsoft.com/office/drawing/2014/main" id="{9CD5C5DF-CE7E-4A0A-85B4-76C8A6E1A037}"/>
                </a:ext>
              </a:extLst>
            </p:cNvPr>
            <p:cNvSpPr>
              <a:spLocks noChangeAspect="1" noEditPoints="1"/>
            </p:cNvSpPr>
            <p:nvPr/>
          </p:nvSpPr>
          <p:spPr bwMode="auto">
            <a:xfrm>
              <a:off x="4457167" y="6086438"/>
              <a:ext cx="364486" cy="36576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5" name="History_E81C" title="Icon of a clock with an arrow around it pointing counterclockwise">
              <a:extLst>
                <a:ext uri="{FF2B5EF4-FFF2-40B4-BE49-F238E27FC236}">
                  <a16:creationId xmlns:a16="http://schemas.microsoft.com/office/drawing/2014/main" id="{F4EC4DF3-217C-4A91-9232-2BDB76901855}"/>
                </a:ext>
              </a:extLst>
            </p:cNvPr>
            <p:cNvSpPr>
              <a:spLocks noChangeAspect="1" noEditPoints="1"/>
            </p:cNvSpPr>
            <p:nvPr/>
          </p:nvSpPr>
          <p:spPr bwMode="auto">
            <a:xfrm rot="21243233">
              <a:off x="4761006" y="5876030"/>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80" name="History_E81C" title="Icon of a clock with an arrow around it pointing counterclockwise">
            <a:extLst>
              <a:ext uri="{FF2B5EF4-FFF2-40B4-BE49-F238E27FC236}">
                <a16:creationId xmlns:a16="http://schemas.microsoft.com/office/drawing/2014/main" id="{93F4B04C-5F8D-40F4-B80B-696D9ACACABC}"/>
              </a:ext>
            </a:extLst>
          </p:cNvPr>
          <p:cNvSpPr>
            <a:spLocks noChangeAspect="1" noEditPoints="1"/>
          </p:cNvSpPr>
          <p:nvPr/>
        </p:nvSpPr>
        <p:spPr bwMode="auto">
          <a:xfrm>
            <a:off x="1617031" y="5109210"/>
            <a:ext cx="431086" cy="431190"/>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21440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3BE4EFBC-AA95-4AE1-A9AB-E0BE7ABC179F}"/>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40027" y="0"/>
            <a:ext cx="3951974" cy="5700254"/>
          </a:xfrm>
          <a:custGeom>
            <a:avLst/>
            <a:gdLst>
              <a:gd name="connsiteX0" fmla="*/ 0 w 3951974"/>
              <a:gd name="connsiteY0" fmla="*/ 0 h 5700254"/>
              <a:gd name="connsiteX1" fmla="*/ 3951974 w 3951974"/>
              <a:gd name="connsiteY1" fmla="*/ 0 h 5700254"/>
              <a:gd name="connsiteX2" fmla="*/ 3951974 w 3951974"/>
              <a:gd name="connsiteY2" fmla="*/ 5700254 h 5700254"/>
              <a:gd name="connsiteX3" fmla="*/ 0 w 3951974"/>
              <a:gd name="connsiteY3" fmla="*/ 5700254 h 5700254"/>
            </a:gdLst>
            <a:ahLst/>
            <a:cxnLst>
              <a:cxn ang="0">
                <a:pos x="connsiteX0" y="connsiteY0"/>
              </a:cxn>
              <a:cxn ang="0">
                <a:pos x="connsiteX1" y="connsiteY1"/>
              </a:cxn>
              <a:cxn ang="0">
                <a:pos x="connsiteX2" y="connsiteY2"/>
              </a:cxn>
              <a:cxn ang="0">
                <a:pos x="connsiteX3" y="connsiteY3"/>
              </a:cxn>
            </a:cxnLst>
            <a:rect l="l" t="t" r="r" b="b"/>
            <a:pathLst>
              <a:path w="3951974" h="5700254">
                <a:moveTo>
                  <a:pt x="0" y="0"/>
                </a:moveTo>
                <a:lnTo>
                  <a:pt x="3951974" y="0"/>
                </a:lnTo>
                <a:lnTo>
                  <a:pt x="3951974" y="5700254"/>
                </a:lnTo>
                <a:lnTo>
                  <a:pt x="0" y="5700254"/>
                </a:lnTo>
                <a:close/>
              </a:path>
            </a:pathLst>
          </a:custGeom>
        </p:spPr>
      </p:pic>
      <p:sp>
        <p:nvSpPr>
          <p:cNvPr id="3" name="Title 1"/>
          <p:cNvSpPr>
            <a:spLocks noGrp="1"/>
          </p:cNvSpPr>
          <p:nvPr>
            <p:ph type="title"/>
          </p:nvPr>
        </p:nvSpPr>
        <p:spPr/>
        <p:txBody>
          <a:bodyPr/>
          <a:lstStyle/>
          <a:p>
            <a:r>
              <a:rPr lang="en-US" sz="3529" spc="-150" dirty="0">
                <a:solidFill>
                  <a:srgbClr val="0078D7"/>
                </a:solidFill>
              </a:rPr>
              <a:t>Demand forecasting </a:t>
            </a:r>
            <a:br>
              <a:rPr lang="en-US" sz="3529" spc="-150" dirty="0">
                <a:solidFill>
                  <a:srgbClr val="0078D7"/>
                </a:solidFill>
              </a:rPr>
            </a:br>
            <a:r>
              <a:rPr lang="en-US" sz="2400" dirty="0"/>
              <a:t>Maximize revenue by integrating with energy markets</a:t>
            </a:r>
          </a:p>
        </p:txBody>
      </p:sp>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lang="en-US" sz="2400" dirty="0">
                <a:solidFill>
                  <a:schemeClr val="bg1"/>
                </a:solidFill>
                <a:latin typeface="Segoe UI" panose="020B0502040204020203" pitchFamily="34" charset="0"/>
                <a:cs typeface="Segoe UI" panose="020B0502040204020203" pitchFamily="34" charset="0"/>
              </a:rPr>
              <a:t>Increases revenue by €100 million and savings of over €200 million </a:t>
            </a:r>
          </a:p>
        </p:txBody>
      </p:sp>
      <p:pic>
        <p:nvPicPr>
          <p:cNvPr id="36" name="Picture 2" descr="renewablesAI">
            <a:extLst>
              <a:ext uri="{FF2B5EF4-FFF2-40B4-BE49-F238E27FC236}">
                <a16:creationId xmlns:a16="http://schemas.microsoft.com/office/drawing/2014/main" id="{DD00BD39-1F04-4A8E-9C24-FCB1B2ABD5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60232" y="4328760"/>
            <a:ext cx="1372124" cy="1058494"/>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Shape 62">
            <a:extLst>
              <a:ext uri="{FF2B5EF4-FFF2-40B4-BE49-F238E27FC236}">
                <a16:creationId xmlns:a16="http://schemas.microsoft.com/office/drawing/2014/main" id="{085F34A8-731E-46C6-A75D-3A8FA1AF8661}"/>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67" name="Oval 66">
            <a:extLst>
              <a:ext uri="{FF2B5EF4-FFF2-40B4-BE49-F238E27FC236}">
                <a16:creationId xmlns:a16="http://schemas.microsoft.com/office/drawing/2014/main" id="{E0324317-D474-46A8-803D-BDFB400E09D3}"/>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26CECF6D-1724-44ED-857F-032F504C6632}"/>
              </a:ext>
            </a:extLst>
          </p:cNvPr>
          <p:cNvSpPr/>
          <p:nvPr/>
        </p:nvSpPr>
        <p:spPr>
          <a:xfrm>
            <a:off x="1529839" y="2008368"/>
            <a:ext cx="6516185"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Solar energy production is inconsistent</a:t>
            </a:r>
          </a:p>
        </p:txBody>
      </p:sp>
      <p:sp>
        <p:nvSpPr>
          <p:cNvPr id="69" name="Rectangle 68">
            <a:extLst>
              <a:ext uri="{FF2B5EF4-FFF2-40B4-BE49-F238E27FC236}">
                <a16:creationId xmlns:a16="http://schemas.microsoft.com/office/drawing/2014/main" id="{41AA8AB2-94EE-41C5-9736-F3FEA5B77CC2}"/>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Align energy supply with the optimal energy markets</a:t>
            </a:r>
          </a:p>
        </p:txBody>
      </p:sp>
      <p:sp>
        <p:nvSpPr>
          <p:cNvPr id="70" name="Oval 69">
            <a:extLst>
              <a:ext uri="{FF2B5EF4-FFF2-40B4-BE49-F238E27FC236}">
                <a16:creationId xmlns:a16="http://schemas.microsoft.com/office/drawing/2014/main" id="{53AD1B27-9B1C-4E42-95B7-C3692908645C}"/>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Rectangle 70">
            <a:extLst>
              <a:ext uri="{FF2B5EF4-FFF2-40B4-BE49-F238E27FC236}">
                <a16:creationId xmlns:a16="http://schemas.microsoft.com/office/drawing/2014/main" id="{8F0830FC-55FA-498D-89D8-71ADA2D13C98}"/>
              </a:ext>
            </a:extLst>
          </p:cNvPr>
          <p:cNvSpPr/>
          <p:nvPr/>
        </p:nvSpPr>
        <p:spPr>
          <a:xfrm>
            <a:off x="2264644" y="4924599"/>
            <a:ext cx="1189183"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Streamline product development</a:t>
            </a:r>
          </a:p>
        </p:txBody>
      </p:sp>
      <p:sp>
        <p:nvSpPr>
          <p:cNvPr id="72" name="Oval 71">
            <a:extLst>
              <a:ext uri="{FF2B5EF4-FFF2-40B4-BE49-F238E27FC236}">
                <a16:creationId xmlns:a16="http://schemas.microsoft.com/office/drawing/2014/main" id="{9A954F40-892D-450B-A134-05CFAEC1DE79}"/>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Rectangle 72">
            <a:extLst>
              <a:ext uri="{FF2B5EF4-FFF2-40B4-BE49-F238E27FC236}">
                <a16:creationId xmlns:a16="http://schemas.microsoft.com/office/drawing/2014/main" id="{C74D0586-FC43-4B70-834F-8CBCFC76B0A0}"/>
              </a:ext>
            </a:extLst>
          </p:cNvPr>
          <p:cNvSpPr/>
          <p:nvPr/>
        </p:nvSpPr>
        <p:spPr>
          <a:xfrm>
            <a:off x="4527782" y="4924599"/>
            <a:ext cx="1143000"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Increase revenue </a:t>
            </a:r>
            <a:br>
              <a:rPr lang="en-US" sz="1600" dirty="0">
                <a:solidFill>
                  <a:schemeClr val="tx1"/>
                </a:solidFill>
                <a:latin typeface="Segoe UI" panose="020B0502040204020203" pitchFamily="34" charset="0"/>
                <a:cs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rPr>
              <a:t>and savings</a:t>
            </a:r>
          </a:p>
        </p:txBody>
      </p:sp>
      <p:sp>
        <p:nvSpPr>
          <p:cNvPr id="74" name="Oval 73">
            <a:extLst>
              <a:ext uri="{FF2B5EF4-FFF2-40B4-BE49-F238E27FC236}">
                <a16:creationId xmlns:a16="http://schemas.microsoft.com/office/drawing/2014/main" id="{C3ABDB7A-5BBA-47C9-A8A4-6B73FDCF2417}"/>
              </a:ext>
            </a:extLst>
          </p:cNvPr>
          <p:cNvSpPr/>
          <p:nvPr/>
        </p:nvSpPr>
        <p:spPr bwMode="auto">
          <a:xfrm>
            <a:off x="6128042"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Rectangle 74">
            <a:extLst>
              <a:ext uri="{FF2B5EF4-FFF2-40B4-BE49-F238E27FC236}">
                <a16:creationId xmlns:a16="http://schemas.microsoft.com/office/drawing/2014/main" id="{CEEB254D-60F9-4945-BEBC-A79F9E33FEDB}"/>
              </a:ext>
            </a:extLst>
          </p:cNvPr>
          <p:cNvSpPr/>
          <p:nvPr/>
        </p:nvSpPr>
        <p:spPr>
          <a:xfrm>
            <a:off x="6944705" y="4827931"/>
            <a:ext cx="1101319" cy="9937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Drive adoption of renewable energy</a:t>
            </a:r>
          </a:p>
        </p:txBody>
      </p:sp>
      <p:sp>
        <p:nvSpPr>
          <p:cNvPr id="76" name="Warning_E7BA" title="Icon of a triangle with an exclaimation point inside">
            <a:extLst>
              <a:ext uri="{FF2B5EF4-FFF2-40B4-BE49-F238E27FC236}">
                <a16:creationId xmlns:a16="http://schemas.microsoft.com/office/drawing/2014/main" id="{8BE9303A-3CD2-4134-A44D-E59F5B2BE6D0}"/>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7" name="light" title="Icon of a lightbulb">
            <a:extLst>
              <a:ext uri="{FF2B5EF4-FFF2-40B4-BE49-F238E27FC236}">
                <a16:creationId xmlns:a16="http://schemas.microsoft.com/office/drawing/2014/main" id="{B9A5F68C-0614-4683-975A-486077756CA4}"/>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3" name="box" title="Icon of a box">
            <a:extLst>
              <a:ext uri="{FF2B5EF4-FFF2-40B4-BE49-F238E27FC236}">
                <a16:creationId xmlns:a16="http://schemas.microsoft.com/office/drawing/2014/main" id="{C388BB40-2296-4929-B852-3BA43450958A}"/>
              </a:ext>
            </a:extLst>
          </p:cNvPr>
          <p:cNvSpPr>
            <a:spLocks noChangeAspect="1" noEditPoints="1"/>
          </p:cNvSpPr>
          <p:nvPr/>
        </p:nvSpPr>
        <p:spPr bwMode="auto">
          <a:xfrm>
            <a:off x="1619713" y="5109921"/>
            <a:ext cx="425722" cy="42976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4BEB90EB-F196-4D4C-9424-92E360E2A13D}"/>
              </a:ext>
            </a:extLst>
          </p:cNvPr>
          <p:cNvGrpSpPr/>
          <p:nvPr/>
        </p:nvGrpSpPr>
        <p:grpSpPr>
          <a:xfrm>
            <a:off x="4156509" y="5051680"/>
            <a:ext cx="212377" cy="546250"/>
            <a:chOff x="7556666" y="1028409"/>
            <a:chExt cx="212377" cy="546250"/>
          </a:xfrm>
        </p:grpSpPr>
        <p:sp>
          <p:nvSpPr>
            <p:cNvPr id="84" name="arrow_3" title="Icon of an arrow pointing down at a line">
              <a:extLst>
                <a:ext uri="{FF2B5EF4-FFF2-40B4-BE49-F238E27FC236}">
                  <a16:creationId xmlns:a16="http://schemas.microsoft.com/office/drawing/2014/main" id="{51263A62-E5D5-4B3A-B2EB-3763D02FBA3C}"/>
                </a:ext>
              </a:extLst>
            </p:cNvPr>
            <p:cNvSpPr>
              <a:spLocks noChangeAspect="1" noEditPoints="1"/>
            </p:cNvSpPr>
            <p:nvPr/>
          </p:nvSpPr>
          <p:spPr bwMode="auto">
            <a:xfrm>
              <a:off x="7556666" y="1208899"/>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5" name="Money_3" title="Icon of a dollar sign">
              <a:extLst>
                <a:ext uri="{FF2B5EF4-FFF2-40B4-BE49-F238E27FC236}">
                  <a16:creationId xmlns:a16="http://schemas.microsoft.com/office/drawing/2014/main" id="{80A8FB60-3880-4392-A504-AE990A6902F7}"/>
                </a:ext>
              </a:extLst>
            </p:cNvPr>
            <p:cNvSpPr>
              <a:spLocks noChangeAspect="1" noEditPoints="1"/>
            </p:cNvSpPr>
            <p:nvPr/>
          </p:nvSpPr>
          <p:spPr bwMode="auto">
            <a:xfrm>
              <a:off x="7561827" y="1028409"/>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DB7CBF7A-8F01-42AC-9162-4684E562F81A}"/>
              </a:ext>
            </a:extLst>
          </p:cNvPr>
          <p:cNvGrpSpPr/>
          <p:nvPr/>
        </p:nvGrpSpPr>
        <p:grpSpPr>
          <a:xfrm>
            <a:off x="6360243" y="5119065"/>
            <a:ext cx="452515" cy="411480"/>
            <a:chOff x="9967236" y="-491340"/>
            <a:chExt cx="452515" cy="411480"/>
          </a:xfrm>
        </p:grpSpPr>
        <p:sp>
          <p:nvSpPr>
            <p:cNvPr id="86" name="heart" title="Icon of a heart">
              <a:extLst>
                <a:ext uri="{FF2B5EF4-FFF2-40B4-BE49-F238E27FC236}">
                  <a16:creationId xmlns:a16="http://schemas.microsoft.com/office/drawing/2014/main" id="{D16E9B70-69FF-4BF6-8B3D-CEC7FA153D40}"/>
                </a:ext>
              </a:extLst>
            </p:cNvPr>
            <p:cNvSpPr>
              <a:spLocks noChangeAspect="1"/>
            </p:cNvSpPr>
            <p:nvPr/>
          </p:nvSpPr>
          <p:spPr bwMode="auto">
            <a:xfrm>
              <a:off x="10157259" y="-343177"/>
              <a:ext cx="262492" cy="238999"/>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7" name="people_18" title="Icon of a man">
              <a:extLst>
                <a:ext uri="{FF2B5EF4-FFF2-40B4-BE49-F238E27FC236}">
                  <a16:creationId xmlns:a16="http://schemas.microsoft.com/office/drawing/2014/main" id="{D2A44385-B44C-48DC-AC16-7F210ADA049C}"/>
                </a:ext>
              </a:extLst>
            </p:cNvPr>
            <p:cNvSpPr>
              <a:spLocks noChangeAspect="1" noEditPoints="1"/>
            </p:cNvSpPr>
            <p:nvPr/>
          </p:nvSpPr>
          <p:spPr bwMode="auto">
            <a:xfrm>
              <a:off x="9967236" y="-491340"/>
              <a:ext cx="162250" cy="411480"/>
            </a:xfrm>
            <a:custGeom>
              <a:avLst/>
              <a:gdLst>
                <a:gd name="T0" fmla="*/ 31 w 133"/>
                <a:gd name="T1" fmla="*/ 35 h 341"/>
                <a:gd name="T2" fmla="*/ 66 w 133"/>
                <a:gd name="T3" fmla="*/ 0 h 341"/>
                <a:gd name="T4" fmla="*/ 102 w 133"/>
                <a:gd name="T5" fmla="*/ 35 h 341"/>
                <a:gd name="T6" fmla="*/ 66 w 133"/>
                <a:gd name="T7" fmla="*/ 71 h 341"/>
                <a:gd name="T8" fmla="*/ 31 w 133"/>
                <a:gd name="T9" fmla="*/ 35 h 341"/>
                <a:gd name="T10" fmla="*/ 67 w 133"/>
                <a:gd name="T11" fmla="*/ 320 h 341"/>
                <a:gd name="T12" fmla="*/ 89 w 133"/>
                <a:gd name="T13" fmla="*/ 341 h 341"/>
                <a:gd name="T14" fmla="*/ 110 w 133"/>
                <a:gd name="T15" fmla="*/ 320 h 341"/>
                <a:gd name="T16" fmla="*/ 112 w 133"/>
                <a:gd name="T17" fmla="*/ 228 h 341"/>
                <a:gd name="T18" fmla="*/ 133 w 133"/>
                <a:gd name="T19" fmla="*/ 207 h 341"/>
                <a:gd name="T20" fmla="*/ 133 w 133"/>
                <a:gd name="T21" fmla="*/ 92 h 341"/>
                <a:gd name="T22" fmla="*/ 112 w 133"/>
                <a:gd name="T23" fmla="*/ 71 h 341"/>
                <a:gd name="T24" fmla="*/ 21 w 133"/>
                <a:gd name="T25" fmla="*/ 71 h 341"/>
                <a:gd name="T26" fmla="*/ 0 w 133"/>
                <a:gd name="T27" fmla="*/ 92 h 341"/>
                <a:gd name="T28" fmla="*/ 0 w 133"/>
                <a:gd name="T29" fmla="*/ 207 h 341"/>
                <a:gd name="T30" fmla="*/ 21 w 133"/>
                <a:gd name="T31" fmla="*/ 228 h 341"/>
                <a:gd name="T32" fmla="*/ 23 w 133"/>
                <a:gd name="T33" fmla="*/ 320 h 341"/>
                <a:gd name="T34" fmla="*/ 44 w 133"/>
                <a:gd name="T35" fmla="*/ 341 h 341"/>
                <a:gd name="T36" fmla="*/ 67 w 133"/>
                <a:gd name="T37" fmla="*/ 320 h 341"/>
                <a:gd name="T38" fmla="*/ 67 w 133"/>
                <a:gd name="T39" fmla="*/ 223 h 341"/>
                <a:gd name="T40" fmla="*/ 67 w 133"/>
                <a:gd name="T41" fmla="*/ 3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341">
                  <a:moveTo>
                    <a:pt x="31" y="35"/>
                  </a:moveTo>
                  <a:cubicBezTo>
                    <a:pt x="31" y="16"/>
                    <a:pt x="47" y="0"/>
                    <a:pt x="66" y="0"/>
                  </a:cubicBezTo>
                  <a:cubicBezTo>
                    <a:pt x="86" y="0"/>
                    <a:pt x="102" y="16"/>
                    <a:pt x="102" y="35"/>
                  </a:cubicBezTo>
                  <a:cubicBezTo>
                    <a:pt x="102" y="55"/>
                    <a:pt x="86" y="71"/>
                    <a:pt x="66" y="71"/>
                  </a:cubicBezTo>
                  <a:cubicBezTo>
                    <a:pt x="47" y="71"/>
                    <a:pt x="31" y="55"/>
                    <a:pt x="31" y="35"/>
                  </a:cubicBezTo>
                  <a:close/>
                  <a:moveTo>
                    <a:pt x="67" y="320"/>
                  </a:moveTo>
                  <a:cubicBezTo>
                    <a:pt x="67" y="332"/>
                    <a:pt x="77" y="341"/>
                    <a:pt x="89" y="341"/>
                  </a:cubicBezTo>
                  <a:cubicBezTo>
                    <a:pt x="101" y="341"/>
                    <a:pt x="110" y="332"/>
                    <a:pt x="110" y="320"/>
                  </a:cubicBezTo>
                  <a:cubicBezTo>
                    <a:pt x="112" y="228"/>
                    <a:pt x="112" y="228"/>
                    <a:pt x="112" y="228"/>
                  </a:cubicBezTo>
                  <a:cubicBezTo>
                    <a:pt x="124" y="228"/>
                    <a:pt x="133" y="218"/>
                    <a:pt x="133" y="207"/>
                  </a:cubicBezTo>
                  <a:cubicBezTo>
                    <a:pt x="133" y="92"/>
                    <a:pt x="133" y="92"/>
                    <a:pt x="133" y="92"/>
                  </a:cubicBezTo>
                  <a:cubicBezTo>
                    <a:pt x="133" y="80"/>
                    <a:pt x="124" y="71"/>
                    <a:pt x="112" y="71"/>
                  </a:cubicBezTo>
                  <a:cubicBezTo>
                    <a:pt x="21" y="71"/>
                    <a:pt x="21" y="71"/>
                    <a:pt x="21" y="71"/>
                  </a:cubicBezTo>
                  <a:cubicBezTo>
                    <a:pt x="9" y="71"/>
                    <a:pt x="0" y="80"/>
                    <a:pt x="0" y="92"/>
                  </a:cubicBezTo>
                  <a:cubicBezTo>
                    <a:pt x="0" y="207"/>
                    <a:pt x="0" y="207"/>
                    <a:pt x="0" y="207"/>
                  </a:cubicBezTo>
                  <a:cubicBezTo>
                    <a:pt x="0" y="218"/>
                    <a:pt x="9" y="228"/>
                    <a:pt x="21" y="228"/>
                  </a:cubicBezTo>
                  <a:cubicBezTo>
                    <a:pt x="23" y="320"/>
                    <a:pt x="23" y="320"/>
                    <a:pt x="23" y="320"/>
                  </a:cubicBezTo>
                  <a:cubicBezTo>
                    <a:pt x="23" y="332"/>
                    <a:pt x="33" y="341"/>
                    <a:pt x="44" y="341"/>
                  </a:cubicBezTo>
                  <a:cubicBezTo>
                    <a:pt x="56" y="341"/>
                    <a:pt x="67" y="332"/>
                    <a:pt x="67" y="320"/>
                  </a:cubicBezTo>
                  <a:moveTo>
                    <a:pt x="67" y="223"/>
                  </a:moveTo>
                  <a:cubicBezTo>
                    <a:pt x="67" y="322"/>
                    <a:pt x="67" y="322"/>
                    <a:pt x="67" y="32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412890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z="3529" spc="-150" dirty="0">
                <a:solidFill>
                  <a:srgbClr val="0078D7"/>
                </a:solidFill>
              </a:rPr>
              <a:t>Azure data factory</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5030788"/>
            <a:ext cx="2927350"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0" name="Group 9">
            <a:extLst>
              <a:ext uri="{FF2B5EF4-FFF2-40B4-BE49-F238E27FC236}">
                <a16:creationId xmlns:a16="http://schemas.microsoft.com/office/drawing/2014/main" id="{070DF0B5-AD5C-454C-980C-7FB1746DE426}"/>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r>
                <a:rPr kumimoji="0" lang="en-US" sz="28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A scalable and flexible hybrid data integration 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kumimoji="0" lang="en-US" sz="2000" b="0" i="0" u="none" strike="noStrike" kern="1200" cap="none" spc="0" normalizeH="0" baseline="0" noProof="0" dirty="0">
                  <a:ln>
                    <a:noFill/>
                  </a:ln>
                  <a:gradFill>
                    <a:gsLst>
                      <a:gs pos="0">
                        <a:srgbClr val="0078D7"/>
                      </a:gs>
                      <a:gs pos="74000">
                        <a:srgbClr val="0078D7"/>
                      </a:gs>
                    </a:gsLst>
                    <a:lin ang="5400000" scaled="1"/>
                  </a:gradFill>
                  <a:effectLst/>
                  <a:uLnTx/>
                  <a:uFillTx/>
                  <a:latin typeface="+mj-lt"/>
                  <a:ea typeface="+mn-ea"/>
                  <a:cs typeface="Segoe UI Semilight" panose="020B0402040204020203" pitchFamily="34" charset="0"/>
                </a:rPr>
                <a:t>Productive</a:t>
              </a:r>
            </a:p>
            <a:p>
              <a:pPr lvl="1">
                <a:spcBef>
                  <a:spcPts val="600"/>
                </a:spcBef>
                <a:spcAft>
                  <a:spcPts val="0"/>
                </a:spcAft>
                <a:defRPr/>
              </a:pPr>
              <a:r>
                <a:rPr lang="en-US" dirty="0">
                  <a:solidFill>
                    <a:schemeClr val="tx1"/>
                  </a:solidFill>
                  <a:latin typeface="Segoe UI"/>
                </a:rPr>
                <a:t>Build automated data integration solutions with visual drag-&amp;-drop UI</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Hybrid</a:t>
              </a:r>
            </a:p>
            <a:p>
              <a:pPr lvl="1">
                <a:spcBef>
                  <a:spcPts val="600"/>
                </a:spcBef>
                <a:spcAft>
                  <a:spcPts val="0"/>
                </a:spcAft>
                <a:defRPr/>
              </a:pPr>
              <a:r>
                <a:rPr lang="en-US" dirty="0">
                  <a:solidFill>
                    <a:schemeClr val="tx1"/>
                  </a:solidFill>
                  <a:latin typeface="Segoe UI"/>
                </a:rPr>
                <a:t>Build data integration pipelines that span premises and cloud</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181778"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Trusted</a:t>
              </a:r>
            </a:p>
            <a:p>
              <a:pPr lvl="1">
                <a:spcBef>
                  <a:spcPts val="600"/>
                </a:spcBef>
                <a:spcAft>
                  <a:spcPts val="0"/>
                </a:spcAft>
                <a:defRPr/>
              </a:pPr>
              <a:r>
                <a:rPr lang="en-US" dirty="0">
                  <a:solidFill>
                    <a:schemeClr val="tx1"/>
                  </a:solidFill>
                  <a:latin typeface="Segoe UI"/>
                </a:rPr>
                <a:t>Move data with confidence, as Azure Data Factory has been certified by HIPAA/HITECH, ISO/IEC 27001, ISO/IEC 27018, and CSA STAR</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Build serverless cloud-based data integration with no infrastructure to manage</a:t>
              </a:r>
            </a:p>
          </p:txBody>
        </p:sp>
        <p:grpSp>
          <p:nvGrpSpPr>
            <p:cNvPr id="72" name="Group 71">
              <a:extLst>
                <a:ext uri="{FF2B5EF4-FFF2-40B4-BE49-F238E27FC236}">
                  <a16:creationId xmlns:a16="http://schemas.microsoft.com/office/drawing/2014/main" id="{8C4930D8-53B3-40E9-8B0F-7F7E5AE264B1}"/>
                </a:ext>
              </a:extLst>
            </p:cNvPr>
            <p:cNvGrpSpPr>
              <a:grpSpLocks noChangeAspect="1"/>
            </p:cNvGrpSpPr>
            <p:nvPr/>
          </p:nvGrpSpPr>
          <p:grpSpPr>
            <a:xfrm>
              <a:off x="9576477" y="3494175"/>
              <a:ext cx="928963" cy="512093"/>
              <a:chOff x="9569872" y="2014913"/>
              <a:chExt cx="868086" cy="478535"/>
            </a:xfrm>
          </p:grpSpPr>
          <p:sp>
            <p:nvSpPr>
              <p:cNvPr id="73" name="Shape 4978">
                <a:extLst>
                  <a:ext uri="{FF2B5EF4-FFF2-40B4-BE49-F238E27FC236}">
                    <a16:creationId xmlns:a16="http://schemas.microsoft.com/office/drawing/2014/main" id="{59AF004F-88D0-43BB-8AD6-D841E0651537}"/>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4" name="Shape 4978">
                <a:extLst>
                  <a:ext uri="{FF2B5EF4-FFF2-40B4-BE49-F238E27FC236}">
                    <a16:creationId xmlns:a16="http://schemas.microsoft.com/office/drawing/2014/main" id="{8ED9B1E7-17E5-410D-9A76-16E0F5F3C29F}"/>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5" name="Freeform: Shape 27">
                <a:extLst>
                  <a:ext uri="{FF2B5EF4-FFF2-40B4-BE49-F238E27FC236}">
                    <a16:creationId xmlns:a16="http://schemas.microsoft.com/office/drawing/2014/main" id="{B0BED274-42DD-43F0-8505-F0040064DCED}"/>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AD16A4EF-A4C3-4315-9600-EC81B4DD2676}"/>
                </a:ext>
              </a:extLst>
            </p:cNvPr>
            <p:cNvGrpSpPr/>
            <p:nvPr/>
          </p:nvGrpSpPr>
          <p:grpSpPr>
            <a:xfrm>
              <a:off x="3529870" y="3473811"/>
              <a:ext cx="579450" cy="565967"/>
              <a:chOff x="897202" y="2341862"/>
              <a:chExt cx="579450" cy="565967"/>
            </a:xfrm>
          </p:grpSpPr>
          <p:sp>
            <p:nvSpPr>
              <p:cNvPr id="51" name="Rectangle 50">
                <a:extLst>
                  <a:ext uri="{FF2B5EF4-FFF2-40B4-BE49-F238E27FC236}">
                    <a16:creationId xmlns:a16="http://schemas.microsoft.com/office/drawing/2014/main" id="{62F6DFE9-BA31-49E8-BBBC-071BAB15CE3E}"/>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3" name="Rectangle 52">
                <a:extLst>
                  <a:ext uri="{FF2B5EF4-FFF2-40B4-BE49-F238E27FC236}">
                    <a16:creationId xmlns:a16="http://schemas.microsoft.com/office/drawing/2014/main" id="{95A259E7-BD7C-4CDE-82BD-355AD6D61DB0}"/>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54" name="speedometer_2">
              <a:extLst>
                <a:ext uri="{FF2B5EF4-FFF2-40B4-BE49-F238E27FC236}">
                  <a16:creationId xmlns:a16="http://schemas.microsoft.com/office/drawing/2014/main" id="{A7E28DA3-730C-43F0-A503-05CD1F4564C9}"/>
                </a:ext>
              </a:extLst>
            </p:cNvPr>
            <p:cNvSpPr>
              <a:spLocks noChangeAspect="1" noEditPoints="1"/>
            </p:cNvSpPr>
            <p:nvPr/>
          </p:nvSpPr>
          <p:spPr bwMode="auto">
            <a:xfrm>
              <a:off x="418213" y="3473256"/>
              <a:ext cx="566525" cy="56652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60">
              <a:extLst>
                <a:ext uri="{FF2B5EF4-FFF2-40B4-BE49-F238E27FC236}">
                  <a16:creationId xmlns:a16="http://schemas.microsoft.com/office/drawing/2014/main" id="{7970D200-339F-4E7E-913D-DB9CC76B2EBC}"/>
                </a:ext>
              </a:extLst>
            </p:cNvPr>
            <p:cNvSpPr>
              <a:spLocks noChangeArrowheads="1"/>
            </p:cNvSpPr>
            <p:nvPr/>
          </p:nvSpPr>
          <p:spPr bwMode="auto">
            <a:xfrm>
              <a:off x="6362580" y="3496396"/>
              <a:ext cx="549150" cy="54338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1905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grpSp>
      <p:grpSp>
        <p:nvGrpSpPr>
          <p:cNvPr id="33" name="Group 32">
            <a:extLst>
              <a:ext uri="{FF2B5EF4-FFF2-40B4-BE49-F238E27FC236}">
                <a16:creationId xmlns:a16="http://schemas.microsoft.com/office/drawing/2014/main" id="{0C0A0C29-B816-4046-AF99-685723C67A4A}"/>
              </a:ext>
            </a:extLst>
          </p:cNvPr>
          <p:cNvGrpSpPr/>
          <p:nvPr/>
        </p:nvGrpSpPr>
        <p:grpSpPr>
          <a:xfrm>
            <a:off x="10505440" y="359295"/>
            <a:ext cx="721584" cy="722996"/>
            <a:chOff x="2758661" y="1031034"/>
            <a:chExt cx="425830" cy="426665"/>
          </a:xfrm>
        </p:grpSpPr>
        <p:sp>
          <p:nvSpPr>
            <p:cNvPr id="34" name="Freeform: Shape 33">
              <a:extLst>
                <a:ext uri="{FF2B5EF4-FFF2-40B4-BE49-F238E27FC236}">
                  <a16:creationId xmlns:a16="http://schemas.microsoft.com/office/drawing/2014/main" id="{8F15C78E-D785-4468-A528-F9734A270B21}"/>
                </a:ext>
              </a:extLst>
            </p:cNvPr>
            <p:cNvSpPr/>
            <p:nvPr/>
          </p:nvSpPr>
          <p:spPr>
            <a:xfrm>
              <a:off x="2758661" y="1031869"/>
              <a:ext cx="425830" cy="425830"/>
            </a:xfrm>
            <a:custGeom>
              <a:avLst/>
              <a:gdLst>
                <a:gd name="connsiteX0" fmla="*/ 234701 w 236322"/>
                <a:gd name="connsiteY0" fmla="*/ 139245 h 236322"/>
                <a:gd name="connsiteX1" fmla="*/ 234701 w 236322"/>
                <a:gd name="connsiteY1" fmla="*/ 139245 h 236322"/>
                <a:gd name="connsiteX2" fmla="*/ 234701 w 236322"/>
                <a:gd name="connsiteY2" fmla="*/ 83176 h 236322"/>
                <a:gd name="connsiteX3" fmla="*/ 171218 w 236322"/>
                <a:gd name="connsiteY3" fmla="*/ 138318 h 236322"/>
                <a:gd name="connsiteX4" fmla="*/ 169828 w 236322"/>
                <a:gd name="connsiteY4" fmla="*/ 138318 h 236322"/>
                <a:gd name="connsiteX5" fmla="*/ 169828 w 236322"/>
                <a:gd name="connsiteY5" fmla="*/ 83176 h 236322"/>
                <a:gd name="connsiteX6" fmla="*/ 106345 w 236322"/>
                <a:gd name="connsiteY6" fmla="*/ 138318 h 236322"/>
                <a:gd name="connsiteX7" fmla="*/ 106345 w 236322"/>
                <a:gd name="connsiteY7" fmla="*/ 22937 h 236322"/>
                <a:gd name="connsiteX8" fmla="*/ 55837 w 236322"/>
                <a:gd name="connsiteY8" fmla="*/ 3475 h 236322"/>
                <a:gd name="connsiteX9" fmla="*/ 3475 w 236322"/>
                <a:gd name="connsiteY9" fmla="*/ 22937 h 236322"/>
                <a:gd name="connsiteX10" fmla="*/ 3475 w 236322"/>
                <a:gd name="connsiteY10" fmla="*/ 234238 h 236322"/>
                <a:gd name="connsiteX11" fmla="*/ 235165 w 236322"/>
                <a:gd name="connsiteY11" fmla="*/ 234238 h 236322"/>
                <a:gd name="connsiteX12" fmla="*/ 234701 w 236322"/>
                <a:gd name="connsiteY12" fmla="*/ 139245 h 236322"/>
                <a:gd name="connsiteX13" fmla="*/ 55837 w 236322"/>
                <a:gd name="connsiteY13" fmla="*/ 32205 h 236322"/>
                <a:gd name="connsiteX14" fmla="*/ 18303 w 236322"/>
                <a:gd name="connsiteY14" fmla="*/ 21547 h 236322"/>
                <a:gd name="connsiteX15" fmla="*/ 55837 w 236322"/>
                <a:gd name="connsiteY15" fmla="*/ 10889 h 236322"/>
                <a:gd name="connsiteX16" fmla="*/ 93371 w 236322"/>
                <a:gd name="connsiteY16" fmla="*/ 21547 h 236322"/>
                <a:gd name="connsiteX17" fmla="*/ 55837 w 236322"/>
                <a:gd name="connsiteY17" fmla="*/ 32205 h 236322"/>
                <a:gd name="connsiteX18" fmla="*/ 165194 w 236322"/>
                <a:gd name="connsiteY18" fmla="*/ 196704 h 236322"/>
                <a:gd name="connsiteX19" fmla="*/ 139709 w 236322"/>
                <a:gd name="connsiteY19" fmla="*/ 196704 h 236322"/>
                <a:gd name="connsiteX20" fmla="*/ 139709 w 236322"/>
                <a:gd name="connsiteY20" fmla="*/ 171218 h 236322"/>
                <a:gd name="connsiteX21" fmla="*/ 165194 w 236322"/>
                <a:gd name="connsiteY21" fmla="*/ 171218 h 236322"/>
                <a:gd name="connsiteX22" fmla="*/ 165194 w 236322"/>
                <a:gd name="connsiteY22" fmla="*/ 196704 h 236322"/>
                <a:gd name="connsiteX23" fmla="*/ 120247 w 236322"/>
                <a:gd name="connsiteY23" fmla="*/ 196704 h 236322"/>
                <a:gd name="connsiteX24" fmla="*/ 94761 w 236322"/>
                <a:gd name="connsiteY24" fmla="*/ 196704 h 236322"/>
                <a:gd name="connsiteX25" fmla="*/ 94761 w 236322"/>
                <a:gd name="connsiteY25" fmla="*/ 171218 h 236322"/>
                <a:gd name="connsiteX26" fmla="*/ 120247 w 236322"/>
                <a:gd name="connsiteY26" fmla="*/ 171218 h 236322"/>
                <a:gd name="connsiteX27" fmla="*/ 120247 w 236322"/>
                <a:gd name="connsiteY27" fmla="*/ 196704 h 236322"/>
                <a:gd name="connsiteX28" fmla="*/ 185120 w 236322"/>
                <a:gd name="connsiteY28" fmla="*/ 171218 h 236322"/>
                <a:gd name="connsiteX29" fmla="*/ 210605 w 236322"/>
                <a:gd name="connsiteY29" fmla="*/ 171218 h 236322"/>
                <a:gd name="connsiteX30" fmla="*/ 210605 w 236322"/>
                <a:gd name="connsiteY30" fmla="*/ 196704 h 236322"/>
                <a:gd name="connsiteX31" fmla="*/ 185120 w 236322"/>
                <a:gd name="connsiteY31" fmla="*/ 196704 h 236322"/>
                <a:gd name="connsiteX32" fmla="*/ 185120 w 236322"/>
                <a:gd name="connsiteY32" fmla="*/ 171218 h 23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6322" h="236322">
                  <a:moveTo>
                    <a:pt x="234701" y="139245"/>
                  </a:moveTo>
                  <a:lnTo>
                    <a:pt x="234701" y="139245"/>
                  </a:lnTo>
                  <a:lnTo>
                    <a:pt x="234701" y="83176"/>
                  </a:lnTo>
                  <a:lnTo>
                    <a:pt x="171218" y="138318"/>
                  </a:lnTo>
                  <a:lnTo>
                    <a:pt x="169828" y="138318"/>
                  </a:lnTo>
                  <a:lnTo>
                    <a:pt x="169828" y="83176"/>
                  </a:lnTo>
                  <a:lnTo>
                    <a:pt x="106345" y="138318"/>
                  </a:lnTo>
                  <a:lnTo>
                    <a:pt x="106345" y="22937"/>
                  </a:lnTo>
                  <a:cubicBezTo>
                    <a:pt x="106345" y="13206"/>
                    <a:pt x="84567" y="3475"/>
                    <a:pt x="55837" y="3475"/>
                  </a:cubicBezTo>
                  <a:cubicBezTo>
                    <a:pt x="27108" y="3475"/>
                    <a:pt x="3475" y="12743"/>
                    <a:pt x="3475" y="22937"/>
                  </a:cubicBezTo>
                  <a:lnTo>
                    <a:pt x="3475" y="234238"/>
                  </a:lnTo>
                  <a:lnTo>
                    <a:pt x="235165" y="234238"/>
                  </a:lnTo>
                  <a:lnTo>
                    <a:pt x="234701" y="139245"/>
                  </a:lnTo>
                  <a:close/>
                  <a:moveTo>
                    <a:pt x="55837" y="32205"/>
                  </a:moveTo>
                  <a:cubicBezTo>
                    <a:pt x="34985" y="32205"/>
                    <a:pt x="18303" y="27108"/>
                    <a:pt x="18303" y="21547"/>
                  </a:cubicBezTo>
                  <a:cubicBezTo>
                    <a:pt x="18303" y="15987"/>
                    <a:pt x="34985" y="10889"/>
                    <a:pt x="55837" y="10889"/>
                  </a:cubicBezTo>
                  <a:cubicBezTo>
                    <a:pt x="76689" y="10889"/>
                    <a:pt x="93371" y="15523"/>
                    <a:pt x="93371" y="21547"/>
                  </a:cubicBezTo>
                  <a:cubicBezTo>
                    <a:pt x="92907" y="27108"/>
                    <a:pt x="76226" y="32205"/>
                    <a:pt x="55837" y="32205"/>
                  </a:cubicBezTo>
                  <a:moveTo>
                    <a:pt x="165194" y="196704"/>
                  </a:moveTo>
                  <a:lnTo>
                    <a:pt x="139709" y="196704"/>
                  </a:lnTo>
                  <a:lnTo>
                    <a:pt x="139709" y="171218"/>
                  </a:lnTo>
                  <a:lnTo>
                    <a:pt x="165194" y="171218"/>
                  </a:lnTo>
                  <a:lnTo>
                    <a:pt x="165194" y="196704"/>
                  </a:lnTo>
                  <a:close/>
                  <a:moveTo>
                    <a:pt x="120247" y="196704"/>
                  </a:moveTo>
                  <a:lnTo>
                    <a:pt x="94761" y="196704"/>
                  </a:lnTo>
                  <a:lnTo>
                    <a:pt x="94761" y="171218"/>
                  </a:lnTo>
                  <a:lnTo>
                    <a:pt x="120247" y="171218"/>
                  </a:lnTo>
                  <a:lnTo>
                    <a:pt x="120247" y="196704"/>
                  </a:lnTo>
                  <a:close/>
                  <a:moveTo>
                    <a:pt x="185120" y="171218"/>
                  </a:moveTo>
                  <a:lnTo>
                    <a:pt x="210605" y="171218"/>
                  </a:lnTo>
                  <a:lnTo>
                    <a:pt x="210605" y="196704"/>
                  </a:lnTo>
                  <a:lnTo>
                    <a:pt x="185120" y="196704"/>
                  </a:lnTo>
                  <a:lnTo>
                    <a:pt x="185120" y="171218"/>
                  </a:ln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9750460-6269-46F3-8C93-34EECCEFA1F9}"/>
                </a:ext>
              </a:extLst>
            </p:cNvPr>
            <p:cNvSpPr/>
            <p:nvPr/>
          </p:nvSpPr>
          <p:spPr>
            <a:xfrm>
              <a:off x="2758661" y="1064433"/>
              <a:ext cx="100195" cy="392432"/>
            </a:xfrm>
            <a:custGeom>
              <a:avLst/>
              <a:gdLst>
                <a:gd name="connsiteX0" fmla="*/ 3475 w 55605"/>
                <a:gd name="connsiteY0" fmla="*/ 3475 h 217787"/>
                <a:gd name="connsiteX1" fmla="*/ 54910 w 55605"/>
                <a:gd name="connsiteY1" fmla="*/ 3475 h 217787"/>
                <a:gd name="connsiteX2" fmla="*/ 54910 w 55605"/>
                <a:gd name="connsiteY2" fmla="*/ 216166 h 217787"/>
                <a:gd name="connsiteX3" fmla="*/ 3475 w 55605"/>
                <a:gd name="connsiteY3" fmla="*/ 216166 h 217787"/>
              </a:gdLst>
              <a:ahLst/>
              <a:cxnLst>
                <a:cxn ang="0">
                  <a:pos x="connsiteX0" y="connsiteY0"/>
                </a:cxn>
                <a:cxn ang="0">
                  <a:pos x="connsiteX1" y="connsiteY1"/>
                </a:cxn>
                <a:cxn ang="0">
                  <a:pos x="connsiteX2" y="connsiteY2"/>
                </a:cxn>
                <a:cxn ang="0">
                  <a:pos x="connsiteX3" y="connsiteY3"/>
                </a:cxn>
              </a:cxnLst>
              <a:rect l="l" t="t" r="r" b="b"/>
              <a:pathLst>
                <a:path w="55605" h="217787">
                  <a:moveTo>
                    <a:pt x="3475" y="3475"/>
                  </a:moveTo>
                  <a:lnTo>
                    <a:pt x="54910" y="3475"/>
                  </a:lnTo>
                  <a:lnTo>
                    <a:pt x="54910" y="216166"/>
                  </a:lnTo>
                  <a:lnTo>
                    <a:pt x="3475" y="216166"/>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8024B89-ADBE-46B8-A776-B3DD14422B1F}"/>
                </a:ext>
              </a:extLst>
            </p:cNvPr>
            <p:cNvSpPr/>
            <p:nvPr/>
          </p:nvSpPr>
          <p:spPr>
            <a:xfrm>
              <a:off x="2758661" y="1031034"/>
              <a:ext cx="192041" cy="75146"/>
            </a:xfrm>
            <a:custGeom>
              <a:avLst/>
              <a:gdLst>
                <a:gd name="connsiteX0" fmla="*/ 105882 w 106577"/>
                <a:gd name="connsiteY0" fmla="*/ 22010 h 41704"/>
                <a:gd name="connsiteX1" fmla="*/ 54447 w 106577"/>
                <a:gd name="connsiteY1" fmla="*/ 40546 h 41704"/>
                <a:gd name="connsiteX2" fmla="*/ 3475 w 106577"/>
                <a:gd name="connsiteY2" fmla="*/ 22010 h 41704"/>
                <a:gd name="connsiteX3" fmla="*/ 54910 w 106577"/>
                <a:gd name="connsiteY3" fmla="*/ 3475 h 41704"/>
                <a:gd name="connsiteX4" fmla="*/ 105882 w 106577"/>
                <a:gd name="connsiteY4" fmla="*/ 22010 h 4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77" h="41704">
                  <a:moveTo>
                    <a:pt x="105882" y="22010"/>
                  </a:moveTo>
                  <a:cubicBezTo>
                    <a:pt x="105882" y="32205"/>
                    <a:pt x="82713" y="40546"/>
                    <a:pt x="54447" y="40546"/>
                  </a:cubicBezTo>
                  <a:cubicBezTo>
                    <a:pt x="26181" y="40546"/>
                    <a:pt x="3475" y="32205"/>
                    <a:pt x="3475" y="22010"/>
                  </a:cubicBezTo>
                  <a:cubicBezTo>
                    <a:pt x="3475" y="11816"/>
                    <a:pt x="26644" y="3475"/>
                    <a:pt x="54910" y="3475"/>
                  </a:cubicBezTo>
                  <a:cubicBezTo>
                    <a:pt x="83176" y="3475"/>
                    <a:pt x="105882" y="11353"/>
                    <a:pt x="105882" y="22010"/>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8B0B058-69B5-4027-928E-95EA9F755A23}"/>
                </a:ext>
              </a:extLst>
            </p:cNvPr>
            <p:cNvSpPr/>
            <p:nvPr/>
          </p:nvSpPr>
          <p:spPr>
            <a:xfrm>
              <a:off x="2777864" y="1040219"/>
              <a:ext cx="158643" cy="50098"/>
            </a:xfrm>
            <a:custGeom>
              <a:avLst/>
              <a:gdLst>
                <a:gd name="connsiteX0" fmla="*/ 85030 w 88041"/>
                <a:gd name="connsiteY0" fmla="*/ 15523 h 27802"/>
                <a:gd name="connsiteX1" fmla="*/ 44253 w 88041"/>
                <a:gd name="connsiteY1" fmla="*/ 27571 h 27802"/>
                <a:gd name="connsiteX2" fmla="*/ 3475 w 88041"/>
                <a:gd name="connsiteY2" fmla="*/ 15523 h 27802"/>
                <a:gd name="connsiteX3" fmla="*/ 44253 w 88041"/>
                <a:gd name="connsiteY3" fmla="*/ 3475 h 27802"/>
                <a:gd name="connsiteX4" fmla="*/ 85030 w 88041"/>
                <a:gd name="connsiteY4" fmla="*/ 15523 h 2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41" h="27802">
                  <a:moveTo>
                    <a:pt x="85030" y="15523"/>
                  </a:moveTo>
                  <a:cubicBezTo>
                    <a:pt x="85030" y="22474"/>
                    <a:pt x="66958" y="27571"/>
                    <a:pt x="44253" y="27571"/>
                  </a:cubicBezTo>
                  <a:cubicBezTo>
                    <a:pt x="21547" y="27571"/>
                    <a:pt x="3475" y="22474"/>
                    <a:pt x="3475" y="15523"/>
                  </a:cubicBezTo>
                  <a:cubicBezTo>
                    <a:pt x="3475" y="8573"/>
                    <a:pt x="21547" y="3475"/>
                    <a:pt x="44253" y="3475"/>
                  </a:cubicBezTo>
                  <a:cubicBezTo>
                    <a:pt x="66958" y="3475"/>
                    <a:pt x="85030" y="9036"/>
                    <a:pt x="85030" y="15523"/>
                  </a:cubicBezTo>
                </a:path>
              </a:pathLst>
            </a:custGeom>
            <a:solidFill>
              <a:srgbClr val="7FBA00"/>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FF9D47F-1302-43F3-8E5F-E9FE5D255FBF}"/>
                </a:ext>
              </a:extLst>
            </p:cNvPr>
            <p:cNvSpPr/>
            <p:nvPr/>
          </p:nvSpPr>
          <p:spPr>
            <a:xfrm>
              <a:off x="2777030" y="1040219"/>
              <a:ext cx="158643" cy="41748"/>
            </a:xfrm>
            <a:custGeom>
              <a:avLst/>
              <a:gdLst>
                <a:gd name="connsiteX0" fmla="*/ 76689 w 88041"/>
                <a:gd name="connsiteY0" fmla="*/ 22937 h 23168"/>
                <a:gd name="connsiteX1" fmla="*/ 85030 w 88041"/>
                <a:gd name="connsiteY1" fmla="*/ 15523 h 23168"/>
                <a:gd name="connsiteX2" fmla="*/ 44253 w 88041"/>
                <a:gd name="connsiteY2" fmla="*/ 3475 h 23168"/>
                <a:gd name="connsiteX3" fmla="*/ 3475 w 88041"/>
                <a:gd name="connsiteY3" fmla="*/ 15523 h 23168"/>
                <a:gd name="connsiteX4" fmla="*/ 12280 w 88041"/>
                <a:gd name="connsiteY4" fmla="*/ 22937 h 23168"/>
                <a:gd name="connsiteX5" fmla="*/ 44716 w 88041"/>
                <a:gd name="connsiteY5" fmla="*/ 18304 h 23168"/>
                <a:gd name="connsiteX6" fmla="*/ 76689 w 88041"/>
                <a:gd name="connsiteY6" fmla="*/ 2293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41" h="23168">
                  <a:moveTo>
                    <a:pt x="76689" y="22937"/>
                  </a:moveTo>
                  <a:cubicBezTo>
                    <a:pt x="82250" y="21084"/>
                    <a:pt x="85030" y="18304"/>
                    <a:pt x="85030" y="15523"/>
                  </a:cubicBezTo>
                  <a:cubicBezTo>
                    <a:pt x="85030" y="8573"/>
                    <a:pt x="66958" y="3475"/>
                    <a:pt x="44253" y="3475"/>
                  </a:cubicBezTo>
                  <a:cubicBezTo>
                    <a:pt x="21547" y="3475"/>
                    <a:pt x="3475" y="9036"/>
                    <a:pt x="3475" y="15523"/>
                  </a:cubicBezTo>
                  <a:cubicBezTo>
                    <a:pt x="3939" y="18304"/>
                    <a:pt x="7182" y="21084"/>
                    <a:pt x="12280" y="22937"/>
                  </a:cubicBezTo>
                  <a:cubicBezTo>
                    <a:pt x="19694" y="20157"/>
                    <a:pt x="31278" y="18304"/>
                    <a:pt x="44716" y="18304"/>
                  </a:cubicBezTo>
                  <a:cubicBezTo>
                    <a:pt x="57691" y="18304"/>
                    <a:pt x="69275" y="20157"/>
                    <a:pt x="76689" y="22937"/>
                  </a:cubicBezTo>
                </a:path>
              </a:pathLst>
            </a:custGeom>
            <a:solidFill>
              <a:srgbClr val="B8D43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974537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24112"/>
            <a:ext cx="11336039" cy="744014"/>
          </a:xfrm>
        </p:spPr>
        <p:txBody>
          <a:bodyPr vert="horz" wrap="square" lIns="0" tIns="164592" rIns="0" bIns="0" rtlCol="0" anchor="t">
            <a:noAutofit/>
          </a:bodyPr>
          <a:lstStyle/>
          <a:p>
            <a:r>
              <a:rPr lang="en-US" sz="3529" spc="-150" dirty="0">
                <a:solidFill>
                  <a:srgbClr val="0078D7"/>
                </a:solidFill>
              </a:rPr>
              <a:t>Azure blob storag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7" name="Group 6">
            <a:extLst>
              <a:ext uri="{FF2B5EF4-FFF2-40B4-BE49-F238E27FC236}">
                <a16:creationId xmlns:a16="http://schemas.microsoft.com/office/drawing/2014/main" id="{73830005-C480-4442-9B2E-2DFA55AF15B1}"/>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Scalable object storage that can handle all of your unstructured data</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nsistent</a:t>
              </a:r>
            </a:p>
            <a:p>
              <a:pPr lvl="1">
                <a:spcBef>
                  <a:spcPts val="600"/>
                </a:spcBef>
                <a:spcAft>
                  <a:spcPts val="0"/>
                </a:spcAft>
                <a:defRPr/>
              </a:pPr>
              <a:r>
                <a:rPr lang="en-US" dirty="0">
                  <a:solidFill>
                    <a:schemeClr val="tx1"/>
                  </a:solidFill>
                  <a:latin typeface="Segoe UI"/>
                </a:rPr>
                <a:t>When an object is changed, its verified everywhere for superior data integrity</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fficient</a:t>
              </a:r>
            </a:p>
            <a:p>
              <a:pPr lvl="1">
                <a:spcBef>
                  <a:spcPts val="600"/>
                </a:spcBef>
                <a:spcAft>
                  <a:spcPts val="0"/>
                </a:spcAft>
                <a:defRPr/>
              </a:pPr>
              <a:r>
                <a:rPr lang="en-US" dirty="0">
                  <a:solidFill>
                    <a:schemeClr val="tx1"/>
                  </a:solidFill>
                  <a:latin typeface="Segoe UI"/>
                </a:rPr>
                <a:t>Build data integration pipelines that span on-premises and cloud</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163267"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lexible</a:t>
              </a:r>
            </a:p>
            <a:p>
              <a:pPr lvl="1">
                <a:spcBef>
                  <a:spcPts val="600"/>
                </a:spcBef>
                <a:spcAft>
                  <a:spcPts val="0"/>
                </a:spcAft>
                <a:defRPr/>
              </a:pPr>
              <a:r>
                <a:rPr lang="en-US" dirty="0">
                  <a:solidFill>
                    <a:schemeClr val="tx1"/>
                  </a:solidFill>
                  <a:latin typeface="Segoe UI"/>
                </a:rPr>
                <a:t>Move data with confidence, as Azure Data Factory has been certified by HIPAA/HITECH, ISO/IEC 27001, ISO/IEC 27018, and CSA STAR</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Build serverless cloud-based data integration with no infrastructure to manage</a:t>
              </a:r>
            </a:p>
          </p:txBody>
        </p:sp>
        <p:grpSp>
          <p:nvGrpSpPr>
            <p:cNvPr id="63" name="Group 62">
              <a:extLst>
                <a:ext uri="{FF2B5EF4-FFF2-40B4-BE49-F238E27FC236}">
                  <a16:creationId xmlns:a16="http://schemas.microsoft.com/office/drawing/2014/main" id="{42EBF9E7-C269-4641-8E7C-9F205562C70C}"/>
                </a:ext>
              </a:extLst>
            </p:cNvPr>
            <p:cNvGrpSpPr/>
            <p:nvPr/>
          </p:nvGrpSpPr>
          <p:grpSpPr>
            <a:xfrm>
              <a:off x="3491452" y="3346244"/>
              <a:ext cx="949911" cy="617285"/>
              <a:chOff x="3613372" y="2733088"/>
              <a:chExt cx="949911" cy="617285"/>
            </a:xfrm>
          </p:grpSpPr>
          <p:sp>
            <p:nvSpPr>
              <p:cNvPr id="64" name="graph_9">
                <a:extLst>
                  <a:ext uri="{FF2B5EF4-FFF2-40B4-BE49-F238E27FC236}">
                    <a16:creationId xmlns:a16="http://schemas.microsoft.com/office/drawing/2014/main" id="{9A9F4BED-3DAD-4577-BD83-A38BBA84C52A}"/>
                  </a:ext>
                </a:extLst>
              </p:cNvPr>
              <p:cNvSpPr>
                <a:spLocks noChangeAspect="1" noEditPoints="1"/>
              </p:cNvSpPr>
              <p:nvPr/>
            </p:nvSpPr>
            <p:spPr bwMode="auto">
              <a:xfrm>
                <a:off x="3879193" y="2733088"/>
                <a:ext cx="684090" cy="617285"/>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65" name="Group 64">
                <a:extLst>
                  <a:ext uri="{FF2B5EF4-FFF2-40B4-BE49-F238E27FC236}">
                    <a16:creationId xmlns:a16="http://schemas.microsoft.com/office/drawing/2014/main" id="{C7EF4608-46B7-444F-8B7E-0549AA518FB4}"/>
                  </a:ext>
                </a:extLst>
              </p:cNvPr>
              <p:cNvGrpSpPr/>
              <p:nvPr/>
            </p:nvGrpSpPr>
            <p:grpSpPr>
              <a:xfrm>
                <a:off x="3613372" y="2828401"/>
                <a:ext cx="371544" cy="371544"/>
                <a:chOff x="3993495" y="1837755"/>
                <a:chExt cx="435780" cy="435780"/>
              </a:xfrm>
            </p:grpSpPr>
            <p:sp>
              <p:nvSpPr>
                <p:cNvPr id="66" name="Oval 65">
                  <a:extLst>
                    <a:ext uri="{FF2B5EF4-FFF2-40B4-BE49-F238E27FC236}">
                      <a16:creationId xmlns:a16="http://schemas.microsoft.com/office/drawing/2014/main" id="{52A1497B-BDD1-4A8D-987A-8E0B0046426A}"/>
                    </a:ext>
                  </a:extLst>
                </p:cNvPr>
                <p:cNvSpPr/>
                <p:nvPr/>
              </p:nvSpPr>
              <p:spPr bwMode="auto">
                <a:xfrm>
                  <a:off x="3993495" y="1837755"/>
                  <a:ext cx="435780" cy="435780"/>
                </a:xfrm>
                <a:prstGeom prst="ellipse">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speedometer_2">
                  <a:extLst>
                    <a:ext uri="{FF2B5EF4-FFF2-40B4-BE49-F238E27FC236}">
                      <a16:creationId xmlns:a16="http://schemas.microsoft.com/office/drawing/2014/main" id="{6FB29917-ABEF-44F9-A057-2A70391F28F7}"/>
                    </a:ext>
                  </a:extLst>
                </p:cNvPr>
                <p:cNvSpPr>
                  <a:spLocks noChangeAspect="1" noEditPoints="1"/>
                </p:cNvSpPr>
                <p:nvPr/>
              </p:nvSpPr>
              <p:spPr bwMode="auto">
                <a:xfrm>
                  <a:off x="4018863" y="1863621"/>
                  <a:ext cx="385043" cy="38404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9" name="Group 68">
              <a:extLst>
                <a:ext uri="{FF2B5EF4-FFF2-40B4-BE49-F238E27FC236}">
                  <a16:creationId xmlns:a16="http://schemas.microsoft.com/office/drawing/2014/main" id="{911A7D02-A78D-4F04-B991-C29E41A101A1}"/>
                </a:ext>
              </a:extLst>
            </p:cNvPr>
            <p:cNvGrpSpPr/>
            <p:nvPr/>
          </p:nvGrpSpPr>
          <p:grpSpPr>
            <a:xfrm>
              <a:off x="6335863" y="3391381"/>
              <a:ext cx="937013" cy="575431"/>
              <a:chOff x="8065470" y="2067541"/>
              <a:chExt cx="798381" cy="490297"/>
            </a:xfrm>
          </p:grpSpPr>
          <p:sp>
            <p:nvSpPr>
              <p:cNvPr id="70" name="signal_7">
                <a:extLst>
                  <a:ext uri="{FF2B5EF4-FFF2-40B4-BE49-F238E27FC236}">
                    <a16:creationId xmlns:a16="http://schemas.microsoft.com/office/drawing/2014/main" id="{EB2C8802-F1E1-42ED-8097-B98D4751086F}"/>
                  </a:ext>
                </a:extLst>
              </p:cNvPr>
              <p:cNvSpPr>
                <a:spLocks noChangeAspect="1" noEditPoints="1"/>
              </p:cNvSpPr>
              <p:nvPr/>
            </p:nvSpPr>
            <p:spPr bwMode="auto">
              <a:xfrm rot="16200000">
                <a:off x="8074654" y="2172027"/>
                <a:ext cx="232017" cy="250386"/>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Shape 4674">
                <a:extLst>
                  <a:ext uri="{FF2B5EF4-FFF2-40B4-BE49-F238E27FC236}">
                    <a16:creationId xmlns:a16="http://schemas.microsoft.com/office/drawing/2014/main" id="{97139F35-D4FC-4E9B-B307-3EC0F7B9C444}"/>
                  </a:ext>
                </a:extLst>
              </p:cNvPr>
              <p:cNvSpPr/>
              <p:nvPr/>
            </p:nvSpPr>
            <p:spPr>
              <a:xfrm>
                <a:off x="8373554" y="2067541"/>
                <a:ext cx="490297" cy="490297"/>
              </a:xfrm>
              <a:custGeom>
                <a:avLst/>
                <a:gdLst/>
                <a:ahLst/>
                <a:cxnLst/>
                <a:rect l="0" t="0" r="0" b="0"/>
                <a:pathLst>
                  <a:path w="120000" h="120000" extrusionOk="0">
                    <a:moveTo>
                      <a:pt x="114544" y="44972"/>
                    </a:moveTo>
                    <a:lnTo>
                      <a:pt x="111616" y="48000"/>
                    </a:lnTo>
                    <a:cubicBezTo>
                      <a:pt x="107188" y="46811"/>
                      <a:pt x="102677" y="46233"/>
                      <a:pt x="98194" y="46233"/>
                    </a:cubicBezTo>
                    <a:lnTo>
                      <a:pt x="95277" y="40983"/>
                    </a:lnTo>
                    <a:cubicBezTo>
                      <a:pt x="94733" y="40016"/>
                      <a:pt x="93950" y="39083"/>
                      <a:pt x="93005" y="38538"/>
                    </a:cubicBezTo>
                    <a:cubicBezTo>
                      <a:pt x="92227" y="38088"/>
                      <a:pt x="91344" y="37900"/>
                      <a:pt x="90377" y="38155"/>
                    </a:cubicBezTo>
                    <a:lnTo>
                      <a:pt x="74927" y="42294"/>
                    </a:lnTo>
                    <a:cubicBezTo>
                      <a:pt x="72788" y="42866"/>
                      <a:pt x="72194" y="45138"/>
                      <a:pt x="72094" y="47194"/>
                    </a:cubicBezTo>
                    <a:lnTo>
                      <a:pt x="72200" y="53166"/>
                    </a:lnTo>
                    <a:cubicBezTo>
                      <a:pt x="68294" y="55405"/>
                      <a:pt x="64661" y="58172"/>
                      <a:pt x="61405" y="61427"/>
                    </a:cubicBezTo>
                    <a:lnTo>
                      <a:pt x="55683" y="59788"/>
                    </a:lnTo>
                    <a:cubicBezTo>
                      <a:pt x="53738" y="59244"/>
                      <a:pt x="51327" y="59344"/>
                      <a:pt x="50222" y="61255"/>
                    </a:cubicBezTo>
                    <a:lnTo>
                      <a:pt x="42222" y="75111"/>
                    </a:lnTo>
                    <a:cubicBezTo>
                      <a:pt x="41116" y="77022"/>
                      <a:pt x="42300" y="79050"/>
                      <a:pt x="43683" y="80577"/>
                    </a:cubicBezTo>
                    <a:lnTo>
                      <a:pt x="47961" y="84711"/>
                    </a:lnTo>
                    <a:cubicBezTo>
                      <a:pt x="46772" y="89161"/>
                      <a:pt x="46194" y="93688"/>
                      <a:pt x="46205" y="98188"/>
                    </a:cubicBezTo>
                    <a:lnTo>
                      <a:pt x="40983" y="101088"/>
                    </a:lnTo>
                    <a:cubicBezTo>
                      <a:pt x="39222" y="102072"/>
                      <a:pt x="37583" y="103850"/>
                      <a:pt x="38155" y="105983"/>
                    </a:cubicBezTo>
                    <a:lnTo>
                      <a:pt x="40450" y="114550"/>
                    </a:lnTo>
                    <a:lnTo>
                      <a:pt x="10911" y="114550"/>
                    </a:lnTo>
                    <a:cubicBezTo>
                      <a:pt x="7900" y="114550"/>
                      <a:pt x="5455" y="112100"/>
                      <a:pt x="5455" y="109088"/>
                    </a:cubicBezTo>
                    <a:lnTo>
                      <a:pt x="5455" y="62727"/>
                    </a:lnTo>
                    <a:lnTo>
                      <a:pt x="10727" y="62727"/>
                    </a:lnTo>
                    <a:cubicBezTo>
                      <a:pt x="12933" y="62727"/>
                      <a:pt x="14100" y="60688"/>
                      <a:pt x="14727" y="58727"/>
                    </a:cubicBezTo>
                    <a:lnTo>
                      <a:pt x="16183" y="52905"/>
                    </a:lnTo>
                    <a:cubicBezTo>
                      <a:pt x="20616" y="51722"/>
                      <a:pt x="24811" y="49961"/>
                      <a:pt x="28688" y="47722"/>
                    </a:cubicBezTo>
                    <a:lnTo>
                      <a:pt x="33838" y="50811"/>
                    </a:lnTo>
                    <a:cubicBezTo>
                      <a:pt x="34861" y="51338"/>
                      <a:pt x="36022" y="51761"/>
                      <a:pt x="37116" y="51761"/>
                    </a:cubicBezTo>
                    <a:cubicBezTo>
                      <a:pt x="37983" y="51761"/>
                      <a:pt x="38805" y="51500"/>
                      <a:pt x="39500" y="50811"/>
                    </a:cubicBezTo>
                    <a:lnTo>
                      <a:pt x="50811" y="39494"/>
                    </a:lnTo>
                    <a:cubicBezTo>
                      <a:pt x="52372" y="37933"/>
                      <a:pt x="51844" y="35577"/>
                      <a:pt x="50811" y="33838"/>
                    </a:cubicBezTo>
                    <a:lnTo>
                      <a:pt x="47738" y="28716"/>
                    </a:lnTo>
                    <a:cubicBezTo>
                      <a:pt x="49994" y="24827"/>
                      <a:pt x="51761" y="20616"/>
                      <a:pt x="52950" y="16172"/>
                    </a:cubicBezTo>
                    <a:lnTo>
                      <a:pt x="58727" y="14727"/>
                    </a:lnTo>
                    <a:cubicBezTo>
                      <a:pt x="60688" y="14100"/>
                      <a:pt x="62727" y="12933"/>
                      <a:pt x="62727" y="10727"/>
                    </a:cubicBezTo>
                    <a:lnTo>
                      <a:pt x="62727" y="5455"/>
                    </a:lnTo>
                    <a:lnTo>
                      <a:pt x="109088" y="5455"/>
                    </a:lnTo>
                    <a:cubicBezTo>
                      <a:pt x="112100" y="5455"/>
                      <a:pt x="114544" y="7894"/>
                      <a:pt x="114544" y="10911"/>
                    </a:cubicBezTo>
                    <a:cubicBezTo>
                      <a:pt x="114544" y="10911"/>
                      <a:pt x="114544" y="44972"/>
                      <a:pt x="114544" y="44972"/>
                    </a:cubicBezTo>
                    <a:close/>
                    <a:moveTo>
                      <a:pt x="114544" y="69966"/>
                    </a:moveTo>
                    <a:cubicBezTo>
                      <a:pt x="109722" y="67155"/>
                      <a:pt x="104166" y="65455"/>
                      <a:pt x="98183" y="65455"/>
                    </a:cubicBezTo>
                    <a:cubicBezTo>
                      <a:pt x="80105" y="65455"/>
                      <a:pt x="65455" y="80105"/>
                      <a:pt x="65455" y="98183"/>
                    </a:cubicBezTo>
                    <a:cubicBezTo>
                      <a:pt x="65455" y="104172"/>
                      <a:pt x="67155" y="109722"/>
                      <a:pt x="69966" y="114550"/>
                    </a:cubicBezTo>
                    <a:lnTo>
                      <a:pt x="46100" y="114550"/>
                    </a:lnTo>
                    <a:lnTo>
                      <a:pt x="43750" y="105788"/>
                    </a:lnTo>
                    <a:lnTo>
                      <a:pt x="48855" y="102955"/>
                    </a:lnTo>
                    <a:cubicBezTo>
                      <a:pt x="50588" y="101988"/>
                      <a:pt x="51661" y="100155"/>
                      <a:pt x="51661" y="98172"/>
                    </a:cubicBezTo>
                    <a:cubicBezTo>
                      <a:pt x="51655" y="94100"/>
                      <a:pt x="52177" y="90044"/>
                      <a:pt x="53233" y="86122"/>
                    </a:cubicBezTo>
                    <a:cubicBezTo>
                      <a:pt x="53744" y="84211"/>
                      <a:pt x="53177" y="82172"/>
                      <a:pt x="51755" y="80794"/>
                    </a:cubicBezTo>
                    <a:lnTo>
                      <a:pt x="47622" y="76794"/>
                    </a:lnTo>
                    <a:cubicBezTo>
                      <a:pt x="47605" y="76777"/>
                      <a:pt x="47588" y="76761"/>
                      <a:pt x="47577" y="76738"/>
                    </a:cubicBezTo>
                    <a:lnTo>
                      <a:pt x="54311" y="65072"/>
                    </a:lnTo>
                    <a:lnTo>
                      <a:pt x="59905" y="66672"/>
                    </a:lnTo>
                    <a:cubicBezTo>
                      <a:pt x="61811" y="67216"/>
                      <a:pt x="63861" y="66683"/>
                      <a:pt x="65266" y="65283"/>
                    </a:cubicBezTo>
                    <a:cubicBezTo>
                      <a:pt x="68133" y="62411"/>
                      <a:pt x="71377" y="59927"/>
                      <a:pt x="74916" y="57894"/>
                    </a:cubicBezTo>
                    <a:cubicBezTo>
                      <a:pt x="76633" y="56905"/>
                      <a:pt x="77683" y="55061"/>
                      <a:pt x="77650" y="53077"/>
                    </a:cubicBezTo>
                    <a:lnTo>
                      <a:pt x="77555" y="47300"/>
                    </a:lnTo>
                    <a:lnTo>
                      <a:pt x="77555" y="47238"/>
                    </a:lnTo>
                    <a:lnTo>
                      <a:pt x="90577" y="43750"/>
                    </a:lnTo>
                    <a:lnTo>
                      <a:pt x="93427" y="48883"/>
                    </a:lnTo>
                    <a:cubicBezTo>
                      <a:pt x="93916" y="49766"/>
                      <a:pt x="94622" y="50472"/>
                      <a:pt x="95466" y="50955"/>
                    </a:cubicBezTo>
                    <a:cubicBezTo>
                      <a:pt x="96277" y="51427"/>
                      <a:pt x="97216" y="51688"/>
                      <a:pt x="98194" y="51688"/>
                    </a:cubicBezTo>
                    <a:cubicBezTo>
                      <a:pt x="102261" y="51688"/>
                      <a:pt x="106305" y="52216"/>
                      <a:pt x="110205" y="53272"/>
                    </a:cubicBezTo>
                    <a:cubicBezTo>
                      <a:pt x="111700" y="53666"/>
                      <a:pt x="113272" y="53394"/>
                      <a:pt x="114544" y="52577"/>
                    </a:cubicBezTo>
                    <a:cubicBezTo>
                      <a:pt x="114544" y="52577"/>
                      <a:pt x="114544" y="69966"/>
                      <a:pt x="114544" y="69966"/>
                    </a:cubicBezTo>
                    <a:close/>
                    <a:moveTo>
                      <a:pt x="114544" y="85972"/>
                    </a:moveTo>
                    <a:lnTo>
                      <a:pt x="106072" y="90683"/>
                    </a:lnTo>
                    <a:cubicBezTo>
                      <a:pt x="104083" y="88588"/>
                      <a:pt x="101294" y="87272"/>
                      <a:pt x="98183" y="87272"/>
                    </a:cubicBezTo>
                    <a:cubicBezTo>
                      <a:pt x="95072" y="87272"/>
                      <a:pt x="92277" y="88588"/>
                      <a:pt x="90294" y="90683"/>
                    </a:cubicBezTo>
                    <a:lnTo>
                      <a:pt x="75794" y="82627"/>
                    </a:lnTo>
                    <a:cubicBezTo>
                      <a:pt x="80722" y="75550"/>
                      <a:pt x="88905" y="70911"/>
                      <a:pt x="98183" y="70911"/>
                    </a:cubicBezTo>
                    <a:cubicBezTo>
                      <a:pt x="104350" y="70911"/>
                      <a:pt x="109988" y="73005"/>
                      <a:pt x="114544" y="76466"/>
                    </a:cubicBezTo>
                    <a:cubicBezTo>
                      <a:pt x="114544" y="76466"/>
                      <a:pt x="114544" y="85972"/>
                      <a:pt x="114544" y="85972"/>
                    </a:cubicBezTo>
                    <a:close/>
                    <a:moveTo>
                      <a:pt x="114544" y="109088"/>
                    </a:moveTo>
                    <a:cubicBezTo>
                      <a:pt x="114544" y="112100"/>
                      <a:pt x="112100" y="114550"/>
                      <a:pt x="109088" y="114550"/>
                    </a:cubicBezTo>
                    <a:lnTo>
                      <a:pt x="100911" y="114550"/>
                    </a:lnTo>
                    <a:lnTo>
                      <a:pt x="100911" y="108705"/>
                    </a:lnTo>
                    <a:cubicBezTo>
                      <a:pt x="105605" y="107488"/>
                      <a:pt x="109088" y="103261"/>
                      <a:pt x="109088" y="98183"/>
                    </a:cubicBezTo>
                    <a:cubicBezTo>
                      <a:pt x="109088" y="97233"/>
                      <a:pt x="108933" y="96327"/>
                      <a:pt x="108705" y="95455"/>
                    </a:cubicBezTo>
                    <a:lnTo>
                      <a:pt x="114544" y="92211"/>
                    </a:lnTo>
                    <a:cubicBezTo>
                      <a:pt x="114544" y="92211"/>
                      <a:pt x="114544" y="109088"/>
                      <a:pt x="114544" y="109088"/>
                    </a:cubicBezTo>
                    <a:close/>
                    <a:moveTo>
                      <a:pt x="92727" y="98183"/>
                    </a:moveTo>
                    <a:cubicBezTo>
                      <a:pt x="92727" y="95172"/>
                      <a:pt x="95172" y="92727"/>
                      <a:pt x="98183" y="92727"/>
                    </a:cubicBezTo>
                    <a:cubicBezTo>
                      <a:pt x="101188" y="92727"/>
                      <a:pt x="103638" y="95172"/>
                      <a:pt x="103638" y="98183"/>
                    </a:cubicBezTo>
                    <a:cubicBezTo>
                      <a:pt x="103638" y="101194"/>
                      <a:pt x="101188" y="103638"/>
                      <a:pt x="98183" y="103638"/>
                    </a:cubicBezTo>
                    <a:cubicBezTo>
                      <a:pt x="95172" y="103638"/>
                      <a:pt x="92727" y="101194"/>
                      <a:pt x="92727" y="98183"/>
                    </a:cubicBezTo>
                    <a:moveTo>
                      <a:pt x="95455" y="114550"/>
                    </a:moveTo>
                    <a:lnTo>
                      <a:pt x="76427" y="114550"/>
                    </a:lnTo>
                    <a:cubicBezTo>
                      <a:pt x="72988" y="109983"/>
                      <a:pt x="70911" y="104338"/>
                      <a:pt x="70911" y="98183"/>
                    </a:cubicBezTo>
                    <a:cubicBezTo>
                      <a:pt x="70911" y="94344"/>
                      <a:pt x="71705" y="90700"/>
                      <a:pt x="73138" y="87388"/>
                    </a:cubicBezTo>
                    <a:lnTo>
                      <a:pt x="87661" y="95455"/>
                    </a:lnTo>
                    <a:cubicBezTo>
                      <a:pt x="87433" y="96327"/>
                      <a:pt x="87272" y="97233"/>
                      <a:pt x="87272" y="98183"/>
                    </a:cubicBezTo>
                    <a:cubicBezTo>
                      <a:pt x="87272" y="103261"/>
                      <a:pt x="90755" y="107488"/>
                      <a:pt x="95455" y="108705"/>
                    </a:cubicBezTo>
                    <a:cubicBezTo>
                      <a:pt x="95455" y="108705"/>
                      <a:pt x="95455" y="114550"/>
                      <a:pt x="95455" y="114550"/>
                    </a:cubicBezTo>
                    <a:close/>
                    <a:moveTo>
                      <a:pt x="5455" y="29866"/>
                    </a:moveTo>
                    <a:cubicBezTo>
                      <a:pt x="18338" y="28583"/>
                      <a:pt x="28583" y="18338"/>
                      <a:pt x="29861" y="5455"/>
                    </a:cubicBezTo>
                    <a:lnTo>
                      <a:pt x="57272" y="5455"/>
                    </a:lnTo>
                    <a:lnTo>
                      <a:pt x="57272" y="9461"/>
                    </a:lnTo>
                    <a:cubicBezTo>
                      <a:pt x="57250" y="9472"/>
                      <a:pt x="57233" y="9477"/>
                      <a:pt x="57211" y="9483"/>
                    </a:cubicBezTo>
                    <a:lnTo>
                      <a:pt x="51627" y="10877"/>
                    </a:lnTo>
                    <a:cubicBezTo>
                      <a:pt x="49705" y="11361"/>
                      <a:pt x="48194" y="12850"/>
                      <a:pt x="47683" y="14761"/>
                    </a:cubicBezTo>
                    <a:cubicBezTo>
                      <a:pt x="46633" y="18683"/>
                      <a:pt x="45066" y="22455"/>
                      <a:pt x="43022" y="25977"/>
                    </a:cubicBezTo>
                    <a:cubicBezTo>
                      <a:pt x="42022" y="27700"/>
                      <a:pt x="42038" y="29822"/>
                      <a:pt x="43061" y="31522"/>
                    </a:cubicBezTo>
                    <a:lnTo>
                      <a:pt x="46066" y="36527"/>
                    </a:lnTo>
                    <a:lnTo>
                      <a:pt x="36533" y="46061"/>
                    </a:lnTo>
                    <a:cubicBezTo>
                      <a:pt x="36516" y="46055"/>
                      <a:pt x="36494" y="46044"/>
                      <a:pt x="36477" y="46033"/>
                    </a:cubicBezTo>
                    <a:lnTo>
                      <a:pt x="31494" y="43044"/>
                    </a:lnTo>
                    <a:cubicBezTo>
                      <a:pt x="30627" y="42527"/>
                      <a:pt x="29661" y="42266"/>
                      <a:pt x="28688" y="42266"/>
                    </a:cubicBezTo>
                    <a:cubicBezTo>
                      <a:pt x="27750" y="42266"/>
                      <a:pt x="26805" y="42511"/>
                      <a:pt x="25961" y="42994"/>
                    </a:cubicBezTo>
                    <a:cubicBezTo>
                      <a:pt x="22438" y="45033"/>
                      <a:pt x="18677" y="46594"/>
                      <a:pt x="14772" y="47638"/>
                    </a:cubicBezTo>
                    <a:cubicBezTo>
                      <a:pt x="12861" y="48144"/>
                      <a:pt x="11372" y="49655"/>
                      <a:pt x="10888" y="51583"/>
                    </a:cubicBezTo>
                    <a:lnTo>
                      <a:pt x="9483" y="57211"/>
                    </a:lnTo>
                    <a:cubicBezTo>
                      <a:pt x="9477" y="57233"/>
                      <a:pt x="9472" y="57250"/>
                      <a:pt x="9461" y="57277"/>
                    </a:cubicBezTo>
                    <a:lnTo>
                      <a:pt x="5455" y="57277"/>
                    </a:lnTo>
                    <a:cubicBezTo>
                      <a:pt x="5455" y="57277"/>
                      <a:pt x="5455" y="29866"/>
                      <a:pt x="5455" y="29866"/>
                    </a:cubicBezTo>
                    <a:close/>
                    <a:moveTo>
                      <a:pt x="5455" y="10911"/>
                    </a:moveTo>
                    <a:cubicBezTo>
                      <a:pt x="5455" y="7894"/>
                      <a:pt x="7900" y="5455"/>
                      <a:pt x="10911" y="5455"/>
                    </a:cubicBezTo>
                    <a:lnTo>
                      <a:pt x="24355" y="5455"/>
                    </a:lnTo>
                    <a:cubicBezTo>
                      <a:pt x="23122" y="15322"/>
                      <a:pt x="15322" y="23122"/>
                      <a:pt x="5455" y="24355"/>
                    </a:cubicBezTo>
                    <a:cubicBezTo>
                      <a:pt x="5455" y="24355"/>
                      <a:pt x="5455" y="10911"/>
                      <a:pt x="5455" y="10911"/>
                    </a:cubicBezTo>
                    <a:close/>
                    <a:moveTo>
                      <a:pt x="109088" y="0"/>
                    </a:moveTo>
                    <a:lnTo>
                      <a:pt x="10911" y="0"/>
                    </a:lnTo>
                    <a:cubicBezTo>
                      <a:pt x="4883" y="0"/>
                      <a:pt x="0" y="4883"/>
                      <a:pt x="0" y="10911"/>
                    </a:cubicBezTo>
                    <a:lnTo>
                      <a:pt x="0" y="109088"/>
                    </a:lnTo>
                    <a:cubicBezTo>
                      <a:pt x="0" y="115116"/>
                      <a:pt x="4883" y="120000"/>
                      <a:pt x="10911" y="120000"/>
                    </a:cubicBezTo>
                    <a:lnTo>
                      <a:pt x="109088" y="120000"/>
                    </a:lnTo>
                    <a:cubicBezTo>
                      <a:pt x="115116" y="120000"/>
                      <a:pt x="120000" y="115116"/>
                      <a:pt x="120000" y="109088"/>
                    </a:cubicBezTo>
                    <a:lnTo>
                      <a:pt x="120000" y="10911"/>
                    </a:lnTo>
                    <a:cubicBezTo>
                      <a:pt x="120000" y="4883"/>
                      <a:pt x="115116" y="0"/>
                      <a:pt x="109088" y="0"/>
                    </a:cubicBezTo>
                  </a:path>
                </a:pathLst>
              </a:custGeom>
              <a:solidFill>
                <a:schemeClr val="tx1"/>
              </a:solidFill>
              <a:ln w="3175">
                <a:solidFill>
                  <a:schemeClr val="bg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grpSp>
        <p:sp>
          <p:nvSpPr>
            <p:cNvPr id="47" name="Trackers_EADF_bidi" title="Icon of a clipboard with a checklist on it">
              <a:extLst>
                <a:ext uri="{FF2B5EF4-FFF2-40B4-BE49-F238E27FC236}">
                  <a16:creationId xmlns:a16="http://schemas.microsoft.com/office/drawing/2014/main" id="{2795A196-BA8F-46A3-AAF9-4A7D5D15A244}"/>
                </a:ext>
              </a:extLst>
            </p:cNvPr>
            <p:cNvSpPr>
              <a:spLocks noChangeAspect="1" noEditPoints="1"/>
            </p:cNvSpPr>
            <p:nvPr/>
          </p:nvSpPr>
          <p:spPr bwMode="auto">
            <a:xfrm>
              <a:off x="454671" y="3358497"/>
              <a:ext cx="489873" cy="66796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9" name="Group 48">
              <a:extLst>
                <a:ext uri="{FF2B5EF4-FFF2-40B4-BE49-F238E27FC236}">
                  <a16:creationId xmlns:a16="http://schemas.microsoft.com/office/drawing/2014/main" id="{0A4DB5AE-5D2E-4C66-9E81-D41DF0CEE1BC}"/>
                </a:ext>
              </a:extLst>
            </p:cNvPr>
            <p:cNvGrpSpPr>
              <a:grpSpLocks noChangeAspect="1"/>
            </p:cNvGrpSpPr>
            <p:nvPr/>
          </p:nvGrpSpPr>
          <p:grpSpPr>
            <a:xfrm>
              <a:off x="9576477" y="3494175"/>
              <a:ext cx="928963" cy="512093"/>
              <a:chOff x="9569872" y="2014913"/>
              <a:chExt cx="868086" cy="478535"/>
            </a:xfrm>
          </p:grpSpPr>
          <p:sp>
            <p:nvSpPr>
              <p:cNvPr id="50" name="Shape 4978">
                <a:extLst>
                  <a:ext uri="{FF2B5EF4-FFF2-40B4-BE49-F238E27FC236}">
                    <a16:creationId xmlns:a16="http://schemas.microsoft.com/office/drawing/2014/main" id="{BC532486-AAE2-48F1-A7AA-EE234F2A22AE}"/>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1" name="Shape 4978">
                <a:extLst>
                  <a:ext uri="{FF2B5EF4-FFF2-40B4-BE49-F238E27FC236}">
                    <a16:creationId xmlns:a16="http://schemas.microsoft.com/office/drawing/2014/main" id="{A866CF56-9B2E-44DA-BCD7-80730330748F}"/>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3" name="Freeform: Shape 27">
                <a:extLst>
                  <a:ext uri="{FF2B5EF4-FFF2-40B4-BE49-F238E27FC236}">
                    <a16:creationId xmlns:a16="http://schemas.microsoft.com/office/drawing/2014/main" id="{15CE20EC-C10F-4A02-9709-481614BBD1AA}"/>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48" name="Group 47">
            <a:extLst>
              <a:ext uri="{FF2B5EF4-FFF2-40B4-BE49-F238E27FC236}">
                <a16:creationId xmlns:a16="http://schemas.microsoft.com/office/drawing/2014/main" id="{AD02667C-65B2-4529-938F-424B570B293F}"/>
              </a:ext>
            </a:extLst>
          </p:cNvPr>
          <p:cNvGrpSpPr/>
          <p:nvPr/>
        </p:nvGrpSpPr>
        <p:grpSpPr>
          <a:xfrm>
            <a:off x="10384366" y="367582"/>
            <a:ext cx="861817" cy="743525"/>
            <a:chOff x="9200602" y="3236649"/>
            <a:chExt cx="264314" cy="228034"/>
          </a:xfrm>
        </p:grpSpPr>
        <p:sp>
          <p:nvSpPr>
            <p:cNvPr id="57" name="Freeform: Shape 56">
              <a:extLst>
                <a:ext uri="{FF2B5EF4-FFF2-40B4-BE49-F238E27FC236}">
                  <a16:creationId xmlns:a16="http://schemas.microsoft.com/office/drawing/2014/main" id="{DDB33C9B-CC42-4685-859F-D6A9A80889F1}"/>
                </a:ext>
              </a:extLst>
            </p:cNvPr>
            <p:cNvSpPr/>
            <p:nvPr/>
          </p:nvSpPr>
          <p:spPr>
            <a:xfrm>
              <a:off x="9200602" y="3276555"/>
              <a:ext cx="264314" cy="186574"/>
            </a:xfrm>
            <a:custGeom>
              <a:avLst/>
              <a:gdLst>
                <a:gd name="connsiteX0" fmla="*/ 3475 w 236322"/>
                <a:gd name="connsiteY0" fmla="*/ 156854 h 166816"/>
                <a:gd name="connsiteX1" fmla="*/ 11816 w 236322"/>
                <a:gd name="connsiteY1" fmla="*/ 165658 h 166816"/>
                <a:gd name="connsiteX2" fmla="*/ 226360 w 236322"/>
                <a:gd name="connsiteY2" fmla="*/ 165658 h 166816"/>
                <a:gd name="connsiteX3" fmla="*/ 235165 w 236322"/>
                <a:gd name="connsiteY3" fmla="*/ 156854 h 166816"/>
                <a:gd name="connsiteX4" fmla="*/ 235165 w 236322"/>
                <a:gd name="connsiteY4" fmla="*/ 3475 h 166816"/>
                <a:gd name="connsiteX5" fmla="*/ 3475 w 236322"/>
                <a:gd name="connsiteY5" fmla="*/ 3475 h 166816"/>
                <a:gd name="connsiteX6" fmla="*/ 3475 w 236322"/>
                <a:gd name="connsiteY6" fmla="*/ 156854 h 1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166816">
                  <a:moveTo>
                    <a:pt x="3475" y="156854"/>
                  </a:moveTo>
                  <a:cubicBezTo>
                    <a:pt x="3475" y="161487"/>
                    <a:pt x="7182" y="165658"/>
                    <a:pt x="11816" y="165658"/>
                  </a:cubicBezTo>
                  <a:lnTo>
                    <a:pt x="226360" y="165658"/>
                  </a:lnTo>
                  <a:cubicBezTo>
                    <a:pt x="230994" y="165658"/>
                    <a:pt x="235165" y="161951"/>
                    <a:pt x="235165" y="156854"/>
                  </a:cubicBezTo>
                  <a:lnTo>
                    <a:pt x="235165" y="3475"/>
                  </a:lnTo>
                  <a:lnTo>
                    <a:pt x="3475" y="3475"/>
                  </a:lnTo>
                  <a:lnTo>
                    <a:pt x="3475" y="156854"/>
                  </a:lnTo>
                  <a:close/>
                </a:path>
              </a:pathLst>
            </a:custGeom>
            <a:solidFill>
              <a:srgbClr val="A0A1A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4D7DD6C0-A78E-46FE-B510-9356BECE4E5F}"/>
                </a:ext>
              </a:extLst>
            </p:cNvPr>
            <p:cNvSpPr/>
            <p:nvPr/>
          </p:nvSpPr>
          <p:spPr>
            <a:xfrm>
              <a:off x="9200602" y="3236649"/>
              <a:ext cx="264314" cy="46643"/>
            </a:xfrm>
            <a:custGeom>
              <a:avLst/>
              <a:gdLst>
                <a:gd name="connsiteX0" fmla="*/ 226360 w 236322"/>
                <a:gd name="connsiteY0" fmla="*/ 3475 h 41704"/>
                <a:gd name="connsiteX1" fmla="*/ 11816 w 236322"/>
                <a:gd name="connsiteY1" fmla="*/ 3475 h 41704"/>
                <a:gd name="connsiteX2" fmla="*/ 3475 w 236322"/>
                <a:gd name="connsiteY2" fmla="*/ 12279 h 41704"/>
                <a:gd name="connsiteX3" fmla="*/ 3475 w 236322"/>
                <a:gd name="connsiteY3" fmla="*/ 38692 h 41704"/>
                <a:gd name="connsiteX4" fmla="*/ 235165 w 236322"/>
                <a:gd name="connsiteY4" fmla="*/ 38692 h 41704"/>
                <a:gd name="connsiteX5" fmla="*/ 235165 w 236322"/>
                <a:gd name="connsiteY5" fmla="*/ 12279 h 41704"/>
                <a:gd name="connsiteX6" fmla="*/ 226360 w 236322"/>
                <a:gd name="connsiteY6" fmla="*/ 3475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41704">
                  <a:moveTo>
                    <a:pt x="226360" y="3475"/>
                  </a:moveTo>
                  <a:lnTo>
                    <a:pt x="11816" y="3475"/>
                  </a:lnTo>
                  <a:cubicBezTo>
                    <a:pt x="7182" y="3475"/>
                    <a:pt x="3475" y="7646"/>
                    <a:pt x="3475" y="12279"/>
                  </a:cubicBezTo>
                  <a:lnTo>
                    <a:pt x="3475" y="38692"/>
                  </a:lnTo>
                  <a:lnTo>
                    <a:pt x="235165" y="38692"/>
                  </a:lnTo>
                  <a:lnTo>
                    <a:pt x="235165" y="12279"/>
                  </a:lnTo>
                  <a:cubicBezTo>
                    <a:pt x="235165" y="7646"/>
                    <a:pt x="231458" y="3475"/>
                    <a:pt x="226360" y="3475"/>
                  </a:cubicBezTo>
                </a:path>
              </a:pathLst>
            </a:custGeom>
            <a:solidFill>
              <a:srgbClr val="7A7A7A"/>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B0478BB2-0F1D-4C40-8023-D424284F3C09}"/>
                </a:ext>
              </a:extLst>
            </p:cNvPr>
            <p:cNvSpPr/>
            <p:nvPr/>
          </p:nvSpPr>
          <p:spPr>
            <a:xfrm>
              <a:off x="9219778" y="3294175"/>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10DF49C7-1F34-48F9-AA87-A3315366B612}"/>
                </a:ext>
              </a:extLst>
            </p:cNvPr>
            <p:cNvSpPr/>
            <p:nvPr/>
          </p:nvSpPr>
          <p:spPr>
            <a:xfrm>
              <a:off x="9219778" y="3370878"/>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5CBDA99A-67F2-4B97-879F-B913E7868200}"/>
                </a:ext>
              </a:extLst>
            </p:cNvPr>
            <p:cNvSpPr/>
            <p:nvPr/>
          </p:nvSpPr>
          <p:spPr>
            <a:xfrm>
              <a:off x="9334832" y="3294175"/>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84CDF88-959A-428F-9E13-83DB254161BF}"/>
                </a:ext>
              </a:extLst>
            </p:cNvPr>
            <p:cNvSpPr/>
            <p:nvPr/>
          </p:nvSpPr>
          <p:spPr>
            <a:xfrm>
              <a:off x="9334832" y="3370878"/>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1B294C8D-0107-4C55-A36A-8A0A1360C106}"/>
                </a:ext>
              </a:extLst>
            </p:cNvPr>
            <p:cNvSpPr/>
            <p:nvPr/>
          </p:nvSpPr>
          <p:spPr>
            <a:xfrm>
              <a:off x="9200602" y="3236649"/>
              <a:ext cx="233218" cy="228034"/>
            </a:xfrm>
            <a:custGeom>
              <a:avLst/>
              <a:gdLst>
                <a:gd name="connsiteX0" fmla="*/ 12743 w 208520"/>
                <a:gd name="connsiteY0" fmla="*/ 3475 h 203886"/>
                <a:gd name="connsiteX1" fmla="*/ 3475 w 208520"/>
                <a:gd name="connsiteY1" fmla="*/ 12743 h 203886"/>
                <a:gd name="connsiteX2" fmla="*/ 3475 w 208520"/>
                <a:gd name="connsiteY2" fmla="*/ 46569 h 203886"/>
                <a:gd name="connsiteX3" fmla="*/ 3475 w 208520"/>
                <a:gd name="connsiteY3" fmla="*/ 61861 h 203886"/>
                <a:gd name="connsiteX4" fmla="*/ 3475 w 208520"/>
                <a:gd name="connsiteY4" fmla="*/ 191607 h 203886"/>
                <a:gd name="connsiteX5" fmla="*/ 12743 w 208520"/>
                <a:gd name="connsiteY5" fmla="*/ 200875 h 203886"/>
                <a:gd name="connsiteX6" fmla="*/ 22937 w 208520"/>
                <a:gd name="connsiteY6" fmla="*/ 200875 h 203886"/>
                <a:gd name="connsiteX7" fmla="*/ 205508 w 208520"/>
                <a:gd name="connsiteY7" fmla="*/ 3475 h 203886"/>
                <a:gd name="connsiteX8" fmla="*/ 12743 w 208520"/>
                <a:gd name="connsiteY8" fmla="*/ 3475 h 20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520" h="203886">
                  <a:moveTo>
                    <a:pt x="12743" y="3475"/>
                  </a:moveTo>
                  <a:cubicBezTo>
                    <a:pt x="7646" y="3475"/>
                    <a:pt x="3475" y="7646"/>
                    <a:pt x="3475" y="12743"/>
                  </a:cubicBezTo>
                  <a:lnTo>
                    <a:pt x="3475" y="46569"/>
                  </a:lnTo>
                  <a:lnTo>
                    <a:pt x="3475" y="61861"/>
                  </a:lnTo>
                  <a:lnTo>
                    <a:pt x="3475" y="191607"/>
                  </a:lnTo>
                  <a:cubicBezTo>
                    <a:pt x="3475" y="196704"/>
                    <a:pt x="7646" y="200875"/>
                    <a:pt x="12743" y="200875"/>
                  </a:cubicBezTo>
                  <a:lnTo>
                    <a:pt x="22937" y="200875"/>
                  </a:lnTo>
                  <a:lnTo>
                    <a:pt x="205508" y="3475"/>
                  </a:lnTo>
                  <a:lnTo>
                    <a:pt x="12743" y="3475"/>
                  </a:lnTo>
                  <a:close/>
                </a:path>
              </a:pathLst>
            </a:custGeom>
            <a:solidFill>
              <a:srgbClr val="FFFFFF">
                <a:alpha val="48000"/>
              </a:srgb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145513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z="3529" spc="-150">
                <a:solidFill>
                  <a:srgbClr val="0078D7"/>
                </a:solidFill>
              </a:rPr>
              <a:t>Azure databricks</a:t>
            </a:r>
            <a:endParaRPr lang="en-US" sz="3529" spc="-150" dirty="0">
              <a:solidFill>
                <a:srgbClr val="0078D7"/>
              </a:solidFill>
            </a:endParaRP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7" name="Group 6">
            <a:extLst>
              <a:ext uri="{FF2B5EF4-FFF2-40B4-BE49-F238E27FC236}">
                <a16:creationId xmlns:a16="http://schemas.microsoft.com/office/drawing/2014/main" id="{1E14D127-51B6-42C7-AE05-B427A90FB10A}"/>
              </a:ext>
            </a:extLst>
          </p:cNvPr>
          <p:cNvGrpSpPr/>
          <p:nvPr/>
        </p:nvGrpSpPr>
        <p:grpSpPr>
          <a:xfrm>
            <a:off x="0" y="1400213"/>
            <a:ext cx="12192000" cy="4266797"/>
            <a:chOff x="0" y="1400213"/>
            <a:chExt cx="12192000" cy="4266797"/>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ast, easy, Apache Spark-based analytics platform</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964880"/>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llaborative</a:t>
              </a:r>
            </a:p>
            <a:p>
              <a:pPr lvl="1">
                <a:spcBef>
                  <a:spcPts val="600"/>
                </a:spcBef>
                <a:spcAft>
                  <a:spcPts val="0"/>
                </a:spcAft>
                <a:defRPr/>
              </a:pPr>
              <a:r>
                <a:rPr lang="en-US" dirty="0">
                  <a:solidFill>
                    <a:schemeClr val="tx1"/>
                  </a:solidFill>
                  <a:latin typeface="Segoe UI"/>
                </a:rPr>
                <a:t>Bring teams together in an interactive workspac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Integrates effortlessly with a variety of data stores and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230938" y="4120433"/>
              <a:ext cx="267137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a:t>
              </a:r>
            </a:p>
            <a:p>
              <a:pPr lvl="1">
                <a:spcBef>
                  <a:spcPts val="600"/>
                </a:spcBef>
                <a:spcAft>
                  <a:spcPts val="0"/>
                </a:spcAft>
                <a:defRPr/>
              </a:pPr>
              <a:r>
                <a:rPr lang="en-US" dirty="0">
                  <a:solidFill>
                    <a:schemeClr val="tx1"/>
                  </a:solidFill>
                  <a:latin typeface="Segoe UI"/>
                </a:rPr>
                <a:t>Protect your data and business with Azure Active Directory integration</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Globally scale your analytics and data science projects and innovate faster with machine learning</a:t>
              </a:r>
            </a:p>
          </p:txBody>
        </p:sp>
        <p:sp>
          <p:nvSpPr>
            <p:cNvPr id="44" name="arrow_16" title="Icon of two arrows that crisscross">
              <a:extLst>
                <a:ext uri="{FF2B5EF4-FFF2-40B4-BE49-F238E27FC236}">
                  <a16:creationId xmlns:a16="http://schemas.microsoft.com/office/drawing/2014/main" id="{19F109C8-D1E0-44AD-8C93-36A206F2B420}"/>
                </a:ext>
              </a:extLst>
            </p:cNvPr>
            <p:cNvSpPr>
              <a:spLocks noChangeAspect="1" noEditPoints="1"/>
            </p:cNvSpPr>
            <p:nvPr/>
          </p:nvSpPr>
          <p:spPr bwMode="auto">
            <a:xfrm>
              <a:off x="3515734" y="3479825"/>
              <a:ext cx="718359" cy="52946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6" name="Lock" title="Icon of a padlock">
              <a:extLst>
                <a:ext uri="{FF2B5EF4-FFF2-40B4-BE49-F238E27FC236}">
                  <a16:creationId xmlns:a16="http://schemas.microsoft.com/office/drawing/2014/main" id="{F8DAD1AB-79E6-4513-9189-74FBC8A52BC8}"/>
                </a:ext>
              </a:extLst>
            </p:cNvPr>
            <p:cNvSpPr>
              <a:spLocks noChangeAspect="1" noEditPoints="1"/>
            </p:cNvSpPr>
            <p:nvPr/>
          </p:nvSpPr>
          <p:spPr bwMode="auto">
            <a:xfrm>
              <a:off x="6395709" y="33709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manager" title="Icon of three people with lines connecting them">
              <a:extLst>
                <a:ext uri="{FF2B5EF4-FFF2-40B4-BE49-F238E27FC236}">
                  <a16:creationId xmlns:a16="http://schemas.microsoft.com/office/drawing/2014/main" id="{A33E7544-8D57-4B09-97C1-4C71413BE337}"/>
                </a:ext>
              </a:extLst>
            </p:cNvPr>
            <p:cNvSpPr>
              <a:spLocks noChangeAspect="1" noEditPoints="1"/>
            </p:cNvSpPr>
            <p:nvPr/>
          </p:nvSpPr>
          <p:spPr bwMode="auto">
            <a:xfrm>
              <a:off x="472243" y="3400524"/>
              <a:ext cx="633075" cy="6381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57" name="Group 56">
              <a:extLst>
                <a:ext uri="{FF2B5EF4-FFF2-40B4-BE49-F238E27FC236}">
                  <a16:creationId xmlns:a16="http://schemas.microsoft.com/office/drawing/2014/main" id="{0C3E694D-217C-4FD6-93A6-1E20314B7C54}"/>
                </a:ext>
              </a:extLst>
            </p:cNvPr>
            <p:cNvGrpSpPr>
              <a:grpSpLocks noChangeAspect="1"/>
            </p:cNvGrpSpPr>
            <p:nvPr/>
          </p:nvGrpSpPr>
          <p:grpSpPr>
            <a:xfrm>
              <a:off x="9576477" y="3494175"/>
              <a:ext cx="928963" cy="512093"/>
              <a:chOff x="9569872" y="2014913"/>
              <a:chExt cx="868086" cy="478535"/>
            </a:xfrm>
          </p:grpSpPr>
          <p:sp>
            <p:nvSpPr>
              <p:cNvPr id="68" name="Shape 4978">
                <a:extLst>
                  <a:ext uri="{FF2B5EF4-FFF2-40B4-BE49-F238E27FC236}">
                    <a16:creationId xmlns:a16="http://schemas.microsoft.com/office/drawing/2014/main" id="{438F4D04-034B-4A9F-9AFA-5EF66E7D3C1A}"/>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6" name="Shape 4978">
                <a:extLst>
                  <a:ext uri="{FF2B5EF4-FFF2-40B4-BE49-F238E27FC236}">
                    <a16:creationId xmlns:a16="http://schemas.microsoft.com/office/drawing/2014/main" id="{04017D21-37B3-4ED5-AEFE-DF28C4021390}"/>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7" name="Freeform: Shape 27">
                <a:extLst>
                  <a:ext uri="{FF2B5EF4-FFF2-40B4-BE49-F238E27FC236}">
                    <a16:creationId xmlns:a16="http://schemas.microsoft.com/office/drawing/2014/main" id="{8FC5D06D-55DD-4295-9E09-0B26DAA46C1F}"/>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5" name="Graphic 942">
            <a:extLst>
              <a:ext uri="{FF2B5EF4-FFF2-40B4-BE49-F238E27FC236}">
                <a16:creationId xmlns:a16="http://schemas.microsoft.com/office/drawing/2014/main" id="{4DD948CE-5B53-4CD9-B3E8-D996CE88B2EE}"/>
              </a:ext>
            </a:extLst>
          </p:cNvPr>
          <p:cNvGrpSpPr>
            <a:grpSpLocks noChangeAspect="1"/>
          </p:cNvGrpSpPr>
          <p:nvPr/>
        </p:nvGrpSpPr>
        <p:grpSpPr>
          <a:xfrm>
            <a:off x="10385315" y="314234"/>
            <a:ext cx="782781" cy="869935"/>
            <a:chOff x="4551581" y="4208764"/>
            <a:chExt cx="278933" cy="309993"/>
          </a:xfrm>
        </p:grpSpPr>
        <p:sp>
          <p:nvSpPr>
            <p:cNvPr id="36" name="Freeform: Shape 35">
              <a:extLst>
                <a:ext uri="{FF2B5EF4-FFF2-40B4-BE49-F238E27FC236}">
                  <a16:creationId xmlns:a16="http://schemas.microsoft.com/office/drawing/2014/main" id="{AE4CFAE8-CFC0-4F7A-AB1F-E8A49B5B3A73}"/>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6A6536D-BE5E-434D-AF4D-D8D88FCFFCE1}"/>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9C7093F9-BBCC-43AD-AD29-0BAD4B2DA703}"/>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A0D437A-E611-43A1-AFE9-8CCA93444922}"/>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7145DE7-7E5F-45C2-B61F-9AD703DB29C7}"/>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0D982E8C-E29E-482F-BE84-3C19770A9B87}"/>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375928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SQL data warehous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9" name="Group 8">
            <a:extLst>
              <a:ext uri="{FF2B5EF4-FFF2-40B4-BE49-F238E27FC236}">
                <a16:creationId xmlns:a16="http://schemas.microsoft.com/office/drawing/2014/main" id="{76A62B94-6074-4982-B86C-0D98978B413E}"/>
              </a:ext>
            </a:extLst>
          </p:cNvPr>
          <p:cNvGrpSpPr/>
          <p:nvPr/>
        </p:nvGrpSpPr>
        <p:grpSpPr>
          <a:xfrm>
            <a:off x="0" y="1400213"/>
            <a:ext cx="12192000" cy="4737695"/>
            <a:chOff x="0" y="1400213"/>
            <a:chExt cx="12192000" cy="4737695"/>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high-performance, globally available, secure cloud data warehouse </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Make your data go further with a cloud solution that removes limits to scale and performanc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8235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Trusted and secure</a:t>
              </a:r>
            </a:p>
            <a:p>
              <a:pPr lvl="1">
                <a:spcBef>
                  <a:spcPts val="600"/>
                </a:spcBef>
                <a:spcAft>
                  <a:spcPts val="0"/>
                </a:spcAft>
                <a:defRPr/>
              </a:pPr>
              <a:r>
                <a:rPr lang="en-US" dirty="0">
                  <a:solidFill>
                    <a:schemeClr val="tx1"/>
                  </a:solidFill>
                  <a:latin typeface="Segoe UI"/>
                </a:rPr>
                <a:t>Count on enhanced security features and industry-leading compliance with global availability</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2017475"/>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lastic and extensible</a:t>
              </a:r>
            </a:p>
            <a:p>
              <a:pPr lvl="1">
                <a:spcBef>
                  <a:spcPts val="600"/>
                </a:spcBef>
                <a:spcAft>
                  <a:spcPts val="0"/>
                </a:spcAft>
                <a:defRPr/>
              </a:pPr>
              <a:r>
                <a:rPr lang="en-US" dirty="0">
                  <a:solidFill>
                    <a:schemeClr val="tx1"/>
                  </a:solidFill>
                  <a:latin typeface="Segoe UI"/>
                </a:rPr>
                <a:t>Optimize data warehouse performance and lower costs by scaling compute and storage independently and only paying for the resources you need</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8235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Optimized for integration</a:t>
              </a:r>
            </a:p>
            <a:p>
              <a:pPr lvl="1">
                <a:spcBef>
                  <a:spcPts val="600"/>
                </a:spcBef>
                <a:spcAft>
                  <a:spcPts val="0"/>
                </a:spcAft>
                <a:defRPr/>
              </a:pPr>
              <a:r>
                <a:rPr lang="en-US" dirty="0">
                  <a:solidFill>
                    <a:schemeClr val="tx1"/>
                  </a:solidFill>
                  <a:latin typeface="Segoe UI"/>
                </a:rPr>
                <a:t>Easy to combine with leading data integration and BI solutions across Microsoft and other leading vendors</a:t>
              </a:r>
            </a:p>
          </p:txBody>
        </p:sp>
        <p:cxnSp>
          <p:nvCxnSpPr>
            <p:cNvPr id="96" name="Straight Arrow Connector 95">
              <a:extLst>
                <a:ext uri="{FF2B5EF4-FFF2-40B4-BE49-F238E27FC236}">
                  <a16:creationId xmlns:a16="http://schemas.microsoft.com/office/drawing/2014/main" id="{4D806FC3-BA7F-4EAE-81C7-3B9FCDD09606}"/>
                </a:ext>
              </a:extLst>
            </p:cNvPr>
            <p:cNvCxnSpPr>
              <a:cxnSpLocks/>
            </p:cNvCxnSpPr>
            <p:nvPr/>
          </p:nvCxnSpPr>
          <p:spPr>
            <a:xfrm>
              <a:off x="6981868" y="5707494"/>
              <a:ext cx="0" cy="131945"/>
            </a:xfrm>
            <a:prstGeom prst="straightConnector1">
              <a:avLst/>
            </a:prstGeom>
            <a:ln w="3175">
              <a:solidFill>
                <a:schemeClr val="bg1">
                  <a:lumMod val="75000"/>
                </a:schemeClr>
              </a:solidFill>
              <a:headEnd type="none" w="sm" len="sm"/>
              <a:tailEnd type="arrow" w="med" len="sm"/>
            </a:ln>
          </p:spPr>
          <p:style>
            <a:lnRef idx="1">
              <a:schemeClr val="accent1"/>
            </a:lnRef>
            <a:fillRef idx="0">
              <a:schemeClr val="accent1"/>
            </a:fillRef>
            <a:effectRef idx="0">
              <a:schemeClr val="accent1"/>
            </a:effectRef>
            <a:fontRef idx="minor">
              <a:schemeClr val="tx1"/>
            </a:fontRef>
          </p:style>
        </p:cxnSp>
        <p:sp>
          <p:nvSpPr>
            <p:cNvPr id="97" name="Lock" title="Icon of a padlock">
              <a:extLst>
                <a:ext uri="{FF2B5EF4-FFF2-40B4-BE49-F238E27FC236}">
                  <a16:creationId xmlns:a16="http://schemas.microsoft.com/office/drawing/2014/main" id="{DC27BA93-731D-472B-948E-E04DA7E87175}"/>
                </a:ext>
              </a:extLst>
            </p:cNvPr>
            <p:cNvSpPr>
              <a:spLocks noChangeAspect="1" noEditPoints="1"/>
            </p:cNvSpPr>
            <p:nvPr/>
          </p:nvSpPr>
          <p:spPr bwMode="auto">
            <a:xfrm>
              <a:off x="3533462" y="33709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Freeform 60">
              <a:extLst>
                <a:ext uri="{FF2B5EF4-FFF2-40B4-BE49-F238E27FC236}">
                  <a16:creationId xmlns:a16="http://schemas.microsoft.com/office/drawing/2014/main" id="{A70F56B7-B41A-4EAD-B83D-95189E7FCCED}"/>
                </a:ext>
              </a:extLst>
            </p:cNvPr>
            <p:cNvSpPr>
              <a:spLocks noChangeArrowheads="1"/>
            </p:cNvSpPr>
            <p:nvPr/>
          </p:nvSpPr>
          <p:spPr bwMode="auto">
            <a:xfrm>
              <a:off x="3791743" y="3778180"/>
              <a:ext cx="396389" cy="39222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solidFill>
              <a:srgbClr val="F7F7F7"/>
            </a:solidFill>
            <a:ln w="19050" cap="flat">
              <a:solidFill>
                <a:schemeClr val="tx1"/>
              </a:solidFill>
              <a:bevel/>
              <a:headEnd/>
              <a:tailEnd/>
            </a:ln>
            <a:effectLs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03" name="browser_3" title="Icon of a browser window with an arrow pointing from the outside to the center">
              <a:extLst>
                <a:ext uri="{FF2B5EF4-FFF2-40B4-BE49-F238E27FC236}">
                  <a16:creationId xmlns:a16="http://schemas.microsoft.com/office/drawing/2014/main" id="{3A5DBDB3-1045-422A-8CC7-28A48187BDE0}"/>
                </a:ext>
              </a:extLst>
            </p:cNvPr>
            <p:cNvSpPr>
              <a:spLocks noChangeAspect="1" noEditPoints="1"/>
            </p:cNvSpPr>
            <p:nvPr/>
          </p:nvSpPr>
          <p:spPr bwMode="auto">
            <a:xfrm>
              <a:off x="9629755" y="3516923"/>
              <a:ext cx="588510" cy="55977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4" name="MiniExpand_E93A" title="Icon of a rectangle on the lower-left inside a larger rectangle with an arrow pointed to the upper-right corner">
              <a:extLst>
                <a:ext uri="{FF2B5EF4-FFF2-40B4-BE49-F238E27FC236}">
                  <a16:creationId xmlns:a16="http://schemas.microsoft.com/office/drawing/2014/main" id="{07422B01-7AF1-47E6-84A1-40CE3B043D68}"/>
                </a:ext>
              </a:extLst>
            </p:cNvPr>
            <p:cNvSpPr>
              <a:spLocks noChangeAspect="1" noEditPoints="1"/>
            </p:cNvSpPr>
            <p:nvPr/>
          </p:nvSpPr>
          <p:spPr bwMode="auto">
            <a:xfrm>
              <a:off x="6247808" y="3557116"/>
              <a:ext cx="590080" cy="499488"/>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05" name="Group 104">
              <a:extLst>
                <a:ext uri="{FF2B5EF4-FFF2-40B4-BE49-F238E27FC236}">
                  <a16:creationId xmlns:a16="http://schemas.microsoft.com/office/drawing/2014/main" id="{89DE8BB0-A78D-4398-AC0D-5DB4AABC5259}"/>
                </a:ext>
              </a:extLst>
            </p:cNvPr>
            <p:cNvGrpSpPr>
              <a:grpSpLocks noChangeAspect="1"/>
            </p:cNvGrpSpPr>
            <p:nvPr/>
          </p:nvGrpSpPr>
          <p:grpSpPr>
            <a:xfrm>
              <a:off x="397744" y="3494175"/>
              <a:ext cx="928963" cy="512093"/>
              <a:chOff x="9569872" y="2014913"/>
              <a:chExt cx="868086" cy="478535"/>
            </a:xfrm>
          </p:grpSpPr>
          <p:sp>
            <p:nvSpPr>
              <p:cNvPr id="106" name="Shape 4978">
                <a:extLst>
                  <a:ext uri="{FF2B5EF4-FFF2-40B4-BE49-F238E27FC236}">
                    <a16:creationId xmlns:a16="http://schemas.microsoft.com/office/drawing/2014/main" id="{3A9BDC4D-F0DC-44CB-97E7-801EE43F7253}"/>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107" name="Shape 4978">
                <a:extLst>
                  <a:ext uri="{FF2B5EF4-FFF2-40B4-BE49-F238E27FC236}">
                    <a16:creationId xmlns:a16="http://schemas.microsoft.com/office/drawing/2014/main" id="{B2733FC5-588B-4F2B-AF37-476304BC439B}"/>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108" name="Freeform: Shape 27">
                <a:extLst>
                  <a:ext uri="{FF2B5EF4-FFF2-40B4-BE49-F238E27FC236}">
                    <a16:creationId xmlns:a16="http://schemas.microsoft.com/office/drawing/2014/main" id="{4B8A37BE-1BF8-4449-9691-077C9DB4C1AE}"/>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41" name="Group 40">
            <a:extLst>
              <a:ext uri="{FF2B5EF4-FFF2-40B4-BE49-F238E27FC236}">
                <a16:creationId xmlns:a16="http://schemas.microsoft.com/office/drawing/2014/main" id="{40ADE669-8269-4957-A61A-563B2864B491}"/>
              </a:ext>
            </a:extLst>
          </p:cNvPr>
          <p:cNvGrpSpPr/>
          <p:nvPr/>
        </p:nvGrpSpPr>
        <p:grpSpPr>
          <a:xfrm>
            <a:off x="10229695" y="257018"/>
            <a:ext cx="977866" cy="964744"/>
            <a:chOff x="8448920" y="1036044"/>
            <a:chExt cx="435850" cy="430005"/>
          </a:xfrm>
        </p:grpSpPr>
        <p:sp>
          <p:nvSpPr>
            <p:cNvPr id="44" name="Freeform: Shape 43">
              <a:extLst>
                <a:ext uri="{FF2B5EF4-FFF2-40B4-BE49-F238E27FC236}">
                  <a16:creationId xmlns:a16="http://schemas.microsoft.com/office/drawing/2014/main" id="{1DC3F947-8588-44F7-82A2-98D23CB2A935}"/>
                </a:ext>
              </a:extLst>
            </p:cNvPr>
            <p:cNvSpPr/>
            <p:nvPr/>
          </p:nvSpPr>
          <p:spPr>
            <a:xfrm>
              <a:off x="8552455" y="1167132"/>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6806A9B6-49B2-4F81-8DC5-656A11FD0CE5}"/>
                </a:ext>
              </a:extLst>
            </p:cNvPr>
            <p:cNvSpPr/>
            <p:nvPr/>
          </p:nvSpPr>
          <p:spPr>
            <a:xfrm>
              <a:off x="8519891"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4752A4C8-7A2C-47C3-B155-4829CDC61D09}"/>
                </a:ext>
              </a:extLst>
            </p:cNvPr>
            <p:cNvSpPr/>
            <p:nvPr/>
          </p:nvSpPr>
          <p:spPr>
            <a:xfrm>
              <a:off x="8578339"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EB3C193F-F507-4F2D-8B57-3B13C1654C09}"/>
                </a:ext>
              </a:extLst>
            </p:cNvPr>
            <p:cNvSpPr/>
            <p:nvPr/>
          </p:nvSpPr>
          <p:spPr>
            <a:xfrm>
              <a:off x="8635952"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EB782C4-69BB-4932-B68B-53DAD646CD75}"/>
                </a:ext>
              </a:extLst>
            </p:cNvPr>
            <p:cNvSpPr/>
            <p:nvPr/>
          </p:nvSpPr>
          <p:spPr>
            <a:xfrm>
              <a:off x="8519891" y="1223075"/>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200205F0-5854-42C9-8E08-049743DD78F4}"/>
                </a:ext>
              </a:extLst>
            </p:cNvPr>
            <p:cNvSpPr/>
            <p:nvPr/>
          </p:nvSpPr>
          <p:spPr>
            <a:xfrm>
              <a:off x="8578339" y="1223075"/>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7E8DBF02-F971-434E-BB0C-952F0BF0DC68}"/>
                </a:ext>
              </a:extLst>
            </p:cNvPr>
            <p:cNvSpPr/>
            <p:nvPr/>
          </p:nvSpPr>
          <p:spPr>
            <a:xfrm>
              <a:off x="8448920" y="1036044"/>
              <a:ext cx="333984" cy="292236"/>
            </a:xfrm>
            <a:custGeom>
              <a:avLst/>
              <a:gdLst>
                <a:gd name="connsiteX0" fmla="*/ 93371 w 185351"/>
                <a:gd name="connsiteY0" fmla="*/ 3475 h 162182"/>
                <a:gd name="connsiteX1" fmla="*/ 3475 w 185351"/>
                <a:gd name="connsiteY1" fmla="*/ 51203 h 162182"/>
                <a:gd name="connsiteX2" fmla="*/ 3475 w 185351"/>
                <a:gd name="connsiteY2" fmla="*/ 65105 h 162182"/>
                <a:gd name="connsiteX3" fmla="*/ 21547 w 185351"/>
                <a:gd name="connsiteY3" fmla="*/ 65105 h 162182"/>
                <a:gd name="connsiteX4" fmla="*/ 21547 w 185351"/>
                <a:gd name="connsiteY4" fmla="*/ 161951 h 162182"/>
                <a:gd name="connsiteX5" fmla="*/ 36839 w 185351"/>
                <a:gd name="connsiteY5" fmla="*/ 161951 h 162182"/>
                <a:gd name="connsiteX6" fmla="*/ 36839 w 185351"/>
                <a:gd name="connsiteY6" fmla="*/ 65105 h 162182"/>
                <a:gd name="connsiteX7" fmla="*/ 148513 w 185351"/>
                <a:gd name="connsiteY7" fmla="*/ 65105 h 162182"/>
                <a:gd name="connsiteX8" fmla="*/ 148513 w 185351"/>
                <a:gd name="connsiteY8" fmla="*/ 155464 h 162182"/>
                <a:gd name="connsiteX9" fmla="*/ 165658 w 185351"/>
                <a:gd name="connsiteY9" fmla="*/ 155464 h 162182"/>
                <a:gd name="connsiteX10" fmla="*/ 165658 w 185351"/>
                <a:gd name="connsiteY10" fmla="*/ 65105 h 162182"/>
                <a:gd name="connsiteX11" fmla="*/ 182340 w 185351"/>
                <a:gd name="connsiteY11" fmla="*/ 65105 h 162182"/>
                <a:gd name="connsiteX12" fmla="*/ 182340 w 185351"/>
                <a:gd name="connsiteY12" fmla="*/ 51203 h 1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351" h="162182">
                  <a:moveTo>
                    <a:pt x="93371" y="3475"/>
                  </a:moveTo>
                  <a:lnTo>
                    <a:pt x="3475" y="51203"/>
                  </a:lnTo>
                  <a:lnTo>
                    <a:pt x="3475" y="65105"/>
                  </a:lnTo>
                  <a:lnTo>
                    <a:pt x="21547" y="65105"/>
                  </a:lnTo>
                  <a:lnTo>
                    <a:pt x="21547" y="161951"/>
                  </a:lnTo>
                  <a:lnTo>
                    <a:pt x="36839" y="161951"/>
                  </a:lnTo>
                  <a:lnTo>
                    <a:pt x="36839" y="65105"/>
                  </a:lnTo>
                  <a:lnTo>
                    <a:pt x="148513" y="65105"/>
                  </a:lnTo>
                  <a:lnTo>
                    <a:pt x="148513" y="155464"/>
                  </a:lnTo>
                  <a:lnTo>
                    <a:pt x="165658" y="155464"/>
                  </a:lnTo>
                  <a:lnTo>
                    <a:pt x="165658" y="65105"/>
                  </a:lnTo>
                  <a:lnTo>
                    <a:pt x="182340" y="65105"/>
                  </a:lnTo>
                  <a:lnTo>
                    <a:pt x="182340" y="51203"/>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23F7DC9D-20AD-452A-A8C2-0B227CEB1016}"/>
                </a:ext>
              </a:extLst>
            </p:cNvPr>
            <p:cNvSpPr/>
            <p:nvPr/>
          </p:nvSpPr>
          <p:spPr>
            <a:xfrm>
              <a:off x="8552455" y="1167132"/>
              <a:ext cx="50098" cy="50098"/>
            </a:xfrm>
            <a:custGeom>
              <a:avLst/>
              <a:gdLst>
                <a:gd name="connsiteX0" fmla="*/ 26181 w 27802"/>
                <a:gd name="connsiteY0" fmla="*/ 26181 h 27802"/>
                <a:gd name="connsiteX1" fmla="*/ 23401 w 27802"/>
                <a:gd name="connsiteY1" fmla="*/ 26181 h 27802"/>
                <a:gd name="connsiteX2" fmla="*/ 23401 w 27802"/>
                <a:gd name="connsiteY2" fmla="*/ 6719 h 27802"/>
                <a:gd name="connsiteX3" fmla="*/ 3475 w 27802"/>
                <a:gd name="connsiteY3" fmla="*/ 6719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719"/>
                  </a:lnTo>
                  <a:lnTo>
                    <a:pt x="3475" y="6719"/>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D2D3DF21-6A91-4E67-95B3-D6138204C94A}"/>
                </a:ext>
              </a:extLst>
            </p:cNvPr>
            <p:cNvSpPr/>
            <p:nvPr/>
          </p:nvSpPr>
          <p:spPr>
            <a:xfrm>
              <a:off x="8552455" y="1167132"/>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9EB89D6B-914E-465F-822A-DCC3B15D5ACF}"/>
                </a:ext>
              </a:extLst>
            </p:cNvPr>
            <p:cNvSpPr/>
            <p:nvPr/>
          </p:nvSpPr>
          <p:spPr>
            <a:xfrm>
              <a:off x="8519891" y="1223075"/>
              <a:ext cx="50098" cy="50098"/>
            </a:xfrm>
            <a:custGeom>
              <a:avLst/>
              <a:gdLst>
                <a:gd name="connsiteX0" fmla="*/ 26181 w 27802"/>
                <a:gd name="connsiteY0" fmla="*/ 26181 h 27802"/>
                <a:gd name="connsiteX1" fmla="*/ 23401 w 27802"/>
                <a:gd name="connsiteY1" fmla="*/ 26181 h 27802"/>
                <a:gd name="connsiteX2" fmla="*/ 23401 w 27802"/>
                <a:gd name="connsiteY2" fmla="*/ 6255 h 27802"/>
                <a:gd name="connsiteX3" fmla="*/ 3475 w 27802"/>
                <a:gd name="connsiteY3" fmla="*/ 6255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5"/>
                  </a:lnTo>
                  <a:lnTo>
                    <a:pt x="3475" y="6255"/>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4994F7A-A8AF-44AD-B7C0-361713ACA673}"/>
                </a:ext>
              </a:extLst>
            </p:cNvPr>
            <p:cNvSpPr/>
            <p:nvPr/>
          </p:nvSpPr>
          <p:spPr>
            <a:xfrm>
              <a:off x="8519891" y="1223075"/>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A722CC2-9A3A-403B-A21B-65BD8ED17663}"/>
                </a:ext>
              </a:extLst>
            </p:cNvPr>
            <p:cNvSpPr/>
            <p:nvPr/>
          </p:nvSpPr>
          <p:spPr>
            <a:xfrm>
              <a:off x="8578339" y="1223075"/>
              <a:ext cx="50098" cy="50098"/>
            </a:xfrm>
            <a:custGeom>
              <a:avLst/>
              <a:gdLst>
                <a:gd name="connsiteX0" fmla="*/ 26181 w 27802"/>
                <a:gd name="connsiteY0" fmla="*/ 26181 h 27802"/>
                <a:gd name="connsiteX1" fmla="*/ 23401 w 27802"/>
                <a:gd name="connsiteY1" fmla="*/ 26181 h 27802"/>
                <a:gd name="connsiteX2" fmla="*/ 23401 w 27802"/>
                <a:gd name="connsiteY2" fmla="*/ 6255 h 27802"/>
                <a:gd name="connsiteX3" fmla="*/ 3475 w 27802"/>
                <a:gd name="connsiteY3" fmla="*/ 6255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5"/>
                  </a:lnTo>
                  <a:lnTo>
                    <a:pt x="3475" y="6255"/>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98509A-D60C-4363-86AF-5AAD090B0B90}"/>
                </a:ext>
              </a:extLst>
            </p:cNvPr>
            <p:cNvSpPr/>
            <p:nvPr/>
          </p:nvSpPr>
          <p:spPr>
            <a:xfrm>
              <a:off x="8578339" y="1223075"/>
              <a:ext cx="50098" cy="50098"/>
            </a:xfrm>
            <a:custGeom>
              <a:avLst/>
              <a:gdLst>
                <a:gd name="connsiteX0" fmla="*/ 3475 w 27802"/>
                <a:gd name="connsiteY0" fmla="*/ 3475 h 27802"/>
                <a:gd name="connsiteX1" fmla="*/ 6256 w 27802"/>
                <a:gd name="connsiteY1" fmla="*/ 3475 h 27802"/>
                <a:gd name="connsiteX2" fmla="*/ 6256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6" y="3475"/>
                  </a:lnTo>
                  <a:lnTo>
                    <a:pt x="6256"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D1C1023-DBF8-4791-B350-339B8243281B}"/>
                </a:ext>
              </a:extLst>
            </p:cNvPr>
            <p:cNvSpPr/>
            <p:nvPr/>
          </p:nvSpPr>
          <p:spPr>
            <a:xfrm>
              <a:off x="8519891" y="1279017"/>
              <a:ext cx="50098" cy="50098"/>
            </a:xfrm>
            <a:custGeom>
              <a:avLst/>
              <a:gdLst>
                <a:gd name="connsiteX0" fmla="*/ 26181 w 27802"/>
                <a:gd name="connsiteY0" fmla="*/ 26181 h 27802"/>
                <a:gd name="connsiteX1" fmla="*/ 23401 w 27802"/>
                <a:gd name="connsiteY1" fmla="*/ 26181 h 27802"/>
                <a:gd name="connsiteX2" fmla="*/ 23401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6D312BE-8C7E-48B4-85DA-4F97242C10EB}"/>
                </a:ext>
              </a:extLst>
            </p:cNvPr>
            <p:cNvSpPr/>
            <p:nvPr/>
          </p:nvSpPr>
          <p:spPr>
            <a:xfrm>
              <a:off x="8519891" y="1279017"/>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41DF472B-D37A-4942-A28B-3F50AAA8FC17}"/>
                </a:ext>
              </a:extLst>
            </p:cNvPr>
            <p:cNvSpPr/>
            <p:nvPr/>
          </p:nvSpPr>
          <p:spPr>
            <a:xfrm>
              <a:off x="8578339" y="1279017"/>
              <a:ext cx="50098" cy="50098"/>
            </a:xfrm>
            <a:custGeom>
              <a:avLst/>
              <a:gdLst>
                <a:gd name="connsiteX0" fmla="*/ 26181 w 27802"/>
                <a:gd name="connsiteY0" fmla="*/ 26181 h 27802"/>
                <a:gd name="connsiteX1" fmla="*/ 23401 w 27802"/>
                <a:gd name="connsiteY1" fmla="*/ 26181 h 27802"/>
                <a:gd name="connsiteX2" fmla="*/ 23401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7A5A9D9C-52DF-4ECE-A5CA-356747721323}"/>
                </a:ext>
              </a:extLst>
            </p:cNvPr>
            <p:cNvSpPr/>
            <p:nvPr/>
          </p:nvSpPr>
          <p:spPr>
            <a:xfrm>
              <a:off x="8578339" y="1279017"/>
              <a:ext cx="50098" cy="50098"/>
            </a:xfrm>
            <a:custGeom>
              <a:avLst/>
              <a:gdLst>
                <a:gd name="connsiteX0" fmla="*/ 3475 w 27802"/>
                <a:gd name="connsiteY0" fmla="*/ 3475 h 27802"/>
                <a:gd name="connsiteX1" fmla="*/ 6256 w 27802"/>
                <a:gd name="connsiteY1" fmla="*/ 3475 h 27802"/>
                <a:gd name="connsiteX2" fmla="*/ 6256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6" y="3475"/>
                  </a:lnTo>
                  <a:lnTo>
                    <a:pt x="6256"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E1A1FC1-DE45-452F-ABA4-884A12F0DC9A}"/>
                </a:ext>
              </a:extLst>
            </p:cNvPr>
            <p:cNvSpPr/>
            <p:nvPr/>
          </p:nvSpPr>
          <p:spPr>
            <a:xfrm>
              <a:off x="8635952" y="1279017"/>
              <a:ext cx="50098" cy="50098"/>
            </a:xfrm>
            <a:custGeom>
              <a:avLst/>
              <a:gdLst>
                <a:gd name="connsiteX0" fmla="*/ 26181 w 27802"/>
                <a:gd name="connsiteY0" fmla="*/ 26181 h 27802"/>
                <a:gd name="connsiteX1" fmla="*/ 23864 w 27802"/>
                <a:gd name="connsiteY1" fmla="*/ 26181 h 27802"/>
                <a:gd name="connsiteX2" fmla="*/ 23864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864" y="26181"/>
                  </a:lnTo>
                  <a:lnTo>
                    <a:pt x="23864"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70C4D802-B323-4AE5-9373-1DC4203C1BED}"/>
                </a:ext>
              </a:extLst>
            </p:cNvPr>
            <p:cNvSpPr/>
            <p:nvPr/>
          </p:nvSpPr>
          <p:spPr>
            <a:xfrm>
              <a:off x="8635952" y="1279017"/>
              <a:ext cx="50098" cy="50098"/>
            </a:xfrm>
            <a:custGeom>
              <a:avLst/>
              <a:gdLst>
                <a:gd name="connsiteX0" fmla="*/ 3475 w 27802"/>
                <a:gd name="connsiteY0" fmla="*/ 3475 h 27802"/>
                <a:gd name="connsiteX1" fmla="*/ 6255 w 27802"/>
                <a:gd name="connsiteY1" fmla="*/ 3475 h 27802"/>
                <a:gd name="connsiteX2" fmla="*/ 6255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5" y="3475"/>
                  </a:lnTo>
                  <a:lnTo>
                    <a:pt x="6255"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ABFA3B1F-5EA9-44CC-9A97-8D962B0F50C7}"/>
                </a:ext>
              </a:extLst>
            </p:cNvPr>
            <p:cNvSpPr/>
            <p:nvPr/>
          </p:nvSpPr>
          <p:spPr>
            <a:xfrm>
              <a:off x="8552455" y="1167132"/>
              <a:ext cx="50098" cy="50098"/>
            </a:xfrm>
            <a:custGeom>
              <a:avLst/>
              <a:gdLst>
                <a:gd name="connsiteX0" fmla="*/ 6719 w 27802"/>
                <a:gd name="connsiteY0" fmla="*/ 26181 h 27802"/>
                <a:gd name="connsiteX1" fmla="*/ 3475 w 27802"/>
                <a:gd name="connsiteY1" fmla="*/ 26181 h 27802"/>
                <a:gd name="connsiteX2" fmla="*/ 3475 w 27802"/>
                <a:gd name="connsiteY2" fmla="*/ 23864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864"/>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67CE7372-7DC2-4B71-B4F7-41AAF23E157C}"/>
                </a:ext>
              </a:extLst>
            </p:cNvPr>
            <p:cNvSpPr/>
            <p:nvPr/>
          </p:nvSpPr>
          <p:spPr>
            <a:xfrm>
              <a:off x="8578339" y="1223075"/>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69C7DF5A-62A9-4805-95CA-F16C9BFDCA24}"/>
                </a:ext>
              </a:extLst>
            </p:cNvPr>
            <p:cNvSpPr/>
            <p:nvPr/>
          </p:nvSpPr>
          <p:spPr>
            <a:xfrm>
              <a:off x="8519891" y="1223075"/>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3E9B416D-A03F-4468-BEC4-1BD299CB73AE}"/>
                </a:ext>
              </a:extLst>
            </p:cNvPr>
            <p:cNvSpPr/>
            <p:nvPr/>
          </p:nvSpPr>
          <p:spPr>
            <a:xfrm>
              <a:off x="8519891"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821C7C25-D8CD-4E54-BEA4-783A7FB9E38F}"/>
                </a:ext>
              </a:extLst>
            </p:cNvPr>
            <p:cNvSpPr/>
            <p:nvPr/>
          </p:nvSpPr>
          <p:spPr>
            <a:xfrm>
              <a:off x="8578339"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04ABEB11-876A-418D-8202-6FF960E38064}"/>
                </a:ext>
              </a:extLst>
            </p:cNvPr>
            <p:cNvSpPr/>
            <p:nvPr/>
          </p:nvSpPr>
          <p:spPr>
            <a:xfrm>
              <a:off x="8635952"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BF94F5BF-5576-4069-A031-6E08757973DE}"/>
                </a:ext>
              </a:extLst>
            </p:cNvPr>
            <p:cNvSpPr/>
            <p:nvPr/>
          </p:nvSpPr>
          <p:spPr>
            <a:xfrm>
              <a:off x="8691893" y="1240610"/>
              <a:ext cx="100195" cy="225439"/>
            </a:xfrm>
            <a:custGeom>
              <a:avLst/>
              <a:gdLst>
                <a:gd name="connsiteX0" fmla="*/ 3475 w 55605"/>
                <a:gd name="connsiteY0" fmla="*/ 3939 h 125112"/>
                <a:gd name="connsiteX1" fmla="*/ 3475 w 55605"/>
                <a:gd name="connsiteY1" fmla="*/ 103102 h 125112"/>
                <a:gd name="connsiteX2" fmla="*/ 54910 w 55605"/>
                <a:gd name="connsiteY2" fmla="*/ 121637 h 125112"/>
                <a:gd name="connsiteX3" fmla="*/ 54910 w 55605"/>
                <a:gd name="connsiteY3" fmla="*/ 3475 h 125112"/>
                <a:gd name="connsiteX4" fmla="*/ 3475 w 55605"/>
                <a:gd name="connsiteY4" fmla="*/ 3475 h 125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5" h="125112">
                  <a:moveTo>
                    <a:pt x="3475" y="3939"/>
                  </a:moveTo>
                  <a:lnTo>
                    <a:pt x="3475" y="103102"/>
                  </a:lnTo>
                  <a:cubicBezTo>
                    <a:pt x="3475" y="113296"/>
                    <a:pt x="26644" y="121637"/>
                    <a:pt x="54910" y="121637"/>
                  </a:cubicBezTo>
                  <a:lnTo>
                    <a:pt x="54910" y="3475"/>
                  </a:lnTo>
                  <a:lnTo>
                    <a:pt x="3475" y="3475"/>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8A8F21A-000E-4CAD-9F60-7AA7CF16AE49}"/>
                </a:ext>
              </a:extLst>
            </p:cNvPr>
            <p:cNvSpPr/>
            <p:nvPr/>
          </p:nvSpPr>
          <p:spPr>
            <a:xfrm>
              <a:off x="8783740" y="1241444"/>
              <a:ext cx="100195" cy="217089"/>
            </a:xfrm>
            <a:custGeom>
              <a:avLst/>
              <a:gdLst>
                <a:gd name="connsiteX0" fmla="*/ 3475 w 55605"/>
                <a:gd name="connsiteY0" fmla="*/ 121173 h 120478"/>
                <a:gd name="connsiteX1" fmla="*/ 4402 w 55605"/>
                <a:gd name="connsiteY1" fmla="*/ 121173 h 120478"/>
                <a:gd name="connsiteX2" fmla="*/ 55837 w 55605"/>
                <a:gd name="connsiteY2" fmla="*/ 102638 h 120478"/>
                <a:gd name="connsiteX3" fmla="*/ 55837 w 55605"/>
                <a:gd name="connsiteY3" fmla="*/ 3475 h 120478"/>
                <a:gd name="connsiteX4" fmla="*/ 3475 w 55605"/>
                <a:gd name="connsiteY4" fmla="*/ 3475 h 120478"/>
                <a:gd name="connsiteX5" fmla="*/ 3475 w 55605"/>
                <a:gd name="connsiteY5" fmla="*/ 121173 h 1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05" h="120478">
                  <a:moveTo>
                    <a:pt x="3475" y="121173"/>
                  </a:moveTo>
                  <a:lnTo>
                    <a:pt x="4402" y="121173"/>
                  </a:lnTo>
                  <a:cubicBezTo>
                    <a:pt x="32668" y="121173"/>
                    <a:pt x="55837" y="112833"/>
                    <a:pt x="55837" y="102638"/>
                  </a:cubicBezTo>
                  <a:lnTo>
                    <a:pt x="55837" y="3475"/>
                  </a:lnTo>
                  <a:lnTo>
                    <a:pt x="3475" y="3475"/>
                  </a:lnTo>
                  <a:lnTo>
                    <a:pt x="3475" y="121173"/>
                  </a:lnTo>
                  <a:close/>
                </a:path>
              </a:pathLst>
            </a:custGeom>
            <a:solidFill>
              <a:srgbClr val="5AB4D9"/>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F77088D-02C6-4F6C-9FA0-8F77880B071A}"/>
                </a:ext>
              </a:extLst>
            </p:cNvPr>
            <p:cNvSpPr/>
            <p:nvPr/>
          </p:nvSpPr>
          <p:spPr>
            <a:xfrm>
              <a:off x="8692729" y="1208013"/>
              <a:ext cx="192041" cy="75146"/>
            </a:xfrm>
            <a:custGeom>
              <a:avLst/>
              <a:gdLst>
                <a:gd name="connsiteX0" fmla="*/ 106345 w 106577"/>
                <a:gd name="connsiteY0" fmla="*/ 22029 h 41704"/>
                <a:gd name="connsiteX1" fmla="*/ 54911 w 106577"/>
                <a:gd name="connsiteY1" fmla="*/ 40564 h 41704"/>
                <a:gd name="connsiteX2" fmla="*/ 3475 w 106577"/>
                <a:gd name="connsiteY2" fmla="*/ 22029 h 41704"/>
                <a:gd name="connsiteX3" fmla="*/ 54911 w 106577"/>
                <a:gd name="connsiteY3" fmla="*/ 3494 h 41704"/>
                <a:gd name="connsiteX4" fmla="*/ 106345 w 106577"/>
                <a:gd name="connsiteY4" fmla="*/ 22029 h 4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77" h="41704">
                  <a:moveTo>
                    <a:pt x="106345" y="22029"/>
                  </a:moveTo>
                  <a:cubicBezTo>
                    <a:pt x="106345" y="32223"/>
                    <a:pt x="83176" y="40564"/>
                    <a:pt x="54911" y="40564"/>
                  </a:cubicBezTo>
                  <a:cubicBezTo>
                    <a:pt x="26644" y="40564"/>
                    <a:pt x="3475" y="32223"/>
                    <a:pt x="3475" y="22029"/>
                  </a:cubicBezTo>
                  <a:cubicBezTo>
                    <a:pt x="3475" y="11835"/>
                    <a:pt x="26644" y="3494"/>
                    <a:pt x="54911" y="3494"/>
                  </a:cubicBezTo>
                  <a:cubicBezTo>
                    <a:pt x="83176" y="3030"/>
                    <a:pt x="106345" y="11371"/>
                    <a:pt x="106345" y="22029"/>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D72711A3-693D-4861-9AF8-2CC4D1421D0A}"/>
                </a:ext>
              </a:extLst>
            </p:cNvPr>
            <p:cNvSpPr/>
            <p:nvPr/>
          </p:nvSpPr>
          <p:spPr>
            <a:xfrm>
              <a:off x="8710264" y="1216396"/>
              <a:ext cx="158643" cy="50098"/>
            </a:xfrm>
            <a:custGeom>
              <a:avLst/>
              <a:gdLst>
                <a:gd name="connsiteX0" fmla="*/ 85957 w 88041"/>
                <a:gd name="connsiteY0" fmla="*/ 15987 h 27802"/>
                <a:gd name="connsiteX1" fmla="*/ 44716 w 88041"/>
                <a:gd name="connsiteY1" fmla="*/ 28498 h 27802"/>
                <a:gd name="connsiteX2" fmla="*/ 3475 w 88041"/>
                <a:gd name="connsiteY2" fmla="*/ 15987 h 27802"/>
                <a:gd name="connsiteX3" fmla="*/ 44716 w 88041"/>
                <a:gd name="connsiteY3" fmla="*/ 3475 h 27802"/>
                <a:gd name="connsiteX4" fmla="*/ 85957 w 88041"/>
                <a:gd name="connsiteY4" fmla="*/ 15987 h 2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41" h="27802">
                  <a:moveTo>
                    <a:pt x="85957" y="15987"/>
                  </a:moveTo>
                  <a:cubicBezTo>
                    <a:pt x="85957" y="22474"/>
                    <a:pt x="67422" y="28498"/>
                    <a:pt x="44716" y="28498"/>
                  </a:cubicBezTo>
                  <a:cubicBezTo>
                    <a:pt x="22010" y="28498"/>
                    <a:pt x="3475" y="22937"/>
                    <a:pt x="3475" y="15987"/>
                  </a:cubicBezTo>
                  <a:cubicBezTo>
                    <a:pt x="3475" y="9499"/>
                    <a:pt x="22010" y="3475"/>
                    <a:pt x="44716" y="3475"/>
                  </a:cubicBezTo>
                  <a:cubicBezTo>
                    <a:pt x="67422" y="3475"/>
                    <a:pt x="85957" y="9499"/>
                    <a:pt x="85957" y="15987"/>
                  </a:cubicBezTo>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2AF08873-665C-44AD-8B44-F5FCEE9328C9}"/>
                </a:ext>
              </a:extLst>
            </p:cNvPr>
            <p:cNvSpPr/>
            <p:nvPr/>
          </p:nvSpPr>
          <p:spPr>
            <a:xfrm>
              <a:off x="8710264" y="1217230"/>
              <a:ext cx="158643" cy="41748"/>
            </a:xfrm>
            <a:custGeom>
              <a:avLst/>
              <a:gdLst>
                <a:gd name="connsiteX0" fmla="*/ 77616 w 88041"/>
                <a:gd name="connsiteY0" fmla="*/ 23401 h 23168"/>
                <a:gd name="connsiteX1" fmla="*/ 85957 w 88041"/>
                <a:gd name="connsiteY1" fmla="*/ 15987 h 23168"/>
                <a:gd name="connsiteX2" fmla="*/ 44716 w 88041"/>
                <a:gd name="connsiteY2" fmla="*/ 3475 h 23168"/>
                <a:gd name="connsiteX3" fmla="*/ 3475 w 88041"/>
                <a:gd name="connsiteY3" fmla="*/ 15987 h 23168"/>
                <a:gd name="connsiteX4" fmla="*/ 11816 w 88041"/>
                <a:gd name="connsiteY4" fmla="*/ 23401 h 23168"/>
                <a:gd name="connsiteX5" fmla="*/ 44253 w 88041"/>
                <a:gd name="connsiteY5" fmla="*/ 18767 h 23168"/>
                <a:gd name="connsiteX6" fmla="*/ 77616 w 88041"/>
                <a:gd name="connsiteY6" fmla="*/ 23401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41" h="23168">
                  <a:moveTo>
                    <a:pt x="77616" y="23401"/>
                  </a:moveTo>
                  <a:cubicBezTo>
                    <a:pt x="83176" y="21084"/>
                    <a:pt x="85957" y="18767"/>
                    <a:pt x="85957" y="15987"/>
                  </a:cubicBezTo>
                  <a:cubicBezTo>
                    <a:pt x="85957" y="9499"/>
                    <a:pt x="67422" y="3475"/>
                    <a:pt x="44716" y="3475"/>
                  </a:cubicBezTo>
                  <a:cubicBezTo>
                    <a:pt x="22010" y="3475"/>
                    <a:pt x="3475" y="9036"/>
                    <a:pt x="3475" y="15987"/>
                  </a:cubicBezTo>
                  <a:cubicBezTo>
                    <a:pt x="3475" y="18767"/>
                    <a:pt x="6719" y="21547"/>
                    <a:pt x="11816" y="23401"/>
                  </a:cubicBezTo>
                  <a:cubicBezTo>
                    <a:pt x="19230" y="20620"/>
                    <a:pt x="31278" y="18767"/>
                    <a:pt x="44253" y="18767"/>
                  </a:cubicBezTo>
                  <a:cubicBezTo>
                    <a:pt x="58154" y="18304"/>
                    <a:pt x="69738" y="20157"/>
                    <a:pt x="77616" y="23401"/>
                  </a:cubicBezTo>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E527ED1-8AA7-4745-8FAF-D4BF61EFB5BD}"/>
                </a:ext>
              </a:extLst>
            </p:cNvPr>
            <p:cNvSpPr/>
            <p:nvPr/>
          </p:nvSpPr>
          <p:spPr>
            <a:xfrm>
              <a:off x="8715273" y="1312415"/>
              <a:ext cx="50098" cy="66796"/>
            </a:xfrm>
            <a:custGeom>
              <a:avLst/>
              <a:gdLst>
                <a:gd name="connsiteX0" fmla="*/ 3475 w 27802"/>
                <a:gd name="connsiteY0" fmla="*/ 34985 h 37070"/>
                <a:gd name="connsiteX1" fmla="*/ 3475 w 27802"/>
                <a:gd name="connsiteY1" fmla="*/ 28034 h 37070"/>
                <a:gd name="connsiteX2" fmla="*/ 7646 w 27802"/>
                <a:gd name="connsiteY2" fmla="*/ 30351 h 37070"/>
                <a:gd name="connsiteX3" fmla="*/ 12280 w 27802"/>
                <a:gd name="connsiteY3" fmla="*/ 31278 h 37070"/>
                <a:gd name="connsiteX4" fmla="*/ 14597 w 27802"/>
                <a:gd name="connsiteY4" fmla="*/ 30815 h 37070"/>
                <a:gd name="connsiteX5" fmla="*/ 16450 w 27802"/>
                <a:gd name="connsiteY5" fmla="*/ 30351 h 37070"/>
                <a:gd name="connsiteX6" fmla="*/ 17377 w 27802"/>
                <a:gd name="connsiteY6" fmla="*/ 29425 h 37070"/>
                <a:gd name="connsiteX7" fmla="*/ 17840 w 27802"/>
                <a:gd name="connsiteY7" fmla="*/ 28034 h 37070"/>
                <a:gd name="connsiteX8" fmla="*/ 17377 w 27802"/>
                <a:gd name="connsiteY8" fmla="*/ 26181 h 37070"/>
                <a:gd name="connsiteX9" fmla="*/ 15987 w 27802"/>
                <a:gd name="connsiteY9" fmla="*/ 24791 h 37070"/>
                <a:gd name="connsiteX10" fmla="*/ 13670 w 27802"/>
                <a:gd name="connsiteY10" fmla="*/ 23401 h 37070"/>
                <a:gd name="connsiteX11" fmla="*/ 10889 w 27802"/>
                <a:gd name="connsiteY11" fmla="*/ 22010 h 37070"/>
                <a:gd name="connsiteX12" fmla="*/ 5329 w 27802"/>
                <a:gd name="connsiteY12" fmla="*/ 18304 h 37070"/>
                <a:gd name="connsiteX13" fmla="*/ 3475 w 27802"/>
                <a:gd name="connsiteY13" fmla="*/ 12743 h 37070"/>
                <a:gd name="connsiteX14" fmla="*/ 4402 w 27802"/>
                <a:gd name="connsiteY14" fmla="*/ 8573 h 37070"/>
                <a:gd name="connsiteX15" fmla="*/ 7182 w 27802"/>
                <a:gd name="connsiteY15" fmla="*/ 5792 h 37070"/>
                <a:gd name="connsiteX16" fmla="*/ 11353 w 27802"/>
                <a:gd name="connsiteY16" fmla="*/ 3939 h 37070"/>
                <a:gd name="connsiteX17" fmla="*/ 15987 w 27802"/>
                <a:gd name="connsiteY17" fmla="*/ 3475 h 37070"/>
                <a:gd name="connsiteX18" fmla="*/ 20157 w 27802"/>
                <a:gd name="connsiteY18" fmla="*/ 3939 h 37070"/>
                <a:gd name="connsiteX19" fmla="*/ 23864 w 27802"/>
                <a:gd name="connsiteY19" fmla="*/ 4866 h 37070"/>
                <a:gd name="connsiteX20" fmla="*/ 23864 w 27802"/>
                <a:gd name="connsiteY20" fmla="*/ 11353 h 37070"/>
                <a:gd name="connsiteX21" fmla="*/ 22010 w 27802"/>
                <a:gd name="connsiteY21" fmla="*/ 10426 h 37070"/>
                <a:gd name="connsiteX22" fmla="*/ 20157 w 27802"/>
                <a:gd name="connsiteY22" fmla="*/ 9963 h 37070"/>
                <a:gd name="connsiteX23" fmla="*/ 18304 w 27802"/>
                <a:gd name="connsiteY23" fmla="*/ 9499 h 37070"/>
                <a:gd name="connsiteX24" fmla="*/ 16450 w 27802"/>
                <a:gd name="connsiteY24" fmla="*/ 9499 h 37070"/>
                <a:gd name="connsiteX25" fmla="*/ 14133 w 27802"/>
                <a:gd name="connsiteY25" fmla="*/ 9499 h 37070"/>
                <a:gd name="connsiteX26" fmla="*/ 12280 w 27802"/>
                <a:gd name="connsiteY26" fmla="*/ 9963 h 37070"/>
                <a:gd name="connsiteX27" fmla="*/ 11353 w 27802"/>
                <a:gd name="connsiteY27" fmla="*/ 10889 h 37070"/>
                <a:gd name="connsiteX28" fmla="*/ 10889 w 27802"/>
                <a:gd name="connsiteY28" fmla="*/ 12279 h 37070"/>
                <a:gd name="connsiteX29" fmla="*/ 11353 w 27802"/>
                <a:gd name="connsiteY29" fmla="*/ 13670 h 37070"/>
                <a:gd name="connsiteX30" fmla="*/ 12743 w 27802"/>
                <a:gd name="connsiteY30" fmla="*/ 15060 h 37070"/>
                <a:gd name="connsiteX31" fmla="*/ 14597 w 27802"/>
                <a:gd name="connsiteY31" fmla="*/ 15987 h 37070"/>
                <a:gd name="connsiteX32" fmla="*/ 16913 w 27802"/>
                <a:gd name="connsiteY32" fmla="*/ 16913 h 37070"/>
                <a:gd name="connsiteX33" fmla="*/ 20157 w 27802"/>
                <a:gd name="connsiteY33" fmla="*/ 18767 h 37070"/>
                <a:gd name="connsiteX34" fmla="*/ 22937 w 27802"/>
                <a:gd name="connsiteY34" fmla="*/ 20620 h 37070"/>
                <a:gd name="connsiteX35" fmla="*/ 24791 w 27802"/>
                <a:gd name="connsiteY35" fmla="*/ 23401 h 37070"/>
                <a:gd name="connsiteX36" fmla="*/ 25254 w 27802"/>
                <a:gd name="connsiteY36" fmla="*/ 26644 h 37070"/>
                <a:gd name="connsiteX37" fmla="*/ 24327 w 27802"/>
                <a:gd name="connsiteY37" fmla="*/ 31278 h 37070"/>
                <a:gd name="connsiteX38" fmla="*/ 21547 w 27802"/>
                <a:gd name="connsiteY38" fmla="*/ 34058 h 37070"/>
                <a:gd name="connsiteX39" fmla="*/ 17377 w 27802"/>
                <a:gd name="connsiteY39" fmla="*/ 35448 h 37070"/>
                <a:gd name="connsiteX40" fmla="*/ 12743 w 27802"/>
                <a:gd name="connsiteY40" fmla="*/ 35912 h 37070"/>
                <a:gd name="connsiteX41" fmla="*/ 7646 w 27802"/>
                <a:gd name="connsiteY41" fmla="*/ 35448 h 37070"/>
                <a:gd name="connsiteX42" fmla="*/ 3475 w 27802"/>
                <a:gd name="connsiteY42" fmla="*/ 34985 h 3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802" h="37070">
                  <a:moveTo>
                    <a:pt x="3475" y="34985"/>
                  </a:moveTo>
                  <a:lnTo>
                    <a:pt x="3475" y="28034"/>
                  </a:lnTo>
                  <a:cubicBezTo>
                    <a:pt x="4865" y="28961"/>
                    <a:pt x="6255" y="29888"/>
                    <a:pt x="7646" y="30351"/>
                  </a:cubicBezTo>
                  <a:cubicBezTo>
                    <a:pt x="9036" y="30815"/>
                    <a:pt x="10889" y="31278"/>
                    <a:pt x="12280" y="31278"/>
                  </a:cubicBezTo>
                  <a:cubicBezTo>
                    <a:pt x="13206" y="31278"/>
                    <a:pt x="14133" y="31278"/>
                    <a:pt x="14597" y="30815"/>
                  </a:cubicBezTo>
                  <a:cubicBezTo>
                    <a:pt x="15060" y="30815"/>
                    <a:pt x="15987" y="30351"/>
                    <a:pt x="16450" y="30351"/>
                  </a:cubicBezTo>
                  <a:cubicBezTo>
                    <a:pt x="16913" y="29888"/>
                    <a:pt x="17377" y="29888"/>
                    <a:pt x="17377" y="29425"/>
                  </a:cubicBezTo>
                  <a:cubicBezTo>
                    <a:pt x="17377" y="28961"/>
                    <a:pt x="17840" y="28498"/>
                    <a:pt x="17840" y="28034"/>
                  </a:cubicBezTo>
                  <a:cubicBezTo>
                    <a:pt x="17840" y="27571"/>
                    <a:pt x="17840" y="26644"/>
                    <a:pt x="17377" y="26181"/>
                  </a:cubicBezTo>
                  <a:cubicBezTo>
                    <a:pt x="16913" y="25718"/>
                    <a:pt x="16450" y="25254"/>
                    <a:pt x="15987" y="24791"/>
                  </a:cubicBezTo>
                  <a:cubicBezTo>
                    <a:pt x="15523" y="24327"/>
                    <a:pt x="14597" y="23864"/>
                    <a:pt x="13670" y="23401"/>
                  </a:cubicBezTo>
                  <a:cubicBezTo>
                    <a:pt x="12743" y="22937"/>
                    <a:pt x="11816" y="22474"/>
                    <a:pt x="10889" y="22010"/>
                  </a:cubicBezTo>
                  <a:cubicBezTo>
                    <a:pt x="8572" y="21084"/>
                    <a:pt x="6719" y="19694"/>
                    <a:pt x="5329" y="18304"/>
                  </a:cubicBezTo>
                  <a:cubicBezTo>
                    <a:pt x="3939" y="16913"/>
                    <a:pt x="3475" y="15060"/>
                    <a:pt x="3475" y="12743"/>
                  </a:cubicBezTo>
                  <a:cubicBezTo>
                    <a:pt x="3475" y="10889"/>
                    <a:pt x="3939" y="9499"/>
                    <a:pt x="4402" y="8573"/>
                  </a:cubicBezTo>
                  <a:cubicBezTo>
                    <a:pt x="4865" y="7182"/>
                    <a:pt x="5792" y="6256"/>
                    <a:pt x="7182" y="5792"/>
                  </a:cubicBezTo>
                  <a:cubicBezTo>
                    <a:pt x="8109" y="4866"/>
                    <a:pt x="9499" y="4402"/>
                    <a:pt x="11353" y="3939"/>
                  </a:cubicBezTo>
                  <a:cubicBezTo>
                    <a:pt x="12743" y="3475"/>
                    <a:pt x="14597" y="3475"/>
                    <a:pt x="15987" y="3475"/>
                  </a:cubicBezTo>
                  <a:cubicBezTo>
                    <a:pt x="17377" y="3475"/>
                    <a:pt x="19230" y="3475"/>
                    <a:pt x="20157" y="3939"/>
                  </a:cubicBezTo>
                  <a:cubicBezTo>
                    <a:pt x="21547" y="3939"/>
                    <a:pt x="22474" y="4402"/>
                    <a:pt x="23864" y="4866"/>
                  </a:cubicBezTo>
                  <a:lnTo>
                    <a:pt x="23864" y="11353"/>
                  </a:lnTo>
                  <a:cubicBezTo>
                    <a:pt x="23401" y="10889"/>
                    <a:pt x="22937" y="10889"/>
                    <a:pt x="22010" y="10426"/>
                  </a:cubicBezTo>
                  <a:cubicBezTo>
                    <a:pt x="21547" y="9963"/>
                    <a:pt x="20620" y="9963"/>
                    <a:pt x="20157" y="9963"/>
                  </a:cubicBezTo>
                  <a:cubicBezTo>
                    <a:pt x="19694" y="9963"/>
                    <a:pt x="18767" y="9499"/>
                    <a:pt x="18304" y="9499"/>
                  </a:cubicBezTo>
                  <a:cubicBezTo>
                    <a:pt x="17840" y="9499"/>
                    <a:pt x="16913" y="9499"/>
                    <a:pt x="16450" y="9499"/>
                  </a:cubicBezTo>
                  <a:cubicBezTo>
                    <a:pt x="15523" y="9499"/>
                    <a:pt x="15060" y="9499"/>
                    <a:pt x="14133" y="9499"/>
                  </a:cubicBezTo>
                  <a:cubicBezTo>
                    <a:pt x="13670" y="9499"/>
                    <a:pt x="12743" y="9963"/>
                    <a:pt x="12280" y="9963"/>
                  </a:cubicBezTo>
                  <a:cubicBezTo>
                    <a:pt x="11816" y="10426"/>
                    <a:pt x="11353" y="10426"/>
                    <a:pt x="11353" y="10889"/>
                  </a:cubicBezTo>
                  <a:cubicBezTo>
                    <a:pt x="10889" y="11353"/>
                    <a:pt x="10889" y="11816"/>
                    <a:pt x="10889" y="12279"/>
                  </a:cubicBezTo>
                  <a:cubicBezTo>
                    <a:pt x="10889" y="12743"/>
                    <a:pt x="10889" y="13206"/>
                    <a:pt x="11353" y="13670"/>
                  </a:cubicBezTo>
                  <a:cubicBezTo>
                    <a:pt x="11816" y="14133"/>
                    <a:pt x="11816" y="14596"/>
                    <a:pt x="12743" y="15060"/>
                  </a:cubicBezTo>
                  <a:cubicBezTo>
                    <a:pt x="13206" y="15523"/>
                    <a:pt x="13670" y="15987"/>
                    <a:pt x="14597" y="15987"/>
                  </a:cubicBezTo>
                  <a:cubicBezTo>
                    <a:pt x="15523" y="16450"/>
                    <a:pt x="15987" y="16913"/>
                    <a:pt x="16913" y="16913"/>
                  </a:cubicBezTo>
                  <a:cubicBezTo>
                    <a:pt x="18304" y="17377"/>
                    <a:pt x="19230" y="17840"/>
                    <a:pt x="20157" y="18767"/>
                  </a:cubicBezTo>
                  <a:cubicBezTo>
                    <a:pt x="21084" y="19230"/>
                    <a:pt x="22010" y="20157"/>
                    <a:pt x="22937" y="20620"/>
                  </a:cubicBezTo>
                  <a:cubicBezTo>
                    <a:pt x="23864" y="21547"/>
                    <a:pt x="24327" y="22010"/>
                    <a:pt x="24791" y="23401"/>
                  </a:cubicBezTo>
                  <a:cubicBezTo>
                    <a:pt x="25254" y="24327"/>
                    <a:pt x="25254" y="25254"/>
                    <a:pt x="25254" y="26644"/>
                  </a:cubicBezTo>
                  <a:cubicBezTo>
                    <a:pt x="25254" y="28498"/>
                    <a:pt x="24791" y="29888"/>
                    <a:pt x="24327" y="31278"/>
                  </a:cubicBezTo>
                  <a:cubicBezTo>
                    <a:pt x="23864" y="32668"/>
                    <a:pt x="22937" y="33595"/>
                    <a:pt x="21547" y="34058"/>
                  </a:cubicBezTo>
                  <a:cubicBezTo>
                    <a:pt x="20620" y="34985"/>
                    <a:pt x="19230" y="35448"/>
                    <a:pt x="17377" y="35448"/>
                  </a:cubicBezTo>
                  <a:cubicBezTo>
                    <a:pt x="15987" y="35912"/>
                    <a:pt x="14133" y="35912"/>
                    <a:pt x="12743" y="35912"/>
                  </a:cubicBezTo>
                  <a:cubicBezTo>
                    <a:pt x="10889" y="35912"/>
                    <a:pt x="9499" y="35912"/>
                    <a:pt x="7646" y="35448"/>
                  </a:cubicBezTo>
                  <a:cubicBezTo>
                    <a:pt x="5792" y="36375"/>
                    <a:pt x="4402" y="35912"/>
                    <a:pt x="3475" y="34985"/>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B691FE3-3D36-4247-82B7-1A2040812C83}"/>
                </a:ext>
              </a:extLst>
            </p:cNvPr>
            <p:cNvSpPr/>
            <p:nvPr/>
          </p:nvSpPr>
          <p:spPr>
            <a:xfrm>
              <a:off x="8759526" y="1313251"/>
              <a:ext cx="66796" cy="75146"/>
            </a:xfrm>
            <a:custGeom>
              <a:avLst/>
              <a:gdLst>
                <a:gd name="connsiteX0" fmla="*/ 18767 w 37070"/>
                <a:gd name="connsiteY0" fmla="*/ 36375 h 41704"/>
                <a:gd name="connsiteX1" fmla="*/ 7646 w 37070"/>
                <a:gd name="connsiteY1" fmla="*/ 31741 h 41704"/>
                <a:gd name="connsiteX2" fmla="*/ 3475 w 37070"/>
                <a:gd name="connsiteY2" fmla="*/ 20157 h 41704"/>
                <a:gd name="connsiteX3" fmla="*/ 7646 w 37070"/>
                <a:gd name="connsiteY3" fmla="*/ 8109 h 41704"/>
                <a:gd name="connsiteX4" fmla="*/ 18767 w 37070"/>
                <a:gd name="connsiteY4" fmla="*/ 3475 h 41704"/>
                <a:gd name="connsiteX5" fmla="*/ 29425 w 37070"/>
                <a:gd name="connsiteY5" fmla="*/ 8109 h 41704"/>
                <a:gd name="connsiteX6" fmla="*/ 33595 w 37070"/>
                <a:gd name="connsiteY6" fmla="*/ 19694 h 41704"/>
                <a:gd name="connsiteX7" fmla="*/ 29425 w 37070"/>
                <a:gd name="connsiteY7" fmla="*/ 31741 h 41704"/>
                <a:gd name="connsiteX8" fmla="*/ 28961 w 37070"/>
                <a:gd name="connsiteY8" fmla="*/ 32205 h 41704"/>
                <a:gd name="connsiteX9" fmla="*/ 28498 w 37070"/>
                <a:gd name="connsiteY9" fmla="*/ 32668 h 41704"/>
                <a:gd name="connsiteX10" fmla="*/ 36375 w 37070"/>
                <a:gd name="connsiteY10" fmla="*/ 40546 h 41704"/>
                <a:gd name="connsiteX11" fmla="*/ 26181 w 37070"/>
                <a:gd name="connsiteY11" fmla="*/ 40546 h 41704"/>
                <a:gd name="connsiteX12" fmla="*/ 22937 w 37070"/>
                <a:gd name="connsiteY12" fmla="*/ 35912 h 41704"/>
                <a:gd name="connsiteX13" fmla="*/ 18767 w 37070"/>
                <a:gd name="connsiteY13" fmla="*/ 36375 h 41704"/>
                <a:gd name="connsiteX14" fmla="*/ 18767 w 37070"/>
                <a:gd name="connsiteY14" fmla="*/ 10426 h 41704"/>
                <a:gd name="connsiteX15" fmla="*/ 12743 w 37070"/>
                <a:gd name="connsiteY15" fmla="*/ 13206 h 41704"/>
                <a:gd name="connsiteX16" fmla="*/ 10426 w 37070"/>
                <a:gd name="connsiteY16" fmla="*/ 20620 h 41704"/>
                <a:gd name="connsiteX17" fmla="*/ 12743 w 37070"/>
                <a:gd name="connsiteY17" fmla="*/ 28034 h 41704"/>
                <a:gd name="connsiteX18" fmla="*/ 18304 w 37070"/>
                <a:gd name="connsiteY18" fmla="*/ 30815 h 41704"/>
                <a:gd name="connsiteX19" fmla="*/ 24327 w 37070"/>
                <a:gd name="connsiteY19" fmla="*/ 28034 h 41704"/>
                <a:gd name="connsiteX20" fmla="*/ 26644 w 37070"/>
                <a:gd name="connsiteY20" fmla="*/ 20620 h 41704"/>
                <a:gd name="connsiteX21" fmla="*/ 24327 w 37070"/>
                <a:gd name="connsiteY21" fmla="*/ 12743 h 41704"/>
                <a:gd name="connsiteX22" fmla="*/ 18767 w 37070"/>
                <a:gd name="connsiteY22" fmla="*/ 10426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70" h="41704">
                  <a:moveTo>
                    <a:pt x="18767" y="36375"/>
                  </a:moveTo>
                  <a:cubicBezTo>
                    <a:pt x="14133" y="36375"/>
                    <a:pt x="10426" y="34985"/>
                    <a:pt x="7646" y="31741"/>
                  </a:cubicBezTo>
                  <a:cubicBezTo>
                    <a:pt x="4865" y="28961"/>
                    <a:pt x="3475" y="25254"/>
                    <a:pt x="3475" y="20157"/>
                  </a:cubicBezTo>
                  <a:cubicBezTo>
                    <a:pt x="3475" y="15060"/>
                    <a:pt x="4865" y="11353"/>
                    <a:pt x="7646" y="8109"/>
                  </a:cubicBezTo>
                  <a:cubicBezTo>
                    <a:pt x="10426" y="4865"/>
                    <a:pt x="14133" y="3475"/>
                    <a:pt x="18767" y="3475"/>
                  </a:cubicBezTo>
                  <a:cubicBezTo>
                    <a:pt x="23401" y="3475"/>
                    <a:pt x="27108" y="4865"/>
                    <a:pt x="29425" y="8109"/>
                  </a:cubicBezTo>
                  <a:cubicBezTo>
                    <a:pt x="32205" y="10889"/>
                    <a:pt x="33595" y="14596"/>
                    <a:pt x="33595" y="19694"/>
                  </a:cubicBezTo>
                  <a:cubicBezTo>
                    <a:pt x="33595" y="24791"/>
                    <a:pt x="32205" y="28498"/>
                    <a:pt x="29425" y="31741"/>
                  </a:cubicBezTo>
                  <a:lnTo>
                    <a:pt x="28961" y="32205"/>
                  </a:lnTo>
                  <a:cubicBezTo>
                    <a:pt x="28961" y="32205"/>
                    <a:pt x="28961" y="32205"/>
                    <a:pt x="28498" y="32668"/>
                  </a:cubicBezTo>
                  <a:lnTo>
                    <a:pt x="36375" y="40546"/>
                  </a:lnTo>
                  <a:lnTo>
                    <a:pt x="26181" y="40546"/>
                  </a:lnTo>
                  <a:lnTo>
                    <a:pt x="22937" y="35912"/>
                  </a:lnTo>
                  <a:cubicBezTo>
                    <a:pt x="22010" y="36375"/>
                    <a:pt x="20157" y="36375"/>
                    <a:pt x="18767" y="36375"/>
                  </a:cubicBezTo>
                  <a:moveTo>
                    <a:pt x="18767" y="10426"/>
                  </a:moveTo>
                  <a:cubicBezTo>
                    <a:pt x="16450" y="10426"/>
                    <a:pt x="14133" y="11353"/>
                    <a:pt x="12743" y="13206"/>
                  </a:cubicBezTo>
                  <a:cubicBezTo>
                    <a:pt x="11353" y="15060"/>
                    <a:pt x="10426" y="17377"/>
                    <a:pt x="10426" y="20620"/>
                  </a:cubicBezTo>
                  <a:cubicBezTo>
                    <a:pt x="10426" y="23864"/>
                    <a:pt x="11353" y="26181"/>
                    <a:pt x="12743" y="28034"/>
                  </a:cubicBezTo>
                  <a:cubicBezTo>
                    <a:pt x="14133" y="29888"/>
                    <a:pt x="15987" y="30815"/>
                    <a:pt x="18304" y="30815"/>
                  </a:cubicBezTo>
                  <a:cubicBezTo>
                    <a:pt x="20620" y="30815"/>
                    <a:pt x="22474" y="29888"/>
                    <a:pt x="24327" y="28034"/>
                  </a:cubicBezTo>
                  <a:cubicBezTo>
                    <a:pt x="25717" y="26181"/>
                    <a:pt x="26644" y="23864"/>
                    <a:pt x="26644" y="20620"/>
                  </a:cubicBezTo>
                  <a:cubicBezTo>
                    <a:pt x="26644" y="17377"/>
                    <a:pt x="25717" y="14596"/>
                    <a:pt x="24327" y="12743"/>
                  </a:cubicBezTo>
                  <a:cubicBezTo>
                    <a:pt x="23401" y="10889"/>
                    <a:pt x="21547" y="10426"/>
                    <a:pt x="18767" y="10426"/>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D10F4EA-2E1E-40E8-84E1-9CCB11E25152}"/>
                </a:ext>
              </a:extLst>
            </p:cNvPr>
            <p:cNvSpPr/>
            <p:nvPr/>
          </p:nvSpPr>
          <p:spPr>
            <a:xfrm>
              <a:off x="8823818" y="1314920"/>
              <a:ext cx="41748" cy="66796"/>
            </a:xfrm>
            <a:custGeom>
              <a:avLst/>
              <a:gdLst>
                <a:gd name="connsiteX0" fmla="*/ 22474 w 23168"/>
                <a:gd name="connsiteY0" fmla="*/ 34985 h 37070"/>
                <a:gd name="connsiteX1" fmla="*/ 3475 w 23168"/>
                <a:gd name="connsiteY1" fmla="*/ 34985 h 37070"/>
                <a:gd name="connsiteX2" fmla="*/ 3475 w 23168"/>
                <a:gd name="connsiteY2" fmla="*/ 3475 h 37070"/>
                <a:gd name="connsiteX3" fmla="*/ 10426 w 23168"/>
                <a:gd name="connsiteY3" fmla="*/ 3475 h 37070"/>
                <a:gd name="connsiteX4" fmla="*/ 10426 w 23168"/>
                <a:gd name="connsiteY4" fmla="*/ 28961 h 37070"/>
                <a:gd name="connsiteX5" fmla="*/ 22474 w 23168"/>
                <a:gd name="connsiteY5" fmla="*/ 28961 h 3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68" h="37070">
                  <a:moveTo>
                    <a:pt x="22474" y="34985"/>
                  </a:moveTo>
                  <a:lnTo>
                    <a:pt x="3475" y="34985"/>
                  </a:lnTo>
                  <a:lnTo>
                    <a:pt x="3475" y="3475"/>
                  </a:lnTo>
                  <a:lnTo>
                    <a:pt x="10426" y="3475"/>
                  </a:lnTo>
                  <a:lnTo>
                    <a:pt x="10426" y="28961"/>
                  </a:lnTo>
                  <a:lnTo>
                    <a:pt x="22474" y="28961"/>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377325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t>Adopting advanced analytics in your company</a:t>
            </a:r>
          </a:p>
        </p:txBody>
      </p:sp>
      <p:grpSp>
        <p:nvGrpSpPr>
          <p:cNvPr id="15" name="Group 14">
            <a:extLst>
              <a:ext uri="{FF2B5EF4-FFF2-40B4-BE49-F238E27FC236}">
                <a16:creationId xmlns:a16="http://schemas.microsoft.com/office/drawing/2014/main" id="{9011347E-BA4E-4240-AA16-8A1957D11A87}"/>
              </a:ext>
            </a:extLst>
          </p:cNvPr>
          <p:cNvGrpSpPr/>
          <p:nvPr/>
        </p:nvGrpSpPr>
        <p:grpSpPr>
          <a:xfrm>
            <a:off x="533990" y="1572270"/>
            <a:ext cx="6947969" cy="677900"/>
            <a:chOff x="2470669" y="1337602"/>
            <a:chExt cx="6947969" cy="677900"/>
          </a:xfrm>
        </p:grpSpPr>
        <p:sp>
          <p:nvSpPr>
            <p:cNvPr id="21" name="people_19" title="Icon of a person standing on a circle">
              <a:extLst>
                <a:ext uri="{FF2B5EF4-FFF2-40B4-BE49-F238E27FC236}">
                  <a16:creationId xmlns:a16="http://schemas.microsoft.com/office/drawing/2014/main" id="{B2123D8D-517F-4949-A0F6-7DCCBE30EE43}"/>
                </a:ext>
              </a:extLst>
            </p:cNvPr>
            <p:cNvSpPr>
              <a:spLocks noChangeAspect="1" noEditPoints="1"/>
            </p:cNvSpPr>
            <p:nvPr/>
          </p:nvSpPr>
          <p:spPr bwMode="auto">
            <a:xfrm>
              <a:off x="2470669" y="1402533"/>
              <a:ext cx="423387" cy="548040"/>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5" name="Straight Connector 24">
              <a:extLst>
                <a:ext uri="{FF2B5EF4-FFF2-40B4-BE49-F238E27FC236}">
                  <a16:creationId xmlns:a16="http://schemas.microsoft.com/office/drawing/2014/main" id="{9E61FBCF-39A1-4CD2-8730-8C56706B34B6}"/>
                </a:ext>
              </a:extLst>
            </p:cNvPr>
            <p:cNvCxnSpPr>
              <a:cxnSpLocks/>
            </p:cNvCxnSpPr>
            <p:nvPr/>
          </p:nvCxnSpPr>
          <p:spPr>
            <a:xfrm>
              <a:off x="3401709" y="1337602"/>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Title 1">
              <a:extLst>
                <a:ext uri="{FF2B5EF4-FFF2-40B4-BE49-F238E27FC236}">
                  <a16:creationId xmlns:a16="http://schemas.microsoft.com/office/drawing/2014/main" id="{9942C798-EF99-4EA3-86ED-3E8B2722F473}"/>
                </a:ext>
              </a:extLst>
            </p:cNvPr>
            <p:cNvSpPr txBox="1">
              <a:spLocks/>
            </p:cNvSpPr>
            <p:nvPr/>
          </p:nvSpPr>
          <p:spPr>
            <a:xfrm>
              <a:off x="3586236" y="1445720"/>
              <a:ext cx="5832402" cy="461665"/>
            </a:xfrm>
            <a:prstGeom prst="rect">
              <a:avLst/>
            </a:prstGeom>
          </p:spPr>
          <p:txBody>
            <a:bodyPr vert="horz" wrap="square" lIns="146304" tIns="91440" rIns="146304" bIns="91440" rtlCol="0" anchor="ctr">
              <a:spAutoFit/>
            </a:bodyPr>
            <a:lstStyle>
              <a:lvl1pPr algn="l" defTabSz="914016" rtl="0" eaLnBrk="1" latinLnBrk="0" hangingPunct="1">
                <a:lnSpc>
                  <a:spcPct val="90000"/>
                </a:lnSpc>
                <a:spcBef>
                  <a:spcPct val="0"/>
                </a:spcBef>
                <a:buNone/>
                <a:defRPr lang="en-US" sz="4000" b="0" kern="1200" cap="none" spc="0" baseline="0">
                  <a:ln w="3175">
                    <a:noFill/>
                  </a:ln>
                  <a:solidFill>
                    <a:schemeClr val="tx1"/>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rPr>
                <a:t>Where do you see </a:t>
              </a:r>
              <a:r>
                <a:rPr lang="en-US" sz="2000" dirty="0">
                  <a:solidFill>
                    <a:schemeClr val="tx2"/>
                  </a:solidFill>
                  <a:latin typeface="Segoe UI Semibold" panose="020B0702040204020203" pitchFamily="34" charset="0"/>
                  <a:cs typeface="Segoe UI Semibold" panose="020B0702040204020203" pitchFamily="34" charset="0"/>
                </a:rPr>
                <a:t>your company today?</a:t>
              </a:r>
            </a:p>
          </p:txBody>
        </p:sp>
      </p:grpSp>
      <p:grpSp>
        <p:nvGrpSpPr>
          <p:cNvPr id="14" name="Group 13">
            <a:extLst>
              <a:ext uri="{FF2B5EF4-FFF2-40B4-BE49-F238E27FC236}">
                <a16:creationId xmlns:a16="http://schemas.microsoft.com/office/drawing/2014/main" id="{87E7704F-AEB4-4604-B558-E7E606EF2B79}"/>
              </a:ext>
            </a:extLst>
          </p:cNvPr>
          <p:cNvGrpSpPr/>
          <p:nvPr/>
        </p:nvGrpSpPr>
        <p:grpSpPr>
          <a:xfrm>
            <a:off x="468895" y="4061308"/>
            <a:ext cx="7013064" cy="677900"/>
            <a:chOff x="2405574" y="2818342"/>
            <a:chExt cx="7013064" cy="677900"/>
          </a:xfrm>
        </p:grpSpPr>
        <p:sp>
          <p:nvSpPr>
            <p:cNvPr id="22" name="page" title="Icon of a rectangle with a dotted line in the middle, an arrow on the right side pointing to the right">
              <a:extLst>
                <a:ext uri="{FF2B5EF4-FFF2-40B4-BE49-F238E27FC236}">
                  <a16:creationId xmlns:a16="http://schemas.microsoft.com/office/drawing/2014/main" id="{F6E75C4A-D1C8-4FA7-AAAA-53DB2A523C66}"/>
                </a:ext>
              </a:extLst>
            </p:cNvPr>
            <p:cNvSpPr>
              <a:spLocks noChangeAspect="1" noEditPoints="1"/>
            </p:cNvSpPr>
            <p:nvPr/>
          </p:nvSpPr>
          <p:spPr bwMode="auto">
            <a:xfrm>
              <a:off x="2405574" y="2957642"/>
              <a:ext cx="553575" cy="399301"/>
            </a:xfrm>
            <a:custGeom>
              <a:avLst/>
              <a:gdLst>
                <a:gd name="T0" fmla="*/ 244 w 244"/>
                <a:gd name="T1" fmla="*/ 80 h 176"/>
                <a:gd name="T2" fmla="*/ 244 w 244"/>
                <a:gd name="T3" fmla="*/ 176 h 176"/>
                <a:gd name="T4" fmla="*/ 0 w 244"/>
                <a:gd name="T5" fmla="*/ 176 h 176"/>
                <a:gd name="T6" fmla="*/ 0 w 244"/>
                <a:gd name="T7" fmla="*/ 0 h 176"/>
                <a:gd name="T8" fmla="*/ 244 w 244"/>
                <a:gd name="T9" fmla="*/ 0 h 176"/>
                <a:gd name="T10" fmla="*/ 244 w 244"/>
                <a:gd name="T11" fmla="*/ 80 h 176"/>
                <a:gd name="T12" fmla="*/ 122 w 244"/>
                <a:gd name="T13" fmla="*/ 0 h 176"/>
                <a:gd name="T14" fmla="*/ 122 w 244"/>
                <a:gd name="T15" fmla="*/ 26 h 176"/>
                <a:gd name="T16" fmla="*/ 122 w 244"/>
                <a:gd name="T17" fmla="*/ 44 h 176"/>
                <a:gd name="T18" fmla="*/ 122 w 244"/>
                <a:gd name="T19" fmla="*/ 79 h 176"/>
                <a:gd name="T20" fmla="*/ 122 w 244"/>
                <a:gd name="T21" fmla="*/ 95 h 176"/>
                <a:gd name="T22" fmla="*/ 122 w 244"/>
                <a:gd name="T23" fmla="*/ 130 h 176"/>
                <a:gd name="T24" fmla="*/ 122 w 244"/>
                <a:gd name="T25" fmla="*/ 148 h 176"/>
                <a:gd name="T26" fmla="*/ 122 w 244"/>
                <a:gd name="T27" fmla="*/ 176 h 176"/>
                <a:gd name="T28" fmla="*/ 182 w 244"/>
                <a:gd name="T29" fmla="*/ 114 h 176"/>
                <a:gd name="T30" fmla="*/ 207 w 244"/>
                <a:gd name="T31" fmla="*/ 88 h 176"/>
                <a:gd name="T32" fmla="*/ 182 w 244"/>
                <a:gd name="T33" fmla="*/ 62 h 176"/>
                <a:gd name="T34" fmla="*/ 207 w 244"/>
                <a:gd name="T35" fmla="*/ 88 h 176"/>
                <a:gd name="T36" fmla="*/ 147 w 244"/>
                <a:gd name="T37"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176">
                  <a:moveTo>
                    <a:pt x="244" y="80"/>
                  </a:moveTo>
                  <a:lnTo>
                    <a:pt x="244" y="176"/>
                  </a:lnTo>
                  <a:lnTo>
                    <a:pt x="0" y="176"/>
                  </a:lnTo>
                  <a:lnTo>
                    <a:pt x="0" y="0"/>
                  </a:lnTo>
                  <a:lnTo>
                    <a:pt x="244" y="0"/>
                  </a:lnTo>
                  <a:lnTo>
                    <a:pt x="244" y="80"/>
                  </a:lnTo>
                  <a:moveTo>
                    <a:pt x="122" y="0"/>
                  </a:moveTo>
                  <a:lnTo>
                    <a:pt x="122" y="26"/>
                  </a:lnTo>
                  <a:moveTo>
                    <a:pt x="122" y="44"/>
                  </a:moveTo>
                  <a:lnTo>
                    <a:pt x="122" y="79"/>
                  </a:lnTo>
                  <a:moveTo>
                    <a:pt x="122" y="95"/>
                  </a:moveTo>
                  <a:lnTo>
                    <a:pt x="122" y="130"/>
                  </a:lnTo>
                  <a:moveTo>
                    <a:pt x="122" y="148"/>
                  </a:moveTo>
                  <a:lnTo>
                    <a:pt x="122" y="176"/>
                  </a:lnTo>
                  <a:moveTo>
                    <a:pt x="182" y="114"/>
                  </a:moveTo>
                  <a:lnTo>
                    <a:pt x="207" y="88"/>
                  </a:lnTo>
                  <a:lnTo>
                    <a:pt x="182" y="62"/>
                  </a:lnTo>
                  <a:moveTo>
                    <a:pt x="207" y="88"/>
                  </a:moveTo>
                  <a:lnTo>
                    <a:pt x="147" y="8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6" name="Straight Connector 25">
              <a:extLst>
                <a:ext uri="{FF2B5EF4-FFF2-40B4-BE49-F238E27FC236}">
                  <a16:creationId xmlns:a16="http://schemas.microsoft.com/office/drawing/2014/main" id="{02AAAB72-9456-426F-9015-A662EAECC8C0}"/>
                </a:ext>
              </a:extLst>
            </p:cNvPr>
            <p:cNvCxnSpPr>
              <a:cxnSpLocks/>
            </p:cNvCxnSpPr>
            <p:nvPr/>
          </p:nvCxnSpPr>
          <p:spPr>
            <a:xfrm>
              <a:off x="3401709" y="2818342"/>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D99E9724-848F-4BF2-B59E-D8855F08AA5B}"/>
                </a:ext>
              </a:extLst>
            </p:cNvPr>
            <p:cNvSpPr txBox="1">
              <a:spLocks/>
            </p:cNvSpPr>
            <p:nvPr/>
          </p:nvSpPr>
          <p:spPr>
            <a:xfrm>
              <a:off x="3586236" y="2926460"/>
              <a:ext cx="5832402" cy="461665"/>
            </a:xfrm>
            <a:prstGeom prst="rect">
              <a:avLst/>
            </a:prstGeom>
          </p:spPr>
          <p:txBody>
            <a:bodyPr vert="horz" wrap="square" lIns="146304" tIns="91440" rIns="146304" bIns="91440" rtlCol="0" anchor="ctr">
              <a:spAutoFit/>
            </a:bodyPr>
            <a:lstStyle>
              <a:defPPr>
                <a:defRPr lang="en-US"/>
              </a:defPPr>
              <a:lvl1pPr marR="0" lvl="0" indent="0" defTabSz="914016" fontAlgn="auto">
                <a:lnSpc>
                  <a:spcPct val="90000"/>
                </a:lnSpc>
                <a:spcBef>
                  <a:spcPct val="0"/>
                </a:spcBef>
                <a:spcAft>
                  <a:spcPts val="0"/>
                </a:spcAft>
                <a:buClrTx/>
                <a:buSzTx/>
                <a:buFontTx/>
                <a:buNone/>
                <a:tabLst/>
                <a:defRPr kumimoji="0" sz="2000" b="0" i="0" u="none" strike="noStrike" cap="none" spc="0" normalizeH="0" baseline="0">
                  <a:ln w="3175">
                    <a:noFill/>
                  </a:ln>
                  <a:solidFill>
                    <a:schemeClr val="tx2"/>
                  </a:solidFill>
                  <a:effectLst/>
                  <a:uLnTx/>
                  <a:uFillTx/>
                  <a:latin typeface="Segoe UI" panose="020B0502040204020203" pitchFamily="34" charset="0"/>
                  <a:cs typeface="Segoe UI" pitchFamily="34" charset="0"/>
                </a:defRPr>
              </a:lvl1pPr>
            </a:lstStyle>
            <a:p>
              <a:r>
                <a:rPr lang="en-US" dirty="0">
                  <a:solidFill>
                    <a:schemeClr val="tx1"/>
                  </a:solidFill>
                </a:rPr>
                <a:t>Where do you see </a:t>
              </a:r>
              <a:r>
                <a:rPr lang="en-US" dirty="0">
                  <a:latin typeface="Segoe UI Semibold" panose="020B0702040204020203" pitchFamily="34" charset="0"/>
                  <a:cs typeface="Segoe UI Semibold" panose="020B0702040204020203" pitchFamily="34" charset="0"/>
                </a:rPr>
                <a:t>your company in the future?</a:t>
              </a:r>
            </a:p>
          </p:txBody>
        </p:sp>
      </p:grpSp>
      <p:grpSp>
        <p:nvGrpSpPr>
          <p:cNvPr id="18" name="Group 17">
            <a:extLst>
              <a:ext uri="{FF2B5EF4-FFF2-40B4-BE49-F238E27FC236}">
                <a16:creationId xmlns:a16="http://schemas.microsoft.com/office/drawing/2014/main" id="{BAC797C6-9E66-48E4-B5F4-F720F6167E4B}"/>
              </a:ext>
            </a:extLst>
          </p:cNvPr>
          <p:cNvGrpSpPr/>
          <p:nvPr/>
        </p:nvGrpSpPr>
        <p:grpSpPr>
          <a:xfrm>
            <a:off x="439245" y="2816789"/>
            <a:ext cx="7042714" cy="677900"/>
            <a:chOff x="2375924" y="4299080"/>
            <a:chExt cx="7042714" cy="677900"/>
          </a:xfrm>
        </p:grpSpPr>
        <p:sp>
          <p:nvSpPr>
            <p:cNvPr id="23" name="flag_4" title="Icon of two flags crossed over each other">
              <a:extLst>
                <a:ext uri="{FF2B5EF4-FFF2-40B4-BE49-F238E27FC236}">
                  <a16:creationId xmlns:a16="http://schemas.microsoft.com/office/drawing/2014/main" id="{C8226610-E439-4A28-8023-9A472119DE9A}"/>
                </a:ext>
              </a:extLst>
            </p:cNvPr>
            <p:cNvSpPr>
              <a:spLocks noChangeAspect="1" noEditPoints="1"/>
            </p:cNvSpPr>
            <p:nvPr/>
          </p:nvSpPr>
          <p:spPr bwMode="auto">
            <a:xfrm>
              <a:off x="2375924" y="4436731"/>
              <a:ext cx="612875" cy="402600"/>
            </a:xfrm>
            <a:custGeom>
              <a:avLst/>
              <a:gdLst>
                <a:gd name="T0" fmla="*/ 221 w 239"/>
                <a:gd name="T1" fmla="*/ 73 h 157"/>
                <a:gd name="T2" fmla="*/ 202 w 239"/>
                <a:gd name="T3" fmla="*/ 92 h 157"/>
                <a:gd name="T4" fmla="*/ 148 w 239"/>
                <a:gd name="T5" fmla="*/ 37 h 157"/>
                <a:gd name="T6" fmla="*/ 185 w 239"/>
                <a:gd name="T7" fmla="*/ 0 h 157"/>
                <a:gd name="T8" fmla="*/ 239 w 239"/>
                <a:gd name="T9" fmla="*/ 55 h 157"/>
                <a:gd name="T10" fmla="*/ 221 w 239"/>
                <a:gd name="T11" fmla="*/ 73 h 157"/>
                <a:gd name="T12" fmla="*/ 148 w 239"/>
                <a:gd name="T13" fmla="*/ 37 h 157"/>
                <a:gd name="T14" fmla="*/ 28 w 239"/>
                <a:gd name="T15" fmla="*/ 157 h 157"/>
                <a:gd name="T16" fmla="*/ 19 w 239"/>
                <a:gd name="T17" fmla="*/ 74 h 157"/>
                <a:gd name="T18" fmla="*/ 37 w 239"/>
                <a:gd name="T19" fmla="*/ 92 h 157"/>
                <a:gd name="T20" fmla="*/ 91 w 239"/>
                <a:gd name="T21" fmla="*/ 37 h 157"/>
                <a:gd name="T22" fmla="*/ 54 w 239"/>
                <a:gd name="T23" fmla="*/ 0 h 157"/>
                <a:gd name="T24" fmla="*/ 0 w 239"/>
                <a:gd name="T25" fmla="*/ 55 h 157"/>
                <a:gd name="T26" fmla="*/ 19 w 239"/>
                <a:gd name="T27" fmla="*/ 74 h 157"/>
                <a:gd name="T28" fmla="*/ 211 w 239"/>
                <a:gd name="T29" fmla="*/ 157 h 157"/>
                <a:gd name="T30" fmla="*/ 91 w 239"/>
                <a:gd name="T31"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57">
                  <a:moveTo>
                    <a:pt x="221" y="73"/>
                  </a:moveTo>
                  <a:lnTo>
                    <a:pt x="202" y="92"/>
                  </a:lnTo>
                  <a:lnTo>
                    <a:pt x="148" y="37"/>
                  </a:lnTo>
                  <a:lnTo>
                    <a:pt x="185" y="0"/>
                  </a:lnTo>
                  <a:lnTo>
                    <a:pt x="239" y="55"/>
                  </a:lnTo>
                  <a:lnTo>
                    <a:pt x="221" y="73"/>
                  </a:lnTo>
                  <a:moveTo>
                    <a:pt x="148" y="37"/>
                  </a:moveTo>
                  <a:lnTo>
                    <a:pt x="28" y="157"/>
                  </a:lnTo>
                  <a:moveTo>
                    <a:pt x="19" y="74"/>
                  </a:moveTo>
                  <a:lnTo>
                    <a:pt x="37" y="92"/>
                  </a:lnTo>
                  <a:lnTo>
                    <a:pt x="91" y="37"/>
                  </a:lnTo>
                  <a:lnTo>
                    <a:pt x="54" y="0"/>
                  </a:lnTo>
                  <a:lnTo>
                    <a:pt x="0" y="55"/>
                  </a:lnTo>
                  <a:lnTo>
                    <a:pt x="19" y="74"/>
                  </a:lnTo>
                  <a:moveTo>
                    <a:pt x="211" y="157"/>
                  </a:moveTo>
                  <a:lnTo>
                    <a:pt x="91" y="3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7" name="Straight Connector 26">
              <a:extLst>
                <a:ext uri="{FF2B5EF4-FFF2-40B4-BE49-F238E27FC236}">
                  <a16:creationId xmlns:a16="http://schemas.microsoft.com/office/drawing/2014/main" id="{8937C6C0-B8AA-49F5-8962-8F7FA7FF7EC1}"/>
                </a:ext>
              </a:extLst>
            </p:cNvPr>
            <p:cNvCxnSpPr>
              <a:cxnSpLocks/>
            </p:cNvCxnSpPr>
            <p:nvPr/>
          </p:nvCxnSpPr>
          <p:spPr>
            <a:xfrm>
              <a:off x="3401709" y="4299080"/>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DF0740B1-F6D0-41F9-830D-CAB7B75B1E56}"/>
                </a:ext>
              </a:extLst>
            </p:cNvPr>
            <p:cNvSpPr txBox="1">
              <a:spLocks/>
            </p:cNvSpPr>
            <p:nvPr/>
          </p:nvSpPr>
          <p:spPr>
            <a:xfrm>
              <a:off x="3586236" y="4407198"/>
              <a:ext cx="5832402" cy="461665"/>
            </a:xfrm>
            <a:prstGeom prst="rect">
              <a:avLst/>
            </a:prstGeom>
          </p:spPr>
          <p:txBody>
            <a:bodyPr vert="horz" wrap="square" lIns="146304" tIns="91440" rIns="146304" bIns="91440" rtlCol="0" anchor="ctr">
              <a:spAutoFit/>
            </a:bodyPr>
            <a:lstStyle>
              <a:lvl1pPr algn="l" defTabSz="914016" rtl="0" eaLnBrk="1" latinLnBrk="0" hangingPunct="1">
                <a:lnSpc>
                  <a:spcPct val="90000"/>
                </a:lnSpc>
                <a:spcBef>
                  <a:spcPct val="0"/>
                </a:spcBef>
                <a:buNone/>
                <a:defRPr lang="en-US" sz="4000" b="0" kern="1200" cap="none" spc="0" baseline="0">
                  <a:ln w="3175">
                    <a:noFill/>
                  </a:ln>
                  <a:solidFill>
                    <a:schemeClr val="tx1"/>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rPr>
                <a:t>Where do you see your</a:t>
              </a:r>
              <a:r>
                <a:rPr kumimoji="0" lang="en-US" sz="2000" b="1" i="0" u="none" strike="noStrike" kern="1200" cap="none" spc="0" normalizeH="0" baseline="0" noProof="0" dirty="0">
                  <a:ln w="3175">
                    <a:noFill/>
                  </a:ln>
                  <a:effectLst/>
                  <a:uLnTx/>
                  <a:uFillTx/>
                  <a:latin typeface="Segoe UI" panose="020B0502040204020203" pitchFamily="34" charset="0"/>
                </a:rPr>
                <a:t> </a:t>
              </a:r>
              <a:r>
                <a:rPr kumimoji="0" lang="en-US" sz="2000" i="0" u="none" strike="noStrike" kern="1200" cap="none" spc="0" normalizeH="0" baseline="0" noProof="0" dirty="0">
                  <a:ln w="3175">
                    <a:noFill/>
                  </a:ln>
                  <a:solidFill>
                    <a:schemeClr val="tx2"/>
                  </a:solidFill>
                  <a:effectLst/>
                  <a:uLnTx/>
                  <a:uFillTx/>
                  <a:latin typeface="Segoe UI Semibold" panose="020B0702040204020203" pitchFamily="34" charset="0"/>
                  <a:cs typeface="Segoe UI Semibold" panose="020B0702040204020203" pitchFamily="34" charset="0"/>
                </a:rPr>
                <a:t>top competitors today?</a:t>
              </a:r>
            </a:p>
          </p:txBody>
        </p:sp>
      </p:grpSp>
      <p:grpSp>
        <p:nvGrpSpPr>
          <p:cNvPr id="36" name="Group 35">
            <a:extLst>
              <a:ext uri="{FF2B5EF4-FFF2-40B4-BE49-F238E27FC236}">
                <a16:creationId xmlns:a16="http://schemas.microsoft.com/office/drawing/2014/main" id="{62FE4F5D-4B53-4F4C-B400-BB6AF8E39736}"/>
              </a:ext>
            </a:extLst>
          </p:cNvPr>
          <p:cNvGrpSpPr/>
          <p:nvPr/>
        </p:nvGrpSpPr>
        <p:grpSpPr>
          <a:xfrm>
            <a:off x="137160" y="5284133"/>
            <a:ext cx="11917680" cy="1049189"/>
            <a:chOff x="0" y="1588690"/>
            <a:chExt cx="12192000" cy="1298740"/>
          </a:xfrm>
        </p:grpSpPr>
        <p:sp>
          <p:nvSpPr>
            <p:cNvPr id="37" name="Rectangle 36">
              <a:extLst>
                <a:ext uri="{FF2B5EF4-FFF2-40B4-BE49-F238E27FC236}">
                  <a16:creationId xmlns:a16="http://schemas.microsoft.com/office/drawing/2014/main" id="{D1E1AC99-810F-4481-9EC5-EC061986940A}"/>
                </a:ext>
              </a:extLst>
            </p:cNvPr>
            <p:cNvSpPr/>
            <p:nvPr/>
          </p:nvSpPr>
          <p:spPr bwMode="auto">
            <a:xfrm>
              <a:off x="0" y="1588690"/>
              <a:ext cx="12192000" cy="1298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6DA082A4-3C28-4A9E-9225-995D93E7E8E5}"/>
                </a:ext>
              </a:extLst>
            </p:cNvPr>
            <p:cNvSpPr/>
            <p:nvPr/>
          </p:nvSpPr>
          <p:spPr>
            <a:xfrm>
              <a:off x="4678342" y="1770761"/>
              <a:ext cx="2835323" cy="4952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dirty="0">
                  <a:ln>
                    <a:noFill/>
                  </a:ln>
                  <a:effectLst/>
                  <a:uLnTx/>
                  <a:uFillTx/>
                  <a:latin typeface="+mj-lt"/>
                  <a:ea typeface="+mn-ea"/>
                  <a:cs typeface="Segoe UI Semibold" panose="020B0702040204020203" pitchFamily="34" charset="0"/>
                </a:rPr>
                <a:t>Analytics capabilities </a:t>
              </a:r>
            </a:p>
          </p:txBody>
        </p:sp>
        <p:cxnSp>
          <p:nvCxnSpPr>
            <p:cNvPr id="39" name="Straight Arrow Connector 38">
              <a:extLst>
                <a:ext uri="{FF2B5EF4-FFF2-40B4-BE49-F238E27FC236}">
                  <a16:creationId xmlns:a16="http://schemas.microsoft.com/office/drawing/2014/main" id="{C62BC7EB-AC54-4B7A-B992-03C9367261B9}"/>
                </a:ext>
              </a:extLst>
            </p:cNvPr>
            <p:cNvCxnSpPr/>
            <p:nvPr/>
          </p:nvCxnSpPr>
          <p:spPr>
            <a:xfrm>
              <a:off x="309038" y="2481537"/>
              <a:ext cx="11573924"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67623472-9E6B-4833-8613-12338E0CDA27}"/>
                </a:ext>
              </a:extLst>
            </p:cNvPr>
            <p:cNvSpPr/>
            <p:nvPr/>
          </p:nvSpPr>
          <p:spPr>
            <a:xfrm>
              <a:off x="732735" y="2271868"/>
              <a:ext cx="667768"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asic</a:t>
              </a:r>
            </a:p>
          </p:txBody>
        </p:sp>
        <p:sp>
          <p:nvSpPr>
            <p:cNvPr id="41" name="Rectangle 40">
              <a:extLst>
                <a:ext uri="{FF2B5EF4-FFF2-40B4-BE49-F238E27FC236}">
                  <a16:creationId xmlns:a16="http://schemas.microsoft.com/office/drawing/2014/main" id="{8C873C06-AB73-492C-9728-08822218053A}"/>
                </a:ext>
              </a:extLst>
            </p:cNvPr>
            <p:cNvSpPr/>
            <p:nvPr/>
          </p:nvSpPr>
          <p:spPr>
            <a:xfrm>
              <a:off x="10271590" y="2271868"/>
              <a:ext cx="1128383"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dvanced</a:t>
              </a:r>
            </a:p>
          </p:txBody>
        </p:sp>
        <p:cxnSp>
          <p:nvCxnSpPr>
            <p:cNvPr id="42" name="Straight Connector 41">
              <a:extLst>
                <a:ext uri="{FF2B5EF4-FFF2-40B4-BE49-F238E27FC236}">
                  <a16:creationId xmlns:a16="http://schemas.microsoft.com/office/drawing/2014/main" id="{ADC9E36C-935F-4540-846C-2A357816339A}"/>
                </a:ext>
              </a:extLst>
            </p:cNvPr>
            <p:cNvCxnSpPr>
              <a:cxnSpLocks/>
            </p:cNvCxnSpPr>
            <p:nvPr/>
          </p:nvCxnSpPr>
          <p:spPr>
            <a:xfrm>
              <a:off x="6096000" y="2337884"/>
              <a:ext cx="0" cy="287306"/>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892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analysis services</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742"/>
              <a:endParaRPr lang="en-US" sz="1000" kern="0" dirty="0">
                <a:solidFill>
                  <a:schemeClr val="bg1"/>
                </a:solidFill>
                <a:latin typeface="Segoe UI Semilight"/>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742"/>
              <a:endParaRPr lang="en-US" sz="1000" kern="0" dirty="0">
                <a:solidFill>
                  <a:schemeClr val="bg1"/>
                </a:solidFill>
                <a:latin typeface="Segoe UI Semilight"/>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algn="l"/>
            <a:endParaRPr sz="1530" dirty="0">
              <a:solidFill>
                <a:schemeClr val="bg1"/>
              </a:solidFill>
              <a:latin typeface="Calibri"/>
              <a:ea typeface="Calibri"/>
              <a:cs typeface="Calibri"/>
              <a:sym typeface="Calibri"/>
            </a:endParaRPr>
          </a:p>
        </p:txBody>
      </p:sp>
      <p:grpSp>
        <p:nvGrpSpPr>
          <p:cNvPr id="7" name="Group 6">
            <a:extLst>
              <a:ext uri="{FF2B5EF4-FFF2-40B4-BE49-F238E27FC236}">
                <a16:creationId xmlns:a16="http://schemas.microsoft.com/office/drawing/2014/main" id="{E5593708-545E-45A2-AAC9-C31E51F413DB}"/>
              </a:ext>
            </a:extLst>
          </p:cNvPr>
          <p:cNvGrpSpPr/>
          <p:nvPr/>
        </p:nvGrpSpPr>
        <p:grpSpPr>
          <a:xfrm>
            <a:off x="0" y="1400213"/>
            <a:ext cx="12192000" cy="3878999"/>
            <a:chOff x="0" y="1400213"/>
            <a:chExt cx="12192000" cy="3878999"/>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n enterprise-grade analytics engine as-a-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User-friendly</a:t>
              </a:r>
            </a:p>
            <a:p>
              <a:pPr lvl="1">
                <a:spcBef>
                  <a:spcPts val="600"/>
                </a:spcBef>
                <a:spcAft>
                  <a:spcPts val="0"/>
                </a:spcAft>
                <a:defRPr/>
              </a:pPr>
              <a:r>
                <a:rPr lang="en-US" dirty="0">
                  <a:solidFill>
                    <a:schemeClr val="tx1"/>
                  </a:solidFill>
                  <a:latin typeface="Segoe UI"/>
                </a:rPr>
                <a:t>Transform complex data into business user friendly semantic model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Proven</a:t>
              </a:r>
            </a:p>
            <a:p>
              <a:pPr lvl="1">
                <a:spcBef>
                  <a:spcPts val="600"/>
                </a:spcBef>
                <a:spcAft>
                  <a:spcPts val="0"/>
                </a:spcAft>
                <a:defRPr/>
              </a:pPr>
              <a:r>
                <a:rPr lang="en-US" dirty="0">
                  <a:solidFill>
                    <a:schemeClr val="tx1"/>
                  </a:solidFill>
                  <a:latin typeface="Segoe UI"/>
                </a:rPr>
                <a:t>Based on powerful, </a:t>
              </a:r>
              <a:br>
                <a:rPr lang="en-US" dirty="0">
                  <a:solidFill>
                    <a:schemeClr val="tx1"/>
                  </a:solidFill>
                  <a:latin typeface="Segoe UI"/>
                </a:rPr>
              </a:br>
              <a:r>
                <a:rPr lang="en-US" dirty="0">
                  <a:solidFill>
                    <a:schemeClr val="tx1"/>
                  </a:solidFill>
                  <a:latin typeface="Segoe UI"/>
                </a:rPr>
                <a:t>proven SQL Server Analysis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Gain instant insights with </a:t>
              </a:r>
              <a:br>
                <a:rPr lang="en-US" dirty="0">
                  <a:solidFill>
                    <a:schemeClr val="tx1"/>
                  </a:solidFill>
                  <a:latin typeface="Segoe UI"/>
                </a:rPr>
              </a:br>
              <a:r>
                <a:rPr lang="en-US" dirty="0">
                  <a:solidFill>
                    <a:schemeClr val="tx1"/>
                  </a:solidFill>
                  <a:latin typeface="Segoe UI"/>
                </a:rPr>
                <a:t>in-memory cache using your preferred visualization tools </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Easy to deploy, scale, </a:t>
              </a:r>
              <a:br>
                <a:rPr lang="en-US" dirty="0">
                  <a:solidFill>
                    <a:schemeClr val="tx1"/>
                  </a:solidFill>
                  <a:latin typeface="Segoe UI"/>
                </a:rPr>
              </a:br>
              <a:r>
                <a:rPr lang="en-US" dirty="0">
                  <a:solidFill>
                    <a:schemeClr val="tx1"/>
                  </a:solidFill>
                  <a:latin typeface="Segoe UI"/>
                </a:rPr>
                <a:t>and manage as </a:t>
              </a:r>
              <a:br>
                <a:rPr lang="en-US" dirty="0">
                  <a:solidFill>
                    <a:schemeClr val="tx1"/>
                  </a:solidFill>
                  <a:latin typeface="Segoe UI"/>
                </a:rPr>
              </a:br>
              <a:r>
                <a:rPr lang="en-US" dirty="0">
                  <a:solidFill>
                    <a:schemeClr val="tx1"/>
                  </a:solidFill>
                  <a:latin typeface="Segoe UI"/>
                </a:rPr>
                <a:t>platform-as-a-service</a:t>
              </a:r>
            </a:p>
          </p:txBody>
        </p:sp>
        <p:sp>
          <p:nvSpPr>
            <p:cNvPr id="37" name="Rocket" title="Icon of a rocket">
              <a:extLst>
                <a:ext uri="{FF2B5EF4-FFF2-40B4-BE49-F238E27FC236}">
                  <a16:creationId xmlns:a16="http://schemas.microsoft.com/office/drawing/2014/main" id="{F0C05920-1D71-4969-A578-95005DAB901B}"/>
                </a:ext>
              </a:extLst>
            </p:cNvPr>
            <p:cNvSpPr>
              <a:spLocks noChangeAspect="1" noEditPoints="1"/>
            </p:cNvSpPr>
            <p:nvPr/>
          </p:nvSpPr>
          <p:spPr bwMode="auto">
            <a:xfrm>
              <a:off x="6265122"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hand_3" title="Icon of a hand giving a thumbs-up">
              <a:extLst>
                <a:ext uri="{FF2B5EF4-FFF2-40B4-BE49-F238E27FC236}">
                  <a16:creationId xmlns:a16="http://schemas.microsoft.com/office/drawing/2014/main" id="{ECD3E8B0-A295-44EC-9543-B9A2848D5CDD}"/>
                </a:ext>
              </a:extLst>
            </p:cNvPr>
            <p:cNvSpPr>
              <a:spLocks noChangeAspect="1"/>
            </p:cNvSpPr>
            <p:nvPr/>
          </p:nvSpPr>
          <p:spPr bwMode="auto">
            <a:xfrm>
              <a:off x="3504814" y="3547070"/>
              <a:ext cx="573009" cy="501867"/>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Commitments_EC4D" title="Icon of a handshake">
              <a:extLst>
                <a:ext uri="{FF2B5EF4-FFF2-40B4-BE49-F238E27FC236}">
                  <a16:creationId xmlns:a16="http://schemas.microsoft.com/office/drawing/2014/main" id="{AF7AC0A5-4720-41BF-A894-76BD2204404C}"/>
                </a:ext>
              </a:extLst>
            </p:cNvPr>
            <p:cNvSpPr>
              <a:spLocks noChangeAspect="1" noEditPoints="1"/>
            </p:cNvSpPr>
            <p:nvPr/>
          </p:nvSpPr>
          <p:spPr bwMode="auto">
            <a:xfrm>
              <a:off x="466083" y="3587261"/>
              <a:ext cx="554142" cy="51957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6" name="Group 45">
              <a:extLst>
                <a:ext uri="{FF2B5EF4-FFF2-40B4-BE49-F238E27FC236}">
                  <a16:creationId xmlns:a16="http://schemas.microsoft.com/office/drawing/2014/main" id="{F35582AE-7CCF-495E-B151-789D3178F80D}"/>
                </a:ext>
              </a:extLst>
            </p:cNvPr>
            <p:cNvGrpSpPr>
              <a:grpSpLocks noChangeAspect="1"/>
            </p:cNvGrpSpPr>
            <p:nvPr/>
          </p:nvGrpSpPr>
          <p:grpSpPr>
            <a:xfrm>
              <a:off x="9576477" y="3494175"/>
              <a:ext cx="928963" cy="512093"/>
              <a:chOff x="9569872" y="2014913"/>
              <a:chExt cx="868086" cy="478535"/>
            </a:xfrm>
          </p:grpSpPr>
          <p:sp>
            <p:nvSpPr>
              <p:cNvPr id="47" name="Shape 4978">
                <a:extLst>
                  <a:ext uri="{FF2B5EF4-FFF2-40B4-BE49-F238E27FC236}">
                    <a16:creationId xmlns:a16="http://schemas.microsoft.com/office/drawing/2014/main" id="{299BC5BD-3DF6-473F-AECE-6976D5066AD1}"/>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48" name="Shape 4978">
                <a:extLst>
                  <a:ext uri="{FF2B5EF4-FFF2-40B4-BE49-F238E27FC236}">
                    <a16:creationId xmlns:a16="http://schemas.microsoft.com/office/drawing/2014/main" id="{E1FF4856-7A93-4732-BE44-22B15F4A3A16}"/>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49" name="Freeform: Shape 27">
                <a:extLst>
                  <a:ext uri="{FF2B5EF4-FFF2-40B4-BE49-F238E27FC236}">
                    <a16:creationId xmlns:a16="http://schemas.microsoft.com/office/drawing/2014/main" id="{43B447B5-36A0-407E-BF08-65EF0B02ABED}"/>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943922AE-BBAF-4EC4-A943-C761AF47C6BD}"/>
              </a:ext>
            </a:extLst>
          </p:cNvPr>
          <p:cNvGrpSpPr/>
          <p:nvPr/>
        </p:nvGrpSpPr>
        <p:grpSpPr>
          <a:xfrm>
            <a:off x="10293875" y="347242"/>
            <a:ext cx="927215" cy="719769"/>
            <a:chOff x="9971054" y="1093656"/>
            <a:chExt cx="429171" cy="333150"/>
          </a:xfrm>
        </p:grpSpPr>
        <p:sp>
          <p:nvSpPr>
            <p:cNvPr id="51" name="Freeform: Shape 50">
              <a:extLst>
                <a:ext uri="{FF2B5EF4-FFF2-40B4-BE49-F238E27FC236}">
                  <a16:creationId xmlns:a16="http://schemas.microsoft.com/office/drawing/2014/main" id="{3BFC770A-5DAE-4ADA-B2AF-C216CB468AA3}"/>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DEE6500-B43F-46F7-A498-E8B04698E8DF}"/>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18ECE7EF-B680-434B-970E-0D51D665E62D}"/>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39279E37-C31E-4073-A1A3-ADE4B53A35BF}"/>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C311CC4-9642-46E5-A6B0-932E661D0C03}"/>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A05D407-D167-4A64-A839-872DCAB31D31}"/>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F2055E4-6767-424F-8FAD-6416EFD9C984}"/>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1053891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Cosmos DB</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9" name="Group 8">
            <a:extLst>
              <a:ext uri="{FF2B5EF4-FFF2-40B4-BE49-F238E27FC236}">
                <a16:creationId xmlns:a16="http://schemas.microsoft.com/office/drawing/2014/main" id="{090942DC-B4DB-4BCB-B432-472AA016B182}"/>
              </a:ext>
            </a:extLst>
          </p:cNvPr>
          <p:cNvGrpSpPr/>
          <p:nvPr/>
        </p:nvGrpSpPr>
        <p:grpSpPr>
          <a:xfrm>
            <a:off x="0" y="1400213"/>
            <a:ext cx="12192000" cy="4737695"/>
            <a:chOff x="0" y="1400213"/>
            <a:chExt cx="12192000" cy="4737695"/>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database designed for low latency and massively scalable applications</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Independently and elastically scale storage and throughput at any time, anywhere across the glob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Serve read and write requests from the nearest region to ensure latency less than 10-ms on reads and 15-ms on writ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Automated</a:t>
              </a:r>
            </a:p>
            <a:p>
              <a:pPr lvl="1">
                <a:spcBef>
                  <a:spcPts val="600"/>
                </a:spcBef>
                <a:spcAft>
                  <a:spcPts val="0"/>
                </a:spcAft>
                <a:defRPr/>
              </a:pPr>
              <a:r>
                <a:rPr lang="en-US" dirty="0">
                  <a:solidFill>
                    <a:schemeClr val="tx1"/>
                  </a:solidFill>
                  <a:latin typeface="Segoe UI"/>
                </a:rPr>
                <a:t>Automatically replicate data to any number of regions for fast, responsive access without the hassle of multiple-datacenter configurations</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2017475"/>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2000" dirty="0">
                  <a:gradFill>
                    <a:gsLst>
                      <a:gs pos="0">
                        <a:srgbClr val="0078D7"/>
                      </a:gs>
                      <a:gs pos="74000">
                        <a:srgbClr val="0078D7"/>
                      </a:gs>
                    </a:gsLst>
                    <a:lin ang="5400000" scaled="1"/>
                  </a:gradFill>
                  <a:latin typeface="+mj-lt"/>
                </a:rPr>
                <a:t>Industry-leading</a:t>
              </a:r>
            </a:p>
            <a:p>
              <a:pPr lvl="1">
                <a:spcBef>
                  <a:spcPts val="600"/>
                </a:spcBef>
                <a:spcAft>
                  <a:spcPts val="0"/>
                </a:spcAft>
                <a:defRPr/>
              </a:pPr>
              <a:r>
                <a:rPr lang="en-US" dirty="0">
                  <a:solidFill>
                    <a:schemeClr val="tx1"/>
                  </a:solidFill>
                  <a:latin typeface="Segoe UI"/>
                </a:rPr>
                <a:t>Benefit from the first service to offer 99.999% high availability, latency at the 99th percentile, guaranteed throughput, and consistency</a:t>
              </a:r>
            </a:p>
            <a:p>
              <a:pPr lvl="0">
                <a:defRPr/>
              </a:pPr>
              <a:endParaRPr lang="en-US" sz="2000" dirty="0">
                <a:gradFill>
                  <a:gsLst>
                    <a:gs pos="0">
                      <a:srgbClr val="0078D7"/>
                    </a:gs>
                    <a:gs pos="74000">
                      <a:srgbClr val="0078D7"/>
                    </a:gs>
                  </a:gsLst>
                  <a:lin ang="5400000" scaled="1"/>
                </a:gradFill>
              </a:endParaRPr>
            </a:p>
          </p:txBody>
        </p:sp>
        <p:sp>
          <p:nvSpPr>
            <p:cNvPr id="47" name="Rocket" title="Icon of a rocket">
              <a:extLst>
                <a:ext uri="{FF2B5EF4-FFF2-40B4-BE49-F238E27FC236}">
                  <a16:creationId xmlns:a16="http://schemas.microsoft.com/office/drawing/2014/main" id="{2FBAFC38-9B7F-4A53-8A37-5DC14DED211E}"/>
                </a:ext>
              </a:extLst>
            </p:cNvPr>
            <p:cNvSpPr>
              <a:spLocks noChangeAspect="1" noEditPoints="1"/>
            </p:cNvSpPr>
            <p:nvPr/>
          </p:nvSpPr>
          <p:spPr bwMode="auto">
            <a:xfrm>
              <a:off x="3542021"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Processing_E9F5" title="Icon of two interlocked gears">
              <a:extLst>
                <a:ext uri="{FF2B5EF4-FFF2-40B4-BE49-F238E27FC236}">
                  <a16:creationId xmlns:a16="http://schemas.microsoft.com/office/drawing/2014/main" id="{2390B0E5-675E-44B2-8BA8-0F8AD446FFE7}"/>
                </a:ext>
              </a:extLst>
            </p:cNvPr>
            <p:cNvSpPr>
              <a:spLocks noChangeAspect="1" noEditPoints="1"/>
            </p:cNvSpPr>
            <p:nvPr/>
          </p:nvSpPr>
          <p:spPr bwMode="auto">
            <a:xfrm flipH="1">
              <a:off x="6216926" y="3481583"/>
              <a:ext cx="706387" cy="61521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83DD4C43-5FE5-4582-956B-E2115E259ACC}"/>
                </a:ext>
              </a:extLst>
            </p:cNvPr>
            <p:cNvGrpSpPr/>
            <p:nvPr/>
          </p:nvGrpSpPr>
          <p:grpSpPr>
            <a:xfrm>
              <a:off x="9610760" y="3668577"/>
              <a:ext cx="2407310" cy="398077"/>
              <a:chOff x="9610760" y="3668577"/>
              <a:chExt cx="2407310" cy="398077"/>
            </a:xfrm>
          </p:grpSpPr>
          <p:sp>
            <p:nvSpPr>
              <p:cNvPr id="49" name="Star rating" title="Icon of three stars">
                <a:extLst>
                  <a:ext uri="{FF2B5EF4-FFF2-40B4-BE49-F238E27FC236}">
                    <a16:creationId xmlns:a16="http://schemas.microsoft.com/office/drawing/2014/main" id="{87CBAE11-1763-4F9D-83D4-3C47B04ACA6B}"/>
                  </a:ext>
                </a:extLst>
              </p:cNvPr>
              <p:cNvSpPr>
                <a:spLocks noChangeAspect="1" noEditPoints="1"/>
              </p:cNvSpPr>
              <p:nvPr/>
            </p:nvSpPr>
            <p:spPr bwMode="auto">
              <a:xfrm>
                <a:off x="9610760" y="3707842"/>
                <a:ext cx="1061293" cy="283517"/>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0" name="Star rating" title="Icon of three stars">
                <a:extLst>
                  <a:ext uri="{FF2B5EF4-FFF2-40B4-BE49-F238E27FC236}">
                    <a16:creationId xmlns:a16="http://schemas.microsoft.com/office/drawing/2014/main" id="{60E29333-1D2C-4753-A0C0-5A17D9A9D6F7}"/>
                  </a:ext>
                </a:extLst>
              </p:cNvPr>
              <p:cNvSpPr>
                <a:spLocks noChangeAspect="1" noEditPoints="1"/>
              </p:cNvSpPr>
              <p:nvPr/>
            </p:nvSpPr>
            <p:spPr bwMode="auto">
              <a:xfrm>
                <a:off x="10796465" y="3707842"/>
                <a:ext cx="1061293" cy="283517"/>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Rectangle 5">
                <a:extLst>
                  <a:ext uri="{FF2B5EF4-FFF2-40B4-BE49-F238E27FC236}">
                    <a16:creationId xmlns:a16="http://schemas.microsoft.com/office/drawing/2014/main" id="{0465529E-CB0B-4161-8EA8-861D9B27E82B}"/>
                  </a:ext>
                </a:extLst>
              </p:cNvPr>
              <p:cNvSpPr/>
              <p:nvPr/>
            </p:nvSpPr>
            <p:spPr bwMode="auto">
              <a:xfrm>
                <a:off x="11545798" y="3668577"/>
                <a:ext cx="472272" cy="398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89BBF619-3796-456D-8CE7-D4A16016851A}"/>
                </a:ext>
              </a:extLst>
            </p:cNvPr>
            <p:cNvGrpSpPr>
              <a:grpSpLocks noChangeAspect="1"/>
            </p:cNvGrpSpPr>
            <p:nvPr/>
          </p:nvGrpSpPr>
          <p:grpSpPr>
            <a:xfrm>
              <a:off x="444043" y="3494175"/>
              <a:ext cx="928963" cy="512093"/>
              <a:chOff x="9569872" y="2014913"/>
              <a:chExt cx="868086" cy="478535"/>
            </a:xfrm>
          </p:grpSpPr>
          <p:sp>
            <p:nvSpPr>
              <p:cNvPr id="78" name="Shape 4978">
                <a:extLst>
                  <a:ext uri="{FF2B5EF4-FFF2-40B4-BE49-F238E27FC236}">
                    <a16:creationId xmlns:a16="http://schemas.microsoft.com/office/drawing/2014/main" id="{3EBB0CCA-A1FC-4D47-A052-C6DD5572AA94}"/>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9" name="Shape 4978">
                <a:extLst>
                  <a:ext uri="{FF2B5EF4-FFF2-40B4-BE49-F238E27FC236}">
                    <a16:creationId xmlns:a16="http://schemas.microsoft.com/office/drawing/2014/main" id="{4B0E045A-80F9-4847-B16C-831E01F1E5F5}"/>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80" name="Freeform: Shape 27">
                <a:extLst>
                  <a:ext uri="{FF2B5EF4-FFF2-40B4-BE49-F238E27FC236}">
                    <a16:creationId xmlns:a16="http://schemas.microsoft.com/office/drawing/2014/main" id="{330F9C98-8E51-44AA-BD45-6395120E8095}"/>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5" name="Group 34">
            <a:extLst>
              <a:ext uri="{FF2B5EF4-FFF2-40B4-BE49-F238E27FC236}">
                <a16:creationId xmlns:a16="http://schemas.microsoft.com/office/drawing/2014/main" id="{0AC2FE52-4539-4889-8757-ED7848CF8A7A}"/>
              </a:ext>
            </a:extLst>
          </p:cNvPr>
          <p:cNvGrpSpPr/>
          <p:nvPr/>
        </p:nvGrpSpPr>
        <p:grpSpPr>
          <a:xfrm>
            <a:off x="10204638" y="280339"/>
            <a:ext cx="934829" cy="869913"/>
            <a:chOff x="8487329" y="5128189"/>
            <a:chExt cx="422610" cy="393266"/>
          </a:xfrm>
        </p:grpSpPr>
        <p:sp>
          <p:nvSpPr>
            <p:cNvPr id="36" name="Freeform: Shape 35">
              <a:extLst>
                <a:ext uri="{FF2B5EF4-FFF2-40B4-BE49-F238E27FC236}">
                  <a16:creationId xmlns:a16="http://schemas.microsoft.com/office/drawing/2014/main" id="{6F8DBAD9-D5CF-4F3E-9F0A-4C0B9C446323}"/>
                </a:ext>
              </a:extLst>
            </p:cNvPr>
            <p:cNvSpPr/>
            <p:nvPr/>
          </p:nvSpPr>
          <p:spPr>
            <a:xfrm>
              <a:off x="8561200" y="5194227"/>
              <a:ext cx="283887" cy="283887"/>
            </a:xfrm>
            <a:custGeom>
              <a:avLst/>
              <a:gdLst>
                <a:gd name="connsiteX0" fmla="*/ 154317 w 157548"/>
                <a:gd name="connsiteY0" fmla="*/ 62745 h 157548"/>
                <a:gd name="connsiteX1" fmla="*/ 97785 w 157548"/>
                <a:gd name="connsiteY1" fmla="*/ 154958 h 157548"/>
                <a:gd name="connsiteX2" fmla="*/ 5573 w 157548"/>
                <a:gd name="connsiteY2" fmla="*/ 98426 h 157548"/>
                <a:gd name="connsiteX3" fmla="*/ 62105 w 157548"/>
                <a:gd name="connsiteY3" fmla="*/ 5750 h 157548"/>
                <a:gd name="connsiteX4" fmla="*/ 62105 w 157548"/>
                <a:gd name="connsiteY4" fmla="*/ 5750 h 157548"/>
                <a:gd name="connsiteX5" fmla="*/ 154317 w 157548"/>
                <a:gd name="connsiteY5" fmla="*/ 61819 h 157548"/>
                <a:gd name="connsiteX6" fmla="*/ 154317 w 157548"/>
                <a:gd name="connsiteY6" fmla="*/ 62745 h 15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548" h="157548">
                  <a:moveTo>
                    <a:pt x="154317" y="62745"/>
                  </a:moveTo>
                  <a:cubicBezTo>
                    <a:pt x="164048" y="103986"/>
                    <a:pt x="139026" y="145227"/>
                    <a:pt x="97785" y="154958"/>
                  </a:cubicBezTo>
                  <a:cubicBezTo>
                    <a:pt x="56544" y="164689"/>
                    <a:pt x="15304" y="139666"/>
                    <a:pt x="5573" y="98426"/>
                  </a:cubicBezTo>
                  <a:cubicBezTo>
                    <a:pt x="-4158" y="57185"/>
                    <a:pt x="20864" y="15944"/>
                    <a:pt x="62105" y="5750"/>
                  </a:cubicBezTo>
                  <a:cubicBezTo>
                    <a:pt x="62105" y="5750"/>
                    <a:pt x="62105" y="5750"/>
                    <a:pt x="62105" y="5750"/>
                  </a:cubicBezTo>
                  <a:cubicBezTo>
                    <a:pt x="102882" y="-4445"/>
                    <a:pt x="144123" y="20578"/>
                    <a:pt x="154317" y="61819"/>
                  </a:cubicBezTo>
                  <a:cubicBezTo>
                    <a:pt x="153854" y="62282"/>
                    <a:pt x="154317" y="62745"/>
                    <a:pt x="154317" y="62745"/>
                  </a:cubicBezTo>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CCFAEE0-CD1B-4DF4-A9D2-E6F42271FD94}"/>
                </a:ext>
              </a:extLst>
            </p:cNvPr>
            <p:cNvSpPr/>
            <p:nvPr/>
          </p:nvSpPr>
          <p:spPr>
            <a:xfrm>
              <a:off x="8559937" y="5306869"/>
              <a:ext cx="125245" cy="125245"/>
            </a:xfrm>
            <a:custGeom>
              <a:avLst/>
              <a:gdLst>
                <a:gd name="connsiteX0" fmla="*/ 69758 w 69506"/>
                <a:gd name="connsiteY0" fmla="*/ 48886 h 69506"/>
                <a:gd name="connsiteX1" fmla="*/ 49369 w 69506"/>
                <a:gd name="connsiteY1" fmla="*/ 28498 h 69506"/>
                <a:gd name="connsiteX2" fmla="*/ 46125 w 69506"/>
                <a:gd name="connsiteY2" fmla="*/ 28498 h 69506"/>
                <a:gd name="connsiteX3" fmla="*/ 31297 w 69506"/>
                <a:gd name="connsiteY3" fmla="*/ 3939 h 69506"/>
                <a:gd name="connsiteX4" fmla="*/ 26200 w 69506"/>
                <a:gd name="connsiteY4" fmla="*/ 3475 h 69506"/>
                <a:gd name="connsiteX5" fmla="*/ 4885 w 69506"/>
                <a:gd name="connsiteY5" fmla="*/ 3475 h 69506"/>
                <a:gd name="connsiteX6" fmla="*/ 23420 w 69506"/>
                <a:gd name="connsiteY6" fmla="*/ 68812 h 69506"/>
                <a:gd name="connsiteX7" fmla="*/ 48906 w 69506"/>
                <a:gd name="connsiteY7" fmla="*/ 68812 h 69506"/>
                <a:gd name="connsiteX8" fmla="*/ 69758 w 69506"/>
                <a:gd name="connsiteY8" fmla="*/ 48886 h 6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06" h="69506">
                  <a:moveTo>
                    <a:pt x="69758" y="48886"/>
                  </a:moveTo>
                  <a:cubicBezTo>
                    <a:pt x="69758" y="37765"/>
                    <a:pt x="60490" y="28498"/>
                    <a:pt x="49369" y="28498"/>
                  </a:cubicBezTo>
                  <a:lnTo>
                    <a:pt x="46125" y="28498"/>
                  </a:lnTo>
                  <a:cubicBezTo>
                    <a:pt x="48906" y="17840"/>
                    <a:pt x="41955" y="6719"/>
                    <a:pt x="31297" y="3939"/>
                  </a:cubicBezTo>
                  <a:cubicBezTo>
                    <a:pt x="29907" y="3475"/>
                    <a:pt x="28054" y="3475"/>
                    <a:pt x="26200" y="3475"/>
                  </a:cubicBezTo>
                  <a:lnTo>
                    <a:pt x="4885" y="3475"/>
                  </a:lnTo>
                  <a:cubicBezTo>
                    <a:pt x="251" y="27108"/>
                    <a:pt x="7201" y="51203"/>
                    <a:pt x="23420" y="68812"/>
                  </a:cubicBezTo>
                  <a:lnTo>
                    <a:pt x="48906" y="68812"/>
                  </a:lnTo>
                  <a:cubicBezTo>
                    <a:pt x="60490" y="69275"/>
                    <a:pt x="69758" y="60008"/>
                    <a:pt x="69758" y="48886"/>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332B197F-56DE-44CF-BD83-0FDEAF43B51C}"/>
                </a:ext>
              </a:extLst>
            </p:cNvPr>
            <p:cNvSpPr/>
            <p:nvPr/>
          </p:nvSpPr>
          <p:spPr>
            <a:xfrm>
              <a:off x="8671020" y="5213309"/>
              <a:ext cx="175341" cy="116895"/>
            </a:xfrm>
            <a:custGeom>
              <a:avLst/>
              <a:gdLst>
                <a:gd name="connsiteX0" fmla="*/ 33131 w 97309"/>
                <a:gd name="connsiteY0" fmla="*/ 16475 h 64872"/>
                <a:gd name="connsiteX1" fmla="*/ 33595 w 97309"/>
                <a:gd name="connsiteY1" fmla="*/ 20182 h 64872"/>
                <a:gd name="connsiteX2" fmla="*/ 24791 w 97309"/>
                <a:gd name="connsiteY2" fmla="*/ 20182 h 64872"/>
                <a:gd name="connsiteX3" fmla="*/ 3475 w 97309"/>
                <a:gd name="connsiteY3" fmla="*/ 41497 h 64872"/>
                <a:gd name="connsiteX4" fmla="*/ 24791 w 97309"/>
                <a:gd name="connsiteY4" fmla="*/ 62813 h 64872"/>
                <a:gd name="connsiteX5" fmla="*/ 94761 w 97309"/>
                <a:gd name="connsiteY5" fmla="*/ 62813 h 64872"/>
                <a:gd name="connsiteX6" fmla="*/ 55374 w 97309"/>
                <a:gd name="connsiteY6" fmla="*/ 3500 h 64872"/>
                <a:gd name="connsiteX7" fmla="*/ 47033 w 97309"/>
                <a:gd name="connsiteY7" fmla="*/ 3500 h 64872"/>
                <a:gd name="connsiteX8" fmla="*/ 33131 w 97309"/>
                <a:gd name="connsiteY8" fmla="*/ 16475 h 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09" h="64872">
                  <a:moveTo>
                    <a:pt x="33131" y="16475"/>
                  </a:moveTo>
                  <a:cubicBezTo>
                    <a:pt x="33131" y="17865"/>
                    <a:pt x="33131" y="18792"/>
                    <a:pt x="33595" y="20182"/>
                  </a:cubicBezTo>
                  <a:lnTo>
                    <a:pt x="24791" y="20182"/>
                  </a:lnTo>
                  <a:cubicBezTo>
                    <a:pt x="13206" y="20182"/>
                    <a:pt x="3475" y="29450"/>
                    <a:pt x="3475" y="41497"/>
                  </a:cubicBezTo>
                  <a:cubicBezTo>
                    <a:pt x="3475" y="53082"/>
                    <a:pt x="12743" y="62813"/>
                    <a:pt x="24791" y="62813"/>
                  </a:cubicBezTo>
                  <a:lnTo>
                    <a:pt x="94761" y="62813"/>
                  </a:lnTo>
                  <a:cubicBezTo>
                    <a:pt x="92444" y="37791"/>
                    <a:pt x="77616" y="15085"/>
                    <a:pt x="55374" y="3500"/>
                  </a:cubicBezTo>
                  <a:lnTo>
                    <a:pt x="47033" y="3500"/>
                  </a:lnTo>
                  <a:cubicBezTo>
                    <a:pt x="39156" y="3037"/>
                    <a:pt x="33131" y="9061"/>
                    <a:pt x="33131" y="16475"/>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198283AB-C8BE-4CD7-B8F8-5E9CAA148668}"/>
                </a:ext>
              </a:extLst>
            </p:cNvPr>
            <p:cNvSpPr/>
            <p:nvPr/>
          </p:nvSpPr>
          <p:spPr>
            <a:xfrm>
              <a:off x="8711325" y="5347783"/>
              <a:ext cx="133595" cy="116895"/>
            </a:xfrm>
            <a:custGeom>
              <a:avLst/>
              <a:gdLst>
                <a:gd name="connsiteX0" fmla="*/ 72393 w 74140"/>
                <a:gd name="connsiteY0" fmla="*/ 3475 h 64872"/>
                <a:gd name="connsiteX1" fmla="*/ 30689 w 74140"/>
                <a:gd name="connsiteY1" fmla="*/ 3475 h 64872"/>
                <a:gd name="connsiteX2" fmla="*/ 13544 w 74140"/>
                <a:gd name="connsiteY2" fmla="*/ 20620 h 64872"/>
                <a:gd name="connsiteX3" fmla="*/ 15398 w 74140"/>
                <a:gd name="connsiteY3" fmla="*/ 28961 h 64872"/>
                <a:gd name="connsiteX4" fmla="*/ 4277 w 74140"/>
                <a:gd name="connsiteY4" fmla="*/ 50276 h 64872"/>
                <a:gd name="connsiteX5" fmla="*/ 20958 w 74140"/>
                <a:gd name="connsiteY5" fmla="*/ 62324 h 64872"/>
                <a:gd name="connsiteX6" fmla="*/ 32543 w 74140"/>
                <a:gd name="connsiteY6" fmla="*/ 62324 h 64872"/>
                <a:gd name="connsiteX7" fmla="*/ 72393 w 74140"/>
                <a:gd name="connsiteY7" fmla="*/ 3475 h 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40" h="64872">
                  <a:moveTo>
                    <a:pt x="72393" y="3475"/>
                  </a:moveTo>
                  <a:lnTo>
                    <a:pt x="30689" y="3475"/>
                  </a:lnTo>
                  <a:cubicBezTo>
                    <a:pt x="20958" y="3475"/>
                    <a:pt x="13544" y="11353"/>
                    <a:pt x="13544" y="20620"/>
                  </a:cubicBezTo>
                  <a:cubicBezTo>
                    <a:pt x="13544" y="23401"/>
                    <a:pt x="14471" y="26181"/>
                    <a:pt x="15398" y="28961"/>
                  </a:cubicBezTo>
                  <a:cubicBezTo>
                    <a:pt x="6130" y="31741"/>
                    <a:pt x="1496" y="41472"/>
                    <a:pt x="4277" y="50276"/>
                  </a:cubicBezTo>
                  <a:cubicBezTo>
                    <a:pt x="6594" y="57691"/>
                    <a:pt x="13081" y="62324"/>
                    <a:pt x="20958" y="62324"/>
                  </a:cubicBezTo>
                  <a:lnTo>
                    <a:pt x="32543" y="62324"/>
                  </a:lnTo>
                  <a:cubicBezTo>
                    <a:pt x="54785" y="50740"/>
                    <a:pt x="69613" y="28498"/>
                    <a:pt x="72393" y="3475"/>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D6B00D1-1DE5-4EBA-BF54-B4A265E59F20}"/>
                </a:ext>
              </a:extLst>
            </p:cNvPr>
            <p:cNvSpPr/>
            <p:nvPr/>
          </p:nvSpPr>
          <p:spPr>
            <a:xfrm>
              <a:off x="8487329" y="5128189"/>
              <a:ext cx="125245" cy="125245"/>
            </a:xfrm>
            <a:custGeom>
              <a:avLst/>
              <a:gdLst>
                <a:gd name="connsiteX0" fmla="*/ 34985 w 69506"/>
                <a:gd name="connsiteY0" fmla="*/ 66495 h 69506"/>
                <a:gd name="connsiteX1" fmla="*/ 32668 w 69506"/>
                <a:gd name="connsiteY1" fmla="*/ 64178 h 69506"/>
                <a:gd name="connsiteX2" fmla="*/ 32668 w 69506"/>
                <a:gd name="connsiteY2" fmla="*/ 64178 h 69506"/>
                <a:gd name="connsiteX3" fmla="*/ 5792 w 69506"/>
                <a:gd name="connsiteY3" fmla="*/ 37302 h 69506"/>
                <a:gd name="connsiteX4" fmla="*/ 3475 w 69506"/>
                <a:gd name="connsiteY4" fmla="*/ 34985 h 69506"/>
                <a:gd name="connsiteX5" fmla="*/ 5792 w 69506"/>
                <a:gd name="connsiteY5" fmla="*/ 32668 h 69506"/>
                <a:gd name="connsiteX6" fmla="*/ 32668 w 69506"/>
                <a:gd name="connsiteY6" fmla="*/ 5792 h 69506"/>
                <a:gd name="connsiteX7" fmla="*/ 34985 w 69506"/>
                <a:gd name="connsiteY7" fmla="*/ 3475 h 69506"/>
                <a:gd name="connsiteX8" fmla="*/ 37302 w 69506"/>
                <a:gd name="connsiteY8" fmla="*/ 5792 h 69506"/>
                <a:gd name="connsiteX9" fmla="*/ 64178 w 69506"/>
                <a:gd name="connsiteY9" fmla="*/ 32668 h 69506"/>
                <a:gd name="connsiteX10" fmla="*/ 66495 w 69506"/>
                <a:gd name="connsiteY10" fmla="*/ 34985 h 69506"/>
                <a:gd name="connsiteX11" fmla="*/ 64178 w 69506"/>
                <a:gd name="connsiteY11" fmla="*/ 37302 h 69506"/>
                <a:gd name="connsiteX12" fmla="*/ 37302 w 69506"/>
                <a:gd name="connsiteY12" fmla="*/ 64178 h 69506"/>
                <a:gd name="connsiteX13" fmla="*/ 34985 w 69506"/>
                <a:gd name="connsiteY13" fmla="*/ 66495 h 6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06" h="69506">
                  <a:moveTo>
                    <a:pt x="34985" y="66495"/>
                  </a:moveTo>
                  <a:cubicBezTo>
                    <a:pt x="33595" y="66495"/>
                    <a:pt x="32668" y="65568"/>
                    <a:pt x="32668" y="64178"/>
                  </a:cubicBezTo>
                  <a:lnTo>
                    <a:pt x="32668" y="64178"/>
                  </a:lnTo>
                  <a:cubicBezTo>
                    <a:pt x="32668" y="49350"/>
                    <a:pt x="20620" y="37302"/>
                    <a:pt x="5792" y="37302"/>
                  </a:cubicBezTo>
                  <a:cubicBezTo>
                    <a:pt x="4402" y="37302"/>
                    <a:pt x="3475" y="36375"/>
                    <a:pt x="3475" y="34985"/>
                  </a:cubicBezTo>
                  <a:cubicBezTo>
                    <a:pt x="3475" y="33595"/>
                    <a:pt x="4402" y="32668"/>
                    <a:pt x="5792" y="32668"/>
                  </a:cubicBezTo>
                  <a:cubicBezTo>
                    <a:pt x="20620" y="32668"/>
                    <a:pt x="32668" y="20620"/>
                    <a:pt x="32668" y="5792"/>
                  </a:cubicBezTo>
                  <a:cubicBezTo>
                    <a:pt x="32668" y="4402"/>
                    <a:pt x="34058" y="3475"/>
                    <a:pt x="34985" y="3475"/>
                  </a:cubicBezTo>
                  <a:cubicBezTo>
                    <a:pt x="36375" y="3475"/>
                    <a:pt x="37302" y="4402"/>
                    <a:pt x="37302" y="5792"/>
                  </a:cubicBezTo>
                  <a:cubicBezTo>
                    <a:pt x="37302" y="20620"/>
                    <a:pt x="49350" y="32668"/>
                    <a:pt x="64178" y="32668"/>
                  </a:cubicBezTo>
                  <a:cubicBezTo>
                    <a:pt x="65568" y="32668"/>
                    <a:pt x="66495" y="33595"/>
                    <a:pt x="66495" y="34985"/>
                  </a:cubicBezTo>
                  <a:cubicBezTo>
                    <a:pt x="66495" y="36375"/>
                    <a:pt x="65568" y="37302"/>
                    <a:pt x="64178" y="37302"/>
                  </a:cubicBezTo>
                  <a:cubicBezTo>
                    <a:pt x="49350" y="37302"/>
                    <a:pt x="37302" y="49350"/>
                    <a:pt x="37302" y="64178"/>
                  </a:cubicBezTo>
                  <a:cubicBezTo>
                    <a:pt x="37302" y="65568"/>
                    <a:pt x="36375" y="66495"/>
                    <a:pt x="34985" y="66495"/>
                  </a:cubicBezTo>
                </a:path>
              </a:pathLst>
            </a:custGeom>
            <a:solidFill>
              <a:srgbClr val="B8D43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7DF66985-E7C1-49F9-91C5-E92FB87AF496}"/>
                </a:ext>
              </a:extLst>
            </p:cNvPr>
            <p:cNvSpPr/>
            <p:nvPr/>
          </p:nvSpPr>
          <p:spPr>
            <a:xfrm>
              <a:off x="8807119" y="5446309"/>
              <a:ext cx="75146" cy="75146"/>
            </a:xfrm>
            <a:custGeom>
              <a:avLst/>
              <a:gdLst>
                <a:gd name="connsiteX0" fmla="*/ 22474 w 41704"/>
                <a:gd name="connsiteY0" fmla="*/ 40546 h 41704"/>
                <a:gd name="connsiteX1" fmla="*/ 21084 w 41704"/>
                <a:gd name="connsiteY1" fmla="*/ 39156 h 41704"/>
                <a:gd name="connsiteX2" fmla="*/ 4865 w 41704"/>
                <a:gd name="connsiteY2" fmla="*/ 23401 h 41704"/>
                <a:gd name="connsiteX3" fmla="*/ 3475 w 41704"/>
                <a:gd name="connsiteY3" fmla="*/ 22010 h 41704"/>
                <a:gd name="connsiteX4" fmla="*/ 4865 w 41704"/>
                <a:gd name="connsiteY4" fmla="*/ 20620 h 41704"/>
                <a:gd name="connsiteX5" fmla="*/ 4865 w 41704"/>
                <a:gd name="connsiteY5" fmla="*/ 20620 h 41704"/>
                <a:gd name="connsiteX6" fmla="*/ 21084 w 41704"/>
                <a:gd name="connsiteY6" fmla="*/ 4865 h 41704"/>
                <a:gd name="connsiteX7" fmla="*/ 22474 w 41704"/>
                <a:gd name="connsiteY7" fmla="*/ 3475 h 41704"/>
                <a:gd name="connsiteX8" fmla="*/ 23864 w 41704"/>
                <a:gd name="connsiteY8" fmla="*/ 4865 h 41704"/>
                <a:gd name="connsiteX9" fmla="*/ 40082 w 41704"/>
                <a:gd name="connsiteY9" fmla="*/ 20620 h 41704"/>
                <a:gd name="connsiteX10" fmla="*/ 41472 w 41704"/>
                <a:gd name="connsiteY10" fmla="*/ 22010 h 41704"/>
                <a:gd name="connsiteX11" fmla="*/ 40082 w 41704"/>
                <a:gd name="connsiteY11" fmla="*/ 23401 h 41704"/>
                <a:gd name="connsiteX12" fmla="*/ 40082 w 41704"/>
                <a:gd name="connsiteY12" fmla="*/ 23401 h 41704"/>
                <a:gd name="connsiteX13" fmla="*/ 23864 w 41704"/>
                <a:gd name="connsiteY13" fmla="*/ 39156 h 41704"/>
                <a:gd name="connsiteX14" fmla="*/ 22474 w 41704"/>
                <a:gd name="connsiteY14" fmla="*/ 40546 h 41704"/>
                <a:gd name="connsiteX15" fmla="*/ 22474 w 41704"/>
                <a:gd name="connsiteY15" fmla="*/ 40546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04" h="41704">
                  <a:moveTo>
                    <a:pt x="22474" y="40546"/>
                  </a:moveTo>
                  <a:cubicBezTo>
                    <a:pt x="21547" y="40546"/>
                    <a:pt x="21084" y="40082"/>
                    <a:pt x="21084" y="39156"/>
                  </a:cubicBezTo>
                  <a:cubicBezTo>
                    <a:pt x="21084" y="30351"/>
                    <a:pt x="13670" y="23401"/>
                    <a:pt x="4865" y="23401"/>
                  </a:cubicBezTo>
                  <a:cubicBezTo>
                    <a:pt x="3939" y="23401"/>
                    <a:pt x="3475" y="22937"/>
                    <a:pt x="3475" y="22010"/>
                  </a:cubicBezTo>
                  <a:cubicBezTo>
                    <a:pt x="3475" y="21084"/>
                    <a:pt x="3939" y="20620"/>
                    <a:pt x="4865" y="20620"/>
                  </a:cubicBezTo>
                  <a:lnTo>
                    <a:pt x="4865" y="20620"/>
                  </a:lnTo>
                  <a:cubicBezTo>
                    <a:pt x="13670" y="20620"/>
                    <a:pt x="21084" y="13670"/>
                    <a:pt x="21084" y="4865"/>
                  </a:cubicBezTo>
                  <a:cubicBezTo>
                    <a:pt x="21084" y="3939"/>
                    <a:pt x="21547" y="3475"/>
                    <a:pt x="22474" y="3475"/>
                  </a:cubicBezTo>
                  <a:cubicBezTo>
                    <a:pt x="23401" y="3475"/>
                    <a:pt x="23864" y="3939"/>
                    <a:pt x="23864" y="4865"/>
                  </a:cubicBezTo>
                  <a:cubicBezTo>
                    <a:pt x="23864" y="13670"/>
                    <a:pt x="31278" y="20620"/>
                    <a:pt x="40082" y="20620"/>
                  </a:cubicBezTo>
                  <a:cubicBezTo>
                    <a:pt x="41009" y="20620"/>
                    <a:pt x="41472" y="21084"/>
                    <a:pt x="41472" y="22010"/>
                  </a:cubicBezTo>
                  <a:cubicBezTo>
                    <a:pt x="41472" y="22937"/>
                    <a:pt x="41009" y="23401"/>
                    <a:pt x="40082" y="23401"/>
                  </a:cubicBezTo>
                  <a:lnTo>
                    <a:pt x="40082" y="23401"/>
                  </a:lnTo>
                  <a:cubicBezTo>
                    <a:pt x="31278" y="23401"/>
                    <a:pt x="23864" y="30351"/>
                    <a:pt x="23864" y="39156"/>
                  </a:cubicBezTo>
                  <a:cubicBezTo>
                    <a:pt x="24327" y="39619"/>
                    <a:pt x="23401" y="40546"/>
                    <a:pt x="22474" y="40546"/>
                  </a:cubicBezTo>
                  <a:lnTo>
                    <a:pt x="22474" y="40546"/>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3E533F54-CDC4-443A-96B6-AC9B47EDC482}"/>
                </a:ext>
              </a:extLst>
            </p:cNvPr>
            <p:cNvSpPr/>
            <p:nvPr/>
          </p:nvSpPr>
          <p:spPr>
            <a:xfrm>
              <a:off x="8492459" y="5188237"/>
              <a:ext cx="417480" cy="292236"/>
            </a:xfrm>
            <a:custGeom>
              <a:avLst/>
              <a:gdLst>
                <a:gd name="connsiteX0" fmla="*/ 229537 w 231689"/>
                <a:gd name="connsiteY0" fmla="*/ 15098 h 162182"/>
                <a:gd name="connsiteX1" fmla="*/ 176248 w 231689"/>
                <a:gd name="connsiteY1" fmla="*/ 7220 h 162182"/>
                <a:gd name="connsiteX2" fmla="*/ 151226 w 231689"/>
                <a:gd name="connsiteY2" fmla="*/ 15098 h 162182"/>
                <a:gd name="connsiteX3" fmla="*/ 166054 w 231689"/>
                <a:gd name="connsiteY3" fmla="*/ 24365 h 162182"/>
                <a:gd name="connsiteX4" fmla="*/ 179492 w 231689"/>
                <a:gd name="connsiteY4" fmla="*/ 20195 h 162182"/>
                <a:gd name="connsiteX5" fmla="*/ 201734 w 231689"/>
                <a:gd name="connsiteY5" fmla="*/ 16951 h 162182"/>
                <a:gd name="connsiteX6" fmla="*/ 217489 w 231689"/>
                <a:gd name="connsiteY6" fmla="*/ 22048 h 162182"/>
                <a:gd name="connsiteX7" fmla="*/ 201734 w 231689"/>
                <a:gd name="connsiteY7" fmla="*/ 56802 h 162182"/>
                <a:gd name="connsiteX8" fmla="*/ 192466 w 231689"/>
                <a:gd name="connsiteY8" fmla="*/ 66533 h 162182"/>
                <a:gd name="connsiteX9" fmla="*/ 135008 w 231689"/>
                <a:gd name="connsiteY9" fmla="*/ 110554 h 162182"/>
                <a:gd name="connsiteX10" fmla="*/ 69208 w 231689"/>
                <a:gd name="connsiteY10" fmla="*/ 142063 h 162182"/>
                <a:gd name="connsiteX11" fmla="*/ 18236 w 231689"/>
                <a:gd name="connsiteY11" fmla="*/ 143917 h 162182"/>
                <a:gd name="connsiteX12" fmla="*/ 43259 w 231689"/>
                <a:gd name="connsiteY12" fmla="*/ 99432 h 162182"/>
                <a:gd name="connsiteX13" fmla="*/ 41405 w 231689"/>
                <a:gd name="connsiteY13" fmla="*/ 81824 h 162182"/>
                <a:gd name="connsiteX14" fmla="*/ 6188 w 231689"/>
                <a:gd name="connsiteY14" fmla="*/ 151331 h 162182"/>
                <a:gd name="connsiteX15" fmla="*/ 34454 w 231689"/>
                <a:gd name="connsiteY15" fmla="*/ 162915 h 162182"/>
                <a:gd name="connsiteX16" fmla="*/ 83572 w 231689"/>
                <a:gd name="connsiteY16" fmla="*/ 152258 h 162182"/>
                <a:gd name="connsiteX17" fmla="*/ 141958 w 231689"/>
                <a:gd name="connsiteY17" fmla="*/ 123065 h 162182"/>
                <a:gd name="connsiteX18" fmla="*/ 194320 w 231689"/>
                <a:gd name="connsiteY18" fmla="*/ 84141 h 162182"/>
                <a:gd name="connsiteX19" fmla="*/ 212392 w 231689"/>
                <a:gd name="connsiteY19" fmla="*/ 66069 h 162182"/>
                <a:gd name="connsiteX20" fmla="*/ 229537 w 231689"/>
                <a:gd name="connsiteY20" fmla="*/ 15098 h 1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1689" h="162182">
                  <a:moveTo>
                    <a:pt x="229537" y="15098"/>
                  </a:moveTo>
                  <a:cubicBezTo>
                    <a:pt x="222123" y="3050"/>
                    <a:pt x="204051" y="270"/>
                    <a:pt x="176248" y="7220"/>
                  </a:cubicBezTo>
                  <a:cubicBezTo>
                    <a:pt x="167907" y="9537"/>
                    <a:pt x="159103" y="11854"/>
                    <a:pt x="151226" y="15098"/>
                  </a:cubicBezTo>
                  <a:cubicBezTo>
                    <a:pt x="156323" y="17878"/>
                    <a:pt x="161420" y="20658"/>
                    <a:pt x="166054" y="24365"/>
                  </a:cubicBezTo>
                  <a:cubicBezTo>
                    <a:pt x="170688" y="22975"/>
                    <a:pt x="175322" y="21585"/>
                    <a:pt x="179492" y="20195"/>
                  </a:cubicBezTo>
                  <a:cubicBezTo>
                    <a:pt x="186906" y="18341"/>
                    <a:pt x="194320" y="17414"/>
                    <a:pt x="201734" y="16951"/>
                  </a:cubicBezTo>
                  <a:cubicBezTo>
                    <a:pt x="210538" y="16951"/>
                    <a:pt x="215635" y="19268"/>
                    <a:pt x="217489" y="22048"/>
                  </a:cubicBezTo>
                  <a:cubicBezTo>
                    <a:pt x="220269" y="26682"/>
                    <a:pt x="217489" y="38266"/>
                    <a:pt x="201734" y="56802"/>
                  </a:cubicBezTo>
                  <a:cubicBezTo>
                    <a:pt x="198954" y="60045"/>
                    <a:pt x="195710" y="63289"/>
                    <a:pt x="192466" y="66533"/>
                  </a:cubicBezTo>
                  <a:cubicBezTo>
                    <a:pt x="174858" y="83214"/>
                    <a:pt x="155860" y="98042"/>
                    <a:pt x="135008" y="110554"/>
                  </a:cubicBezTo>
                  <a:cubicBezTo>
                    <a:pt x="114156" y="123528"/>
                    <a:pt x="92377" y="134186"/>
                    <a:pt x="69208" y="142063"/>
                  </a:cubicBezTo>
                  <a:cubicBezTo>
                    <a:pt x="41405" y="151331"/>
                    <a:pt x="22407" y="150868"/>
                    <a:pt x="18236" y="143917"/>
                  </a:cubicBezTo>
                  <a:cubicBezTo>
                    <a:pt x="14066" y="136966"/>
                    <a:pt x="22407" y="119821"/>
                    <a:pt x="43259" y="99432"/>
                  </a:cubicBezTo>
                  <a:cubicBezTo>
                    <a:pt x="41868" y="93409"/>
                    <a:pt x="41405" y="87385"/>
                    <a:pt x="41405" y="81824"/>
                  </a:cubicBezTo>
                  <a:cubicBezTo>
                    <a:pt x="8505" y="111480"/>
                    <a:pt x="-2153" y="137430"/>
                    <a:pt x="6188" y="151331"/>
                  </a:cubicBezTo>
                  <a:cubicBezTo>
                    <a:pt x="10822" y="158745"/>
                    <a:pt x="20553" y="162915"/>
                    <a:pt x="34454" y="162915"/>
                  </a:cubicBezTo>
                  <a:cubicBezTo>
                    <a:pt x="51599" y="161989"/>
                    <a:pt x="67818" y="158745"/>
                    <a:pt x="83572" y="152258"/>
                  </a:cubicBezTo>
                  <a:cubicBezTo>
                    <a:pt x="103961" y="144380"/>
                    <a:pt x="123423" y="134649"/>
                    <a:pt x="141958" y="123065"/>
                  </a:cubicBezTo>
                  <a:cubicBezTo>
                    <a:pt x="160493" y="111944"/>
                    <a:pt x="178102" y="98969"/>
                    <a:pt x="194320" y="84141"/>
                  </a:cubicBezTo>
                  <a:cubicBezTo>
                    <a:pt x="200807" y="78580"/>
                    <a:pt x="206831" y="72557"/>
                    <a:pt x="212392" y="66069"/>
                  </a:cubicBezTo>
                  <a:cubicBezTo>
                    <a:pt x="230927" y="44754"/>
                    <a:pt x="236951" y="27146"/>
                    <a:pt x="229537" y="15098"/>
                  </a:cubicBezTo>
                </a:path>
              </a:pathLst>
            </a:custGeom>
            <a:solidFill>
              <a:srgbClr val="1566B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898554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machine learning studio</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8" name="Group 7">
            <a:extLst>
              <a:ext uri="{FF2B5EF4-FFF2-40B4-BE49-F238E27FC236}">
                <a16:creationId xmlns:a16="http://schemas.microsoft.com/office/drawing/2014/main" id="{EC04F95D-3476-4191-84A9-ADFFDCFD37D4}"/>
              </a:ext>
            </a:extLst>
          </p:cNvPr>
          <p:cNvGrpSpPr/>
          <p:nvPr/>
        </p:nvGrpSpPr>
        <p:grpSpPr>
          <a:xfrm>
            <a:off x="0" y="1400213"/>
            <a:ext cx="12194209" cy="4460696"/>
            <a:chOff x="0" y="1400213"/>
            <a:chExt cx="12194209"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Use Azure Machine Learning to deploy your model into production as a web service in minute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Work with familiar coding languages such as R and Python while benefitting from hundreds of built-in packages and support for custom code</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lexible</a:t>
              </a:r>
            </a:p>
            <a:p>
              <a:pPr lvl="1">
                <a:spcBef>
                  <a:spcPts val="600"/>
                </a:spcBef>
                <a:spcAft>
                  <a:spcPts val="0"/>
                </a:spcAft>
                <a:defRPr/>
              </a:pPr>
              <a:r>
                <a:rPr lang="en-US" dirty="0">
                  <a:solidFill>
                    <a:schemeClr val="tx1"/>
                  </a:solidFill>
                  <a:latin typeface="Segoe UI"/>
                </a:rPr>
                <a:t>Deploy models to production as web services that can be called from any device, anywhere, using any data source</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4357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2000" dirty="0">
                  <a:gradFill>
                    <a:gsLst>
                      <a:gs pos="0">
                        <a:srgbClr val="0078D7"/>
                      </a:gs>
                      <a:gs pos="74000">
                        <a:srgbClr val="0078D7"/>
                      </a:gs>
                    </a:gsLst>
                    <a:lin ang="5400000" scaled="1"/>
                  </a:gradFill>
                  <a:latin typeface="+mj-lt"/>
                </a:rPr>
                <a:t>Shareable</a:t>
              </a:r>
            </a:p>
            <a:p>
              <a:pPr lvl="1">
                <a:spcBef>
                  <a:spcPts val="600"/>
                </a:spcBef>
                <a:spcAft>
                  <a:spcPts val="0"/>
                </a:spcAft>
                <a:defRPr/>
              </a:pPr>
              <a:r>
                <a:rPr lang="en-US" dirty="0">
                  <a:solidFill>
                    <a:schemeClr val="tx1"/>
                  </a:solidFill>
                  <a:latin typeface="Segoe UI"/>
                </a:rPr>
                <a:t>Easily share your solution with the world on the Azure Marketplace</a:t>
              </a:r>
            </a:p>
            <a:p>
              <a:pPr lvl="0">
                <a:defRPr/>
              </a:pPr>
              <a:endParaRPr lang="en-US" sz="2000" dirty="0">
                <a:gradFill>
                  <a:gsLst>
                    <a:gs pos="0">
                      <a:srgbClr val="0078D7"/>
                    </a:gs>
                    <a:gs pos="74000">
                      <a:srgbClr val="0078D7"/>
                    </a:gs>
                  </a:gsLst>
                  <a:lin ang="5400000" scaled="1"/>
                </a:gradFill>
              </a:endParaRPr>
            </a:p>
          </p:txBody>
        </p:sp>
        <p:sp>
          <p:nvSpPr>
            <p:cNvPr id="6" name="Rectangle 5">
              <a:extLst>
                <a:ext uri="{FF2B5EF4-FFF2-40B4-BE49-F238E27FC236}">
                  <a16:creationId xmlns:a16="http://schemas.microsoft.com/office/drawing/2014/main" id="{A7321603-CACD-4F08-B6D3-5539F9EA3735}"/>
                </a:ext>
              </a:extLst>
            </p:cNvPr>
            <p:cNvSpPr/>
            <p:nvPr/>
          </p:nvSpPr>
          <p:spPr>
            <a:xfrm>
              <a:off x="335881" y="1471887"/>
              <a:ext cx="11858328" cy="944874"/>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ully-managed cloud service that enables you to easily build, </a:t>
              </a:r>
            </a:p>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deploy and share predictive analytics solutions</a:t>
              </a:r>
            </a:p>
          </p:txBody>
        </p:sp>
        <p:sp>
          <p:nvSpPr>
            <p:cNvPr id="34" name="Rocket" title="Icon of a rocket">
              <a:extLst>
                <a:ext uri="{FF2B5EF4-FFF2-40B4-BE49-F238E27FC236}">
                  <a16:creationId xmlns:a16="http://schemas.microsoft.com/office/drawing/2014/main" id="{F64BCD57-92C9-4D47-9B1F-9F609DB80B6C}"/>
                </a:ext>
              </a:extLst>
            </p:cNvPr>
            <p:cNvSpPr>
              <a:spLocks noChangeAspect="1" noEditPoints="1"/>
            </p:cNvSpPr>
            <p:nvPr/>
          </p:nvSpPr>
          <p:spPr bwMode="auto">
            <a:xfrm>
              <a:off x="458738"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5" name="arrow_16" title="Icon of two arrows that crisscross">
              <a:extLst>
                <a:ext uri="{FF2B5EF4-FFF2-40B4-BE49-F238E27FC236}">
                  <a16:creationId xmlns:a16="http://schemas.microsoft.com/office/drawing/2014/main" id="{96953127-5D7B-4A1A-864B-836926AA3F5B}"/>
                </a:ext>
              </a:extLst>
            </p:cNvPr>
            <p:cNvSpPr>
              <a:spLocks noChangeAspect="1" noEditPoints="1"/>
            </p:cNvSpPr>
            <p:nvPr/>
          </p:nvSpPr>
          <p:spPr bwMode="auto">
            <a:xfrm>
              <a:off x="3511317" y="3537700"/>
              <a:ext cx="718359" cy="52946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6" name="MiniExpand_E93A" title="Icon of a rectangle on the lower-left inside a larger rectangle with an arrow pointed to the upper-right corner">
              <a:extLst>
                <a:ext uri="{FF2B5EF4-FFF2-40B4-BE49-F238E27FC236}">
                  <a16:creationId xmlns:a16="http://schemas.microsoft.com/office/drawing/2014/main" id="{8D143597-F707-40D0-84B2-898570C7D8A0}"/>
                </a:ext>
              </a:extLst>
            </p:cNvPr>
            <p:cNvSpPr>
              <a:spLocks noChangeAspect="1" noEditPoints="1"/>
            </p:cNvSpPr>
            <p:nvPr/>
          </p:nvSpPr>
          <p:spPr bwMode="auto">
            <a:xfrm>
              <a:off x="6247808" y="3557116"/>
              <a:ext cx="590080" cy="499488"/>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 name="Share_E72D" title="Icon of a square with an arrow pointing out of it">
              <a:extLst>
                <a:ext uri="{FF2B5EF4-FFF2-40B4-BE49-F238E27FC236}">
                  <a16:creationId xmlns:a16="http://schemas.microsoft.com/office/drawing/2014/main" id="{AB651E5B-64C7-4B9D-95B3-8E3B78369E70}"/>
                </a:ext>
              </a:extLst>
            </p:cNvPr>
            <p:cNvSpPr>
              <a:spLocks noChangeAspect="1" noEditPoints="1"/>
            </p:cNvSpPr>
            <p:nvPr/>
          </p:nvSpPr>
          <p:spPr bwMode="auto">
            <a:xfrm>
              <a:off x="9596238" y="3460829"/>
              <a:ext cx="740374" cy="637357"/>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pic>
        <p:nvPicPr>
          <p:cNvPr id="30" name="Picture 4" descr="Related image">
            <a:extLst>
              <a:ext uri="{FF2B5EF4-FFF2-40B4-BE49-F238E27FC236}">
                <a16:creationId xmlns:a16="http://schemas.microsoft.com/office/drawing/2014/main" id="{8E942676-CE5E-42A0-A155-A348C7CCD29B}"/>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69538" y="376014"/>
            <a:ext cx="687840" cy="687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0912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24112"/>
            <a:ext cx="11336039" cy="744014"/>
          </a:xfrm>
        </p:spPr>
        <p:txBody>
          <a:bodyPr vert="horz" wrap="square" lIns="0" tIns="164592" rIns="0" bIns="0" rtlCol="0" anchor="t">
            <a:noAutofit/>
          </a:bodyPr>
          <a:lstStyle/>
          <a:p>
            <a:r>
              <a:rPr lang="en-US" spc="-150">
                <a:solidFill>
                  <a:srgbClr val="0078D7"/>
                </a:solidFill>
              </a:rPr>
              <a:t>Azure HDinsight</a:t>
            </a:r>
            <a:endParaRPr lang="en-US" spc="-150" dirty="0">
              <a:solidFill>
                <a:srgbClr val="0078D7"/>
              </a:solidFill>
            </a:endParaRP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32" name="Group 31">
            <a:extLst>
              <a:ext uri="{FF2B5EF4-FFF2-40B4-BE49-F238E27FC236}">
                <a16:creationId xmlns:a16="http://schemas.microsoft.com/office/drawing/2014/main" id="{32804062-84A2-4431-B741-8E9B3C4D5779}"/>
              </a:ext>
            </a:extLst>
          </p:cNvPr>
          <p:cNvGrpSpPr/>
          <p:nvPr/>
        </p:nvGrpSpPr>
        <p:grpSpPr>
          <a:xfrm>
            <a:off x="10246827" y="353748"/>
            <a:ext cx="1052972" cy="825863"/>
            <a:chOff x="2619237" y="9089991"/>
            <a:chExt cx="402180" cy="315436"/>
          </a:xfrm>
        </p:grpSpPr>
        <p:sp>
          <p:nvSpPr>
            <p:cNvPr id="33" name="Freeform: Shape 32">
              <a:extLst>
                <a:ext uri="{FF2B5EF4-FFF2-40B4-BE49-F238E27FC236}">
                  <a16:creationId xmlns:a16="http://schemas.microsoft.com/office/drawing/2014/main" id="{AE035ED6-EA85-40F2-B3A0-7365BE669931}"/>
                </a:ext>
              </a:extLst>
            </p:cNvPr>
            <p:cNvSpPr/>
            <p:nvPr/>
          </p:nvSpPr>
          <p:spPr>
            <a:xfrm>
              <a:off x="2627008" y="9099438"/>
              <a:ext cx="386408" cy="299666"/>
            </a:xfrm>
            <a:custGeom>
              <a:avLst/>
              <a:gdLst>
                <a:gd name="connsiteX0" fmla="*/ 78611 w 227055"/>
                <a:gd name="connsiteY0" fmla="*/ 37371 h 176083"/>
                <a:gd name="connsiteX1" fmla="*/ 62393 w 227055"/>
                <a:gd name="connsiteY1" fmla="*/ 40151 h 176083"/>
                <a:gd name="connsiteX2" fmla="*/ 48028 w 227055"/>
                <a:gd name="connsiteY2" fmla="*/ 46638 h 176083"/>
                <a:gd name="connsiteX3" fmla="*/ 35517 w 227055"/>
                <a:gd name="connsiteY3" fmla="*/ 54516 h 176083"/>
                <a:gd name="connsiteX4" fmla="*/ 23469 w 227055"/>
                <a:gd name="connsiteY4" fmla="*/ 68880 h 176083"/>
                <a:gd name="connsiteX5" fmla="*/ 16982 w 227055"/>
                <a:gd name="connsiteY5" fmla="*/ 75831 h 176083"/>
                <a:gd name="connsiteX6" fmla="*/ 10495 w 227055"/>
                <a:gd name="connsiteY6" fmla="*/ 78148 h 176083"/>
                <a:gd name="connsiteX7" fmla="*/ 8641 w 227055"/>
                <a:gd name="connsiteY7" fmla="*/ 73978 h 176083"/>
                <a:gd name="connsiteX8" fmla="*/ 11885 w 227055"/>
                <a:gd name="connsiteY8" fmla="*/ 69807 h 176083"/>
                <a:gd name="connsiteX9" fmla="*/ 12348 w 227055"/>
                <a:gd name="connsiteY9" fmla="*/ 63783 h 176083"/>
                <a:gd name="connsiteX10" fmla="*/ 14665 w 227055"/>
                <a:gd name="connsiteY10" fmla="*/ 63783 h 176083"/>
                <a:gd name="connsiteX11" fmla="*/ 16519 w 227055"/>
                <a:gd name="connsiteY11" fmla="*/ 65637 h 176083"/>
                <a:gd name="connsiteX12" fmla="*/ 16055 w 227055"/>
                <a:gd name="connsiteY12" fmla="*/ 59613 h 176083"/>
                <a:gd name="connsiteX13" fmla="*/ 13738 w 227055"/>
                <a:gd name="connsiteY13" fmla="*/ 57759 h 176083"/>
                <a:gd name="connsiteX14" fmla="*/ 13738 w 227055"/>
                <a:gd name="connsiteY14" fmla="*/ 55442 h 176083"/>
                <a:gd name="connsiteX15" fmla="*/ 8178 w 227055"/>
                <a:gd name="connsiteY15" fmla="*/ 58686 h 176083"/>
                <a:gd name="connsiteX16" fmla="*/ 2617 w 227055"/>
                <a:gd name="connsiteY16" fmla="*/ 64710 h 176083"/>
                <a:gd name="connsiteX17" fmla="*/ 1691 w 227055"/>
                <a:gd name="connsiteY17" fmla="*/ 70271 h 176083"/>
                <a:gd name="connsiteX18" fmla="*/ 4007 w 227055"/>
                <a:gd name="connsiteY18" fmla="*/ 74904 h 176083"/>
                <a:gd name="connsiteX19" fmla="*/ 5861 w 227055"/>
                <a:gd name="connsiteY19" fmla="*/ 82318 h 176083"/>
                <a:gd name="connsiteX20" fmla="*/ 10031 w 227055"/>
                <a:gd name="connsiteY20" fmla="*/ 84172 h 176083"/>
                <a:gd name="connsiteX21" fmla="*/ 14665 w 227055"/>
                <a:gd name="connsiteY21" fmla="*/ 84172 h 176083"/>
                <a:gd name="connsiteX22" fmla="*/ 18836 w 227055"/>
                <a:gd name="connsiteY22" fmla="*/ 81391 h 176083"/>
                <a:gd name="connsiteX23" fmla="*/ 16055 w 227055"/>
                <a:gd name="connsiteY23" fmla="*/ 95756 h 176083"/>
                <a:gd name="connsiteX24" fmla="*/ 18836 w 227055"/>
                <a:gd name="connsiteY24" fmla="*/ 111511 h 176083"/>
                <a:gd name="connsiteX25" fmla="*/ 15592 w 227055"/>
                <a:gd name="connsiteY25" fmla="*/ 118925 h 176083"/>
                <a:gd name="connsiteX26" fmla="*/ 5861 w 227055"/>
                <a:gd name="connsiteY26" fmla="*/ 129583 h 176083"/>
                <a:gd name="connsiteX27" fmla="*/ 7251 w 227055"/>
                <a:gd name="connsiteY27" fmla="*/ 136534 h 176083"/>
                <a:gd name="connsiteX28" fmla="*/ 12348 w 227055"/>
                <a:gd name="connsiteY28" fmla="*/ 143948 h 176083"/>
                <a:gd name="connsiteX29" fmla="*/ 21152 w 227055"/>
                <a:gd name="connsiteY29" fmla="*/ 149972 h 176083"/>
                <a:gd name="connsiteX30" fmla="*/ 26250 w 227055"/>
                <a:gd name="connsiteY30" fmla="*/ 150898 h 176083"/>
                <a:gd name="connsiteX31" fmla="*/ 31347 w 227055"/>
                <a:gd name="connsiteY31" fmla="*/ 150898 h 176083"/>
                <a:gd name="connsiteX32" fmla="*/ 28103 w 227055"/>
                <a:gd name="connsiteY32" fmla="*/ 164800 h 176083"/>
                <a:gd name="connsiteX33" fmla="*/ 40151 w 227055"/>
                <a:gd name="connsiteY33" fmla="*/ 169897 h 176083"/>
                <a:gd name="connsiteX34" fmla="*/ 55442 w 227055"/>
                <a:gd name="connsiteY34" fmla="*/ 171750 h 176083"/>
                <a:gd name="connsiteX35" fmla="*/ 60540 w 227055"/>
                <a:gd name="connsiteY35" fmla="*/ 168043 h 176083"/>
                <a:gd name="connsiteX36" fmla="*/ 61003 w 227055"/>
                <a:gd name="connsiteY36" fmla="*/ 159239 h 176083"/>
                <a:gd name="connsiteX37" fmla="*/ 67027 w 227055"/>
                <a:gd name="connsiteY37" fmla="*/ 149508 h 176083"/>
                <a:gd name="connsiteX38" fmla="*/ 67490 w 227055"/>
                <a:gd name="connsiteY38" fmla="*/ 141631 h 176083"/>
                <a:gd name="connsiteX39" fmla="*/ 81392 w 227055"/>
                <a:gd name="connsiteY39" fmla="*/ 143021 h 176083"/>
                <a:gd name="connsiteX40" fmla="*/ 94366 w 227055"/>
                <a:gd name="connsiteY40" fmla="*/ 141631 h 176083"/>
                <a:gd name="connsiteX41" fmla="*/ 81392 w 227055"/>
                <a:gd name="connsiteY41" fmla="*/ 149508 h 176083"/>
                <a:gd name="connsiteX42" fmla="*/ 83709 w 227055"/>
                <a:gd name="connsiteY42" fmla="*/ 158776 h 176083"/>
                <a:gd name="connsiteX43" fmla="*/ 91586 w 227055"/>
                <a:gd name="connsiteY43" fmla="*/ 171750 h 176083"/>
                <a:gd name="connsiteX44" fmla="*/ 99927 w 227055"/>
                <a:gd name="connsiteY44" fmla="*/ 174994 h 176083"/>
                <a:gd name="connsiteX45" fmla="*/ 105951 w 227055"/>
                <a:gd name="connsiteY45" fmla="*/ 172677 h 176083"/>
                <a:gd name="connsiteX46" fmla="*/ 108731 w 227055"/>
                <a:gd name="connsiteY46" fmla="*/ 167116 h 176083"/>
                <a:gd name="connsiteX47" fmla="*/ 122169 w 227055"/>
                <a:gd name="connsiteY47" fmla="*/ 156922 h 176083"/>
                <a:gd name="connsiteX48" fmla="*/ 124949 w 227055"/>
                <a:gd name="connsiteY48" fmla="*/ 159239 h 176083"/>
                <a:gd name="connsiteX49" fmla="*/ 145801 w 227055"/>
                <a:gd name="connsiteY49" fmla="*/ 160166 h 176083"/>
                <a:gd name="connsiteX50" fmla="*/ 149972 w 227055"/>
                <a:gd name="connsiteY50" fmla="*/ 156459 h 176083"/>
                <a:gd name="connsiteX51" fmla="*/ 150435 w 227055"/>
                <a:gd name="connsiteY51" fmla="*/ 150435 h 176083"/>
                <a:gd name="connsiteX52" fmla="*/ 149045 w 227055"/>
                <a:gd name="connsiteY52" fmla="*/ 148118 h 176083"/>
                <a:gd name="connsiteX53" fmla="*/ 148118 w 227055"/>
                <a:gd name="connsiteY53" fmla="*/ 131900 h 176083"/>
                <a:gd name="connsiteX54" fmla="*/ 141167 w 227055"/>
                <a:gd name="connsiteY54" fmla="*/ 117998 h 176083"/>
                <a:gd name="connsiteX55" fmla="*/ 142094 w 227055"/>
                <a:gd name="connsiteY55" fmla="*/ 111511 h 176083"/>
                <a:gd name="connsiteX56" fmla="*/ 146265 w 227055"/>
                <a:gd name="connsiteY56" fmla="*/ 113828 h 176083"/>
                <a:gd name="connsiteX57" fmla="*/ 158312 w 227055"/>
                <a:gd name="connsiteY57" fmla="*/ 124949 h 176083"/>
                <a:gd name="connsiteX58" fmla="*/ 163873 w 227055"/>
                <a:gd name="connsiteY58" fmla="*/ 125412 h 176083"/>
                <a:gd name="connsiteX59" fmla="*/ 170360 w 227055"/>
                <a:gd name="connsiteY59" fmla="*/ 122632 h 176083"/>
                <a:gd name="connsiteX60" fmla="*/ 176848 w 227055"/>
                <a:gd name="connsiteY60" fmla="*/ 117998 h 176083"/>
                <a:gd name="connsiteX61" fmla="*/ 180091 w 227055"/>
                <a:gd name="connsiteY61" fmla="*/ 107341 h 176083"/>
                <a:gd name="connsiteX62" fmla="*/ 198626 w 227055"/>
                <a:gd name="connsiteY62" fmla="*/ 108731 h 176083"/>
                <a:gd name="connsiteX63" fmla="*/ 210211 w 227055"/>
                <a:gd name="connsiteY63" fmla="*/ 104097 h 176083"/>
                <a:gd name="connsiteX64" fmla="*/ 219478 w 227055"/>
                <a:gd name="connsiteY64" fmla="*/ 95756 h 176083"/>
                <a:gd name="connsiteX65" fmla="*/ 225966 w 227055"/>
                <a:gd name="connsiteY65" fmla="*/ 83245 h 176083"/>
                <a:gd name="connsiteX66" fmla="*/ 227819 w 227055"/>
                <a:gd name="connsiteY66" fmla="*/ 68417 h 176083"/>
                <a:gd name="connsiteX67" fmla="*/ 226429 w 227055"/>
                <a:gd name="connsiteY67" fmla="*/ 51735 h 176083"/>
                <a:gd name="connsiteX68" fmla="*/ 222722 w 227055"/>
                <a:gd name="connsiteY68" fmla="*/ 36444 h 176083"/>
                <a:gd name="connsiteX69" fmla="*/ 219015 w 227055"/>
                <a:gd name="connsiteY69" fmla="*/ 31347 h 176083"/>
                <a:gd name="connsiteX70" fmla="*/ 213918 w 227055"/>
                <a:gd name="connsiteY70" fmla="*/ 29957 h 176083"/>
                <a:gd name="connsiteX71" fmla="*/ 205114 w 227055"/>
                <a:gd name="connsiteY71" fmla="*/ 39687 h 176083"/>
                <a:gd name="connsiteX72" fmla="*/ 197236 w 227055"/>
                <a:gd name="connsiteY72" fmla="*/ 42468 h 176083"/>
                <a:gd name="connsiteX73" fmla="*/ 190286 w 227055"/>
                <a:gd name="connsiteY73" fmla="*/ 30883 h 176083"/>
                <a:gd name="connsiteX74" fmla="*/ 183335 w 227055"/>
                <a:gd name="connsiteY74" fmla="*/ 24396 h 176083"/>
                <a:gd name="connsiteX75" fmla="*/ 179164 w 227055"/>
                <a:gd name="connsiteY75" fmla="*/ 22079 h 176083"/>
                <a:gd name="connsiteX76" fmla="*/ 164336 w 227055"/>
                <a:gd name="connsiteY76" fmla="*/ 9105 h 176083"/>
                <a:gd name="connsiteX77" fmla="*/ 151825 w 227055"/>
                <a:gd name="connsiteY77" fmla="*/ 2617 h 176083"/>
                <a:gd name="connsiteX78" fmla="*/ 139777 w 227055"/>
                <a:gd name="connsiteY78" fmla="*/ 1691 h 176083"/>
                <a:gd name="connsiteX79" fmla="*/ 125413 w 227055"/>
                <a:gd name="connsiteY79" fmla="*/ 4007 h 176083"/>
                <a:gd name="connsiteX80" fmla="*/ 112901 w 227055"/>
                <a:gd name="connsiteY80" fmla="*/ 8641 h 176083"/>
                <a:gd name="connsiteX81" fmla="*/ 104561 w 227055"/>
                <a:gd name="connsiteY81" fmla="*/ 15592 h 176083"/>
                <a:gd name="connsiteX82" fmla="*/ 97610 w 227055"/>
                <a:gd name="connsiteY82" fmla="*/ 23933 h 176083"/>
                <a:gd name="connsiteX83" fmla="*/ 90659 w 227055"/>
                <a:gd name="connsiteY83" fmla="*/ 25786 h 17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055" h="176083">
                  <a:moveTo>
                    <a:pt x="78611" y="37371"/>
                  </a:moveTo>
                  <a:lnTo>
                    <a:pt x="62393" y="40151"/>
                  </a:lnTo>
                  <a:lnTo>
                    <a:pt x="48028" y="46638"/>
                  </a:lnTo>
                  <a:lnTo>
                    <a:pt x="35517" y="54516"/>
                  </a:lnTo>
                  <a:lnTo>
                    <a:pt x="23469" y="68880"/>
                  </a:lnTo>
                  <a:lnTo>
                    <a:pt x="16982" y="75831"/>
                  </a:lnTo>
                  <a:lnTo>
                    <a:pt x="10495" y="78148"/>
                  </a:lnTo>
                  <a:lnTo>
                    <a:pt x="8641" y="73978"/>
                  </a:lnTo>
                  <a:lnTo>
                    <a:pt x="11885" y="69807"/>
                  </a:lnTo>
                  <a:lnTo>
                    <a:pt x="12348" y="63783"/>
                  </a:lnTo>
                  <a:lnTo>
                    <a:pt x="14665" y="63783"/>
                  </a:lnTo>
                  <a:lnTo>
                    <a:pt x="16519" y="65637"/>
                  </a:lnTo>
                  <a:lnTo>
                    <a:pt x="16055" y="59613"/>
                  </a:lnTo>
                  <a:lnTo>
                    <a:pt x="13738" y="57759"/>
                  </a:lnTo>
                  <a:lnTo>
                    <a:pt x="13738" y="55442"/>
                  </a:lnTo>
                  <a:lnTo>
                    <a:pt x="8178" y="58686"/>
                  </a:lnTo>
                  <a:lnTo>
                    <a:pt x="2617" y="64710"/>
                  </a:lnTo>
                  <a:lnTo>
                    <a:pt x="1691" y="70271"/>
                  </a:lnTo>
                  <a:lnTo>
                    <a:pt x="4007" y="74904"/>
                  </a:lnTo>
                  <a:lnTo>
                    <a:pt x="5861" y="82318"/>
                  </a:lnTo>
                  <a:lnTo>
                    <a:pt x="10031" y="84172"/>
                  </a:lnTo>
                  <a:lnTo>
                    <a:pt x="14665" y="84172"/>
                  </a:lnTo>
                  <a:lnTo>
                    <a:pt x="18836" y="81391"/>
                  </a:lnTo>
                  <a:lnTo>
                    <a:pt x="16055" y="95756"/>
                  </a:lnTo>
                  <a:lnTo>
                    <a:pt x="18836" y="111511"/>
                  </a:lnTo>
                  <a:lnTo>
                    <a:pt x="15592" y="118925"/>
                  </a:lnTo>
                  <a:lnTo>
                    <a:pt x="5861" y="129583"/>
                  </a:lnTo>
                  <a:lnTo>
                    <a:pt x="7251" y="136534"/>
                  </a:lnTo>
                  <a:lnTo>
                    <a:pt x="12348" y="143948"/>
                  </a:lnTo>
                  <a:lnTo>
                    <a:pt x="21152" y="149972"/>
                  </a:lnTo>
                  <a:lnTo>
                    <a:pt x="26250" y="150898"/>
                  </a:lnTo>
                  <a:lnTo>
                    <a:pt x="31347" y="150898"/>
                  </a:lnTo>
                  <a:lnTo>
                    <a:pt x="28103" y="164800"/>
                  </a:lnTo>
                  <a:lnTo>
                    <a:pt x="40151" y="169897"/>
                  </a:lnTo>
                  <a:lnTo>
                    <a:pt x="55442" y="171750"/>
                  </a:lnTo>
                  <a:lnTo>
                    <a:pt x="60540" y="168043"/>
                  </a:lnTo>
                  <a:lnTo>
                    <a:pt x="61003" y="159239"/>
                  </a:lnTo>
                  <a:lnTo>
                    <a:pt x="67027" y="149508"/>
                  </a:lnTo>
                  <a:lnTo>
                    <a:pt x="67490" y="141631"/>
                  </a:lnTo>
                  <a:lnTo>
                    <a:pt x="81392" y="143021"/>
                  </a:lnTo>
                  <a:lnTo>
                    <a:pt x="94366" y="141631"/>
                  </a:lnTo>
                  <a:lnTo>
                    <a:pt x="81392" y="149508"/>
                  </a:lnTo>
                  <a:lnTo>
                    <a:pt x="83709" y="158776"/>
                  </a:lnTo>
                  <a:lnTo>
                    <a:pt x="91586" y="171750"/>
                  </a:lnTo>
                  <a:lnTo>
                    <a:pt x="99927" y="174994"/>
                  </a:lnTo>
                  <a:lnTo>
                    <a:pt x="105951" y="172677"/>
                  </a:lnTo>
                  <a:lnTo>
                    <a:pt x="108731" y="167116"/>
                  </a:lnTo>
                  <a:lnTo>
                    <a:pt x="122169" y="156922"/>
                  </a:lnTo>
                  <a:lnTo>
                    <a:pt x="124949" y="159239"/>
                  </a:lnTo>
                  <a:lnTo>
                    <a:pt x="145801" y="160166"/>
                  </a:lnTo>
                  <a:lnTo>
                    <a:pt x="149972" y="156459"/>
                  </a:lnTo>
                  <a:lnTo>
                    <a:pt x="150435" y="150435"/>
                  </a:lnTo>
                  <a:lnTo>
                    <a:pt x="149045" y="148118"/>
                  </a:lnTo>
                  <a:lnTo>
                    <a:pt x="148118" y="131900"/>
                  </a:lnTo>
                  <a:lnTo>
                    <a:pt x="141167" y="117998"/>
                  </a:lnTo>
                  <a:lnTo>
                    <a:pt x="142094" y="111511"/>
                  </a:lnTo>
                  <a:lnTo>
                    <a:pt x="146265" y="113828"/>
                  </a:lnTo>
                  <a:lnTo>
                    <a:pt x="158312" y="124949"/>
                  </a:lnTo>
                  <a:lnTo>
                    <a:pt x="163873" y="125412"/>
                  </a:lnTo>
                  <a:lnTo>
                    <a:pt x="170360" y="122632"/>
                  </a:lnTo>
                  <a:lnTo>
                    <a:pt x="176848" y="117998"/>
                  </a:lnTo>
                  <a:lnTo>
                    <a:pt x="180091" y="107341"/>
                  </a:lnTo>
                  <a:lnTo>
                    <a:pt x="198626" y="108731"/>
                  </a:lnTo>
                  <a:lnTo>
                    <a:pt x="210211" y="104097"/>
                  </a:lnTo>
                  <a:lnTo>
                    <a:pt x="219478" y="95756"/>
                  </a:lnTo>
                  <a:lnTo>
                    <a:pt x="225966" y="83245"/>
                  </a:lnTo>
                  <a:lnTo>
                    <a:pt x="227819" y="68417"/>
                  </a:lnTo>
                  <a:lnTo>
                    <a:pt x="226429" y="51735"/>
                  </a:lnTo>
                  <a:lnTo>
                    <a:pt x="222722" y="36444"/>
                  </a:lnTo>
                  <a:lnTo>
                    <a:pt x="219015" y="31347"/>
                  </a:lnTo>
                  <a:lnTo>
                    <a:pt x="213918" y="29957"/>
                  </a:lnTo>
                  <a:lnTo>
                    <a:pt x="205114" y="39687"/>
                  </a:lnTo>
                  <a:lnTo>
                    <a:pt x="197236" y="42468"/>
                  </a:lnTo>
                  <a:lnTo>
                    <a:pt x="190286" y="30883"/>
                  </a:lnTo>
                  <a:lnTo>
                    <a:pt x="183335" y="24396"/>
                  </a:lnTo>
                  <a:lnTo>
                    <a:pt x="179164" y="22079"/>
                  </a:lnTo>
                  <a:lnTo>
                    <a:pt x="164336" y="9105"/>
                  </a:lnTo>
                  <a:lnTo>
                    <a:pt x="151825" y="2617"/>
                  </a:lnTo>
                  <a:lnTo>
                    <a:pt x="139777" y="1691"/>
                  </a:lnTo>
                  <a:lnTo>
                    <a:pt x="125413" y="4007"/>
                  </a:lnTo>
                  <a:lnTo>
                    <a:pt x="112901" y="8641"/>
                  </a:lnTo>
                  <a:lnTo>
                    <a:pt x="104561" y="15592"/>
                  </a:lnTo>
                  <a:lnTo>
                    <a:pt x="97610" y="23933"/>
                  </a:lnTo>
                  <a:lnTo>
                    <a:pt x="90659" y="25786"/>
                  </a:lnTo>
                  <a:close/>
                </a:path>
              </a:pathLst>
            </a:custGeom>
            <a:solidFill>
              <a:schemeClr val="bg1"/>
            </a:solidFill>
            <a:ln w="4634" cap="flat">
              <a:noFill/>
              <a:prstDash val="solid"/>
              <a:miter/>
            </a:ln>
          </p:spPr>
          <p:txBody>
            <a:bodyPr rtlCol="0" anchor="ctr"/>
            <a:lstStyle/>
            <a:p>
              <a:pPr>
                <a:defRPr/>
              </a:pPr>
              <a:endParaRPr lang="en-US" sz="1200" dirty="0">
                <a:solidFill>
                  <a:srgbClr val="505050"/>
                </a:solidFill>
                <a:latin typeface="Segoe UI"/>
              </a:endParaRPr>
            </a:p>
          </p:txBody>
        </p:sp>
        <p:grpSp>
          <p:nvGrpSpPr>
            <p:cNvPr id="34" name="Group 33">
              <a:extLst>
                <a:ext uri="{FF2B5EF4-FFF2-40B4-BE49-F238E27FC236}">
                  <a16:creationId xmlns:a16="http://schemas.microsoft.com/office/drawing/2014/main" id="{67090673-E773-466C-8921-96BDFAA70E60}"/>
                </a:ext>
              </a:extLst>
            </p:cNvPr>
            <p:cNvGrpSpPr/>
            <p:nvPr/>
          </p:nvGrpSpPr>
          <p:grpSpPr>
            <a:xfrm>
              <a:off x="2619237" y="9089991"/>
              <a:ext cx="402180" cy="315436"/>
              <a:chOff x="518506" y="9457541"/>
              <a:chExt cx="402180" cy="315436"/>
            </a:xfrm>
          </p:grpSpPr>
          <p:sp>
            <p:nvSpPr>
              <p:cNvPr id="35" name="Freeform: Shape 34">
                <a:extLst>
                  <a:ext uri="{FF2B5EF4-FFF2-40B4-BE49-F238E27FC236}">
                    <a16:creationId xmlns:a16="http://schemas.microsoft.com/office/drawing/2014/main" id="{8A5EE227-7DA4-432B-896B-7E200356195D}"/>
                  </a:ext>
                </a:extLst>
              </p:cNvPr>
              <p:cNvSpPr/>
              <p:nvPr/>
            </p:nvSpPr>
            <p:spPr>
              <a:xfrm>
                <a:off x="550721" y="9580545"/>
                <a:ext cx="7886" cy="7886"/>
              </a:xfrm>
              <a:custGeom>
                <a:avLst/>
                <a:gdLst>
                  <a:gd name="connsiteX0" fmla="*/ 2617 w 4633"/>
                  <a:gd name="connsiteY0" fmla="*/ 1691 h 4633"/>
                  <a:gd name="connsiteX1" fmla="*/ 1691 w 4633"/>
                  <a:gd name="connsiteY1" fmla="*/ 2154 h 4633"/>
                  <a:gd name="connsiteX2" fmla="*/ 3544 w 4633"/>
                  <a:gd name="connsiteY2" fmla="*/ 4471 h 4633"/>
                  <a:gd name="connsiteX3" fmla="*/ 4007 w 4633"/>
                  <a:gd name="connsiteY3" fmla="*/ 1691 h 4633"/>
                </a:gdLst>
                <a:ahLst/>
                <a:cxnLst>
                  <a:cxn ang="0">
                    <a:pos x="connsiteX0" y="connsiteY0"/>
                  </a:cxn>
                  <a:cxn ang="0">
                    <a:pos x="connsiteX1" y="connsiteY1"/>
                  </a:cxn>
                  <a:cxn ang="0">
                    <a:pos x="connsiteX2" y="connsiteY2"/>
                  </a:cxn>
                  <a:cxn ang="0">
                    <a:pos x="connsiteX3" y="connsiteY3"/>
                  </a:cxn>
                </a:cxnLst>
                <a:rect l="l" t="t" r="r" b="b"/>
                <a:pathLst>
                  <a:path w="4633" h="4633">
                    <a:moveTo>
                      <a:pt x="2617" y="1691"/>
                    </a:moveTo>
                    <a:lnTo>
                      <a:pt x="1691" y="2154"/>
                    </a:lnTo>
                    <a:lnTo>
                      <a:pt x="3544" y="4471"/>
                    </a:lnTo>
                    <a:lnTo>
                      <a:pt x="4007" y="1691"/>
                    </a:lnTo>
                    <a:close/>
                  </a:path>
                </a:pathLst>
              </a:custGeom>
              <a:solidFill>
                <a:srgbClr val="1E1E1E"/>
              </a:solidFill>
              <a:ln w="4634" cap="flat">
                <a:noFill/>
                <a:prstDash val="solid"/>
                <a:miter/>
              </a:ln>
            </p:spPr>
            <p:txBody>
              <a:bodyPr rtlCol="0" anchor="ctr"/>
              <a:lstStyle/>
              <a:p>
                <a:pPr>
                  <a:defRPr/>
                </a:pPr>
                <a:endParaRPr lang="en-US" sz="1200" dirty="0">
                  <a:solidFill>
                    <a:srgbClr val="505050"/>
                  </a:solidFill>
                  <a:latin typeface="Segoe UI"/>
                </a:endParaRPr>
              </a:p>
            </p:txBody>
          </p:sp>
          <p:sp>
            <p:nvSpPr>
              <p:cNvPr id="36" name="Freeform: Shape 35">
                <a:extLst>
                  <a:ext uri="{FF2B5EF4-FFF2-40B4-BE49-F238E27FC236}">
                    <a16:creationId xmlns:a16="http://schemas.microsoft.com/office/drawing/2014/main" id="{F7E43D03-A5E0-4EA2-A96C-893283B7EC2D}"/>
                  </a:ext>
                </a:extLst>
              </p:cNvPr>
              <p:cNvSpPr/>
              <p:nvPr/>
            </p:nvSpPr>
            <p:spPr>
              <a:xfrm>
                <a:off x="518506" y="9457541"/>
                <a:ext cx="402180" cy="315436"/>
              </a:xfrm>
              <a:custGeom>
                <a:avLst/>
                <a:gdLst>
                  <a:gd name="connsiteX0" fmla="*/ 233774 w 236322"/>
                  <a:gd name="connsiteY0" fmla="*/ 56359 h 185351"/>
                  <a:gd name="connsiteX1" fmla="*/ 228214 w 236322"/>
                  <a:gd name="connsiteY1" fmla="*/ 37824 h 185351"/>
                  <a:gd name="connsiteX2" fmla="*/ 226824 w 236322"/>
                  <a:gd name="connsiteY2" fmla="*/ 35970 h 185351"/>
                  <a:gd name="connsiteX3" fmla="*/ 221727 w 236322"/>
                  <a:gd name="connsiteY3" fmla="*/ 32727 h 185351"/>
                  <a:gd name="connsiteX4" fmla="*/ 215703 w 236322"/>
                  <a:gd name="connsiteY4" fmla="*/ 32727 h 185351"/>
                  <a:gd name="connsiteX5" fmla="*/ 214313 w 236322"/>
                  <a:gd name="connsiteY5" fmla="*/ 33653 h 185351"/>
                  <a:gd name="connsiteX6" fmla="*/ 211532 w 236322"/>
                  <a:gd name="connsiteY6" fmla="*/ 37361 h 185351"/>
                  <a:gd name="connsiteX7" fmla="*/ 208289 w 236322"/>
                  <a:gd name="connsiteY7" fmla="*/ 41531 h 185351"/>
                  <a:gd name="connsiteX8" fmla="*/ 203191 w 236322"/>
                  <a:gd name="connsiteY8" fmla="*/ 44311 h 185351"/>
                  <a:gd name="connsiteX9" fmla="*/ 200411 w 236322"/>
                  <a:gd name="connsiteY9" fmla="*/ 39214 h 185351"/>
                  <a:gd name="connsiteX10" fmla="*/ 196241 w 236322"/>
                  <a:gd name="connsiteY10" fmla="*/ 33653 h 185351"/>
                  <a:gd name="connsiteX11" fmla="*/ 192534 w 236322"/>
                  <a:gd name="connsiteY11" fmla="*/ 29946 h 185351"/>
                  <a:gd name="connsiteX12" fmla="*/ 188363 w 236322"/>
                  <a:gd name="connsiteY12" fmla="*/ 27166 h 185351"/>
                  <a:gd name="connsiteX13" fmla="*/ 177242 w 236322"/>
                  <a:gd name="connsiteY13" fmla="*/ 18362 h 185351"/>
                  <a:gd name="connsiteX14" fmla="*/ 172608 w 236322"/>
                  <a:gd name="connsiteY14" fmla="*/ 14192 h 185351"/>
                  <a:gd name="connsiteX15" fmla="*/ 148049 w 236322"/>
                  <a:gd name="connsiteY15" fmla="*/ 3534 h 185351"/>
                  <a:gd name="connsiteX16" fmla="*/ 120247 w 236322"/>
                  <a:gd name="connsiteY16" fmla="*/ 9558 h 185351"/>
                  <a:gd name="connsiteX17" fmla="*/ 108199 w 236322"/>
                  <a:gd name="connsiteY17" fmla="*/ 16972 h 185351"/>
                  <a:gd name="connsiteX18" fmla="*/ 99395 w 236322"/>
                  <a:gd name="connsiteY18" fmla="*/ 27166 h 185351"/>
                  <a:gd name="connsiteX19" fmla="*/ 94761 w 236322"/>
                  <a:gd name="connsiteY19" fmla="*/ 28093 h 185351"/>
                  <a:gd name="connsiteX20" fmla="*/ 89200 w 236322"/>
                  <a:gd name="connsiteY20" fmla="*/ 31800 h 185351"/>
                  <a:gd name="connsiteX21" fmla="*/ 85030 w 236322"/>
                  <a:gd name="connsiteY21" fmla="*/ 35507 h 185351"/>
                  <a:gd name="connsiteX22" fmla="*/ 81323 w 236322"/>
                  <a:gd name="connsiteY22" fmla="*/ 39214 h 185351"/>
                  <a:gd name="connsiteX23" fmla="*/ 57227 w 236322"/>
                  <a:gd name="connsiteY23" fmla="*/ 45238 h 185351"/>
                  <a:gd name="connsiteX24" fmla="*/ 37302 w 236322"/>
                  <a:gd name="connsiteY24" fmla="*/ 57286 h 185351"/>
                  <a:gd name="connsiteX25" fmla="*/ 30351 w 236322"/>
                  <a:gd name="connsiteY25" fmla="*/ 64700 h 185351"/>
                  <a:gd name="connsiteX26" fmla="*/ 25254 w 236322"/>
                  <a:gd name="connsiteY26" fmla="*/ 72577 h 185351"/>
                  <a:gd name="connsiteX27" fmla="*/ 21084 w 236322"/>
                  <a:gd name="connsiteY27" fmla="*/ 76748 h 185351"/>
                  <a:gd name="connsiteX28" fmla="*/ 16450 w 236322"/>
                  <a:gd name="connsiteY28" fmla="*/ 79528 h 185351"/>
                  <a:gd name="connsiteX29" fmla="*/ 15060 w 236322"/>
                  <a:gd name="connsiteY29" fmla="*/ 79991 h 185351"/>
                  <a:gd name="connsiteX30" fmla="*/ 15060 w 236322"/>
                  <a:gd name="connsiteY30" fmla="*/ 79528 h 185351"/>
                  <a:gd name="connsiteX31" fmla="*/ 17840 w 236322"/>
                  <a:gd name="connsiteY31" fmla="*/ 70724 h 185351"/>
                  <a:gd name="connsiteX32" fmla="*/ 18767 w 236322"/>
                  <a:gd name="connsiteY32" fmla="*/ 72114 h 185351"/>
                  <a:gd name="connsiteX33" fmla="*/ 19694 w 236322"/>
                  <a:gd name="connsiteY33" fmla="*/ 73504 h 185351"/>
                  <a:gd name="connsiteX34" fmla="*/ 20620 w 236322"/>
                  <a:gd name="connsiteY34" fmla="*/ 72577 h 185351"/>
                  <a:gd name="connsiteX35" fmla="*/ 22010 w 236322"/>
                  <a:gd name="connsiteY35" fmla="*/ 73041 h 185351"/>
                  <a:gd name="connsiteX36" fmla="*/ 22474 w 236322"/>
                  <a:gd name="connsiteY36" fmla="*/ 65627 h 185351"/>
                  <a:gd name="connsiteX37" fmla="*/ 20157 w 236322"/>
                  <a:gd name="connsiteY37" fmla="*/ 61920 h 185351"/>
                  <a:gd name="connsiteX38" fmla="*/ 20620 w 236322"/>
                  <a:gd name="connsiteY38" fmla="*/ 60993 h 185351"/>
                  <a:gd name="connsiteX39" fmla="*/ 21547 w 236322"/>
                  <a:gd name="connsiteY39" fmla="*/ 57749 h 185351"/>
                  <a:gd name="connsiteX40" fmla="*/ 20620 w 236322"/>
                  <a:gd name="connsiteY40" fmla="*/ 57286 h 185351"/>
                  <a:gd name="connsiteX41" fmla="*/ 21547 w 236322"/>
                  <a:gd name="connsiteY41" fmla="*/ 57749 h 185351"/>
                  <a:gd name="connsiteX42" fmla="*/ 22937 w 236322"/>
                  <a:gd name="connsiteY42" fmla="*/ 56822 h 185351"/>
                  <a:gd name="connsiteX43" fmla="*/ 21084 w 236322"/>
                  <a:gd name="connsiteY43" fmla="*/ 57286 h 185351"/>
                  <a:gd name="connsiteX44" fmla="*/ 8573 w 236322"/>
                  <a:gd name="connsiteY44" fmla="*/ 65163 h 185351"/>
                  <a:gd name="connsiteX45" fmla="*/ 4865 w 236322"/>
                  <a:gd name="connsiteY45" fmla="*/ 70260 h 185351"/>
                  <a:gd name="connsiteX46" fmla="*/ 3475 w 236322"/>
                  <a:gd name="connsiteY46" fmla="*/ 76284 h 185351"/>
                  <a:gd name="connsiteX47" fmla="*/ 6256 w 236322"/>
                  <a:gd name="connsiteY47" fmla="*/ 81382 h 185351"/>
                  <a:gd name="connsiteX48" fmla="*/ 7182 w 236322"/>
                  <a:gd name="connsiteY48" fmla="*/ 84625 h 185351"/>
                  <a:gd name="connsiteX49" fmla="*/ 8109 w 236322"/>
                  <a:gd name="connsiteY49" fmla="*/ 87405 h 185351"/>
                  <a:gd name="connsiteX50" fmla="*/ 13206 w 236322"/>
                  <a:gd name="connsiteY50" fmla="*/ 92039 h 185351"/>
                  <a:gd name="connsiteX51" fmla="*/ 18767 w 236322"/>
                  <a:gd name="connsiteY51" fmla="*/ 92039 h 185351"/>
                  <a:gd name="connsiteX52" fmla="*/ 17840 w 236322"/>
                  <a:gd name="connsiteY52" fmla="*/ 98990 h 185351"/>
                  <a:gd name="connsiteX53" fmla="*/ 18303 w 236322"/>
                  <a:gd name="connsiteY53" fmla="*/ 110111 h 185351"/>
                  <a:gd name="connsiteX54" fmla="*/ 18767 w 236322"/>
                  <a:gd name="connsiteY54" fmla="*/ 112891 h 185351"/>
                  <a:gd name="connsiteX55" fmla="*/ 19230 w 236322"/>
                  <a:gd name="connsiteY55" fmla="*/ 115671 h 185351"/>
                  <a:gd name="connsiteX56" fmla="*/ 18303 w 236322"/>
                  <a:gd name="connsiteY56" fmla="*/ 118452 h 185351"/>
                  <a:gd name="connsiteX57" fmla="*/ 16450 w 236322"/>
                  <a:gd name="connsiteY57" fmla="*/ 123086 h 185351"/>
                  <a:gd name="connsiteX58" fmla="*/ 12743 w 236322"/>
                  <a:gd name="connsiteY58" fmla="*/ 126793 h 185351"/>
                  <a:gd name="connsiteX59" fmla="*/ 9499 w 236322"/>
                  <a:gd name="connsiteY59" fmla="*/ 130036 h 185351"/>
                  <a:gd name="connsiteX60" fmla="*/ 8573 w 236322"/>
                  <a:gd name="connsiteY60" fmla="*/ 130963 h 185351"/>
                  <a:gd name="connsiteX61" fmla="*/ 6256 w 236322"/>
                  <a:gd name="connsiteY61" fmla="*/ 137450 h 185351"/>
                  <a:gd name="connsiteX62" fmla="*/ 8573 w 236322"/>
                  <a:gd name="connsiteY62" fmla="*/ 144864 h 185351"/>
                  <a:gd name="connsiteX63" fmla="*/ 13206 w 236322"/>
                  <a:gd name="connsiteY63" fmla="*/ 151352 h 185351"/>
                  <a:gd name="connsiteX64" fmla="*/ 24791 w 236322"/>
                  <a:gd name="connsiteY64" fmla="*/ 158766 h 185351"/>
                  <a:gd name="connsiteX65" fmla="*/ 32205 w 236322"/>
                  <a:gd name="connsiteY65" fmla="*/ 159692 h 185351"/>
                  <a:gd name="connsiteX66" fmla="*/ 31741 w 236322"/>
                  <a:gd name="connsiteY66" fmla="*/ 160619 h 185351"/>
                  <a:gd name="connsiteX67" fmla="*/ 30351 w 236322"/>
                  <a:gd name="connsiteY67" fmla="*/ 163863 h 185351"/>
                  <a:gd name="connsiteX68" fmla="*/ 34985 w 236322"/>
                  <a:gd name="connsiteY68" fmla="*/ 175447 h 185351"/>
                  <a:gd name="connsiteX69" fmla="*/ 42399 w 236322"/>
                  <a:gd name="connsiteY69" fmla="*/ 177764 h 185351"/>
                  <a:gd name="connsiteX70" fmla="*/ 44253 w 236322"/>
                  <a:gd name="connsiteY70" fmla="*/ 178227 h 185351"/>
                  <a:gd name="connsiteX71" fmla="*/ 57227 w 236322"/>
                  <a:gd name="connsiteY71" fmla="*/ 181008 h 185351"/>
                  <a:gd name="connsiteX72" fmla="*/ 68348 w 236322"/>
                  <a:gd name="connsiteY72" fmla="*/ 175447 h 185351"/>
                  <a:gd name="connsiteX73" fmla="*/ 69275 w 236322"/>
                  <a:gd name="connsiteY73" fmla="*/ 170814 h 185351"/>
                  <a:gd name="connsiteX74" fmla="*/ 69275 w 236322"/>
                  <a:gd name="connsiteY74" fmla="*/ 166643 h 185351"/>
                  <a:gd name="connsiteX75" fmla="*/ 72519 w 236322"/>
                  <a:gd name="connsiteY75" fmla="*/ 161082 h 185351"/>
                  <a:gd name="connsiteX76" fmla="*/ 72982 w 236322"/>
                  <a:gd name="connsiteY76" fmla="*/ 160156 h 185351"/>
                  <a:gd name="connsiteX77" fmla="*/ 74836 w 236322"/>
                  <a:gd name="connsiteY77" fmla="*/ 155985 h 185351"/>
                  <a:gd name="connsiteX78" fmla="*/ 74836 w 236322"/>
                  <a:gd name="connsiteY78" fmla="*/ 151352 h 185351"/>
                  <a:gd name="connsiteX79" fmla="*/ 74836 w 236322"/>
                  <a:gd name="connsiteY79" fmla="*/ 150425 h 185351"/>
                  <a:gd name="connsiteX80" fmla="*/ 83640 w 236322"/>
                  <a:gd name="connsiteY80" fmla="*/ 150888 h 185351"/>
                  <a:gd name="connsiteX81" fmla="*/ 88274 w 236322"/>
                  <a:gd name="connsiteY81" fmla="*/ 150888 h 185351"/>
                  <a:gd name="connsiteX82" fmla="*/ 86883 w 236322"/>
                  <a:gd name="connsiteY82" fmla="*/ 151352 h 185351"/>
                  <a:gd name="connsiteX83" fmla="*/ 86420 w 236322"/>
                  <a:gd name="connsiteY83" fmla="*/ 151815 h 185351"/>
                  <a:gd name="connsiteX84" fmla="*/ 83640 w 236322"/>
                  <a:gd name="connsiteY84" fmla="*/ 161546 h 185351"/>
                  <a:gd name="connsiteX85" fmla="*/ 88737 w 236322"/>
                  <a:gd name="connsiteY85" fmla="*/ 170814 h 185351"/>
                  <a:gd name="connsiteX86" fmla="*/ 98005 w 236322"/>
                  <a:gd name="connsiteY86" fmla="*/ 181471 h 185351"/>
                  <a:gd name="connsiteX87" fmla="*/ 111442 w 236322"/>
                  <a:gd name="connsiteY87" fmla="*/ 181008 h 185351"/>
                  <a:gd name="connsiteX88" fmla="*/ 116076 w 236322"/>
                  <a:gd name="connsiteY88" fmla="*/ 175911 h 185351"/>
                  <a:gd name="connsiteX89" fmla="*/ 117466 w 236322"/>
                  <a:gd name="connsiteY89" fmla="*/ 174057 h 185351"/>
                  <a:gd name="connsiteX90" fmla="*/ 124417 w 236322"/>
                  <a:gd name="connsiteY90" fmla="*/ 168497 h 185351"/>
                  <a:gd name="connsiteX91" fmla="*/ 127661 w 236322"/>
                  <a:gd name="connsiteY91" fmla="*/ 166180 h 185351"/>
                  <a:gd name="connsiteX92" fmla="*/ 130441 w 236322"/>
                  <a:gd name="connsiteY92" fmla="*/ 167570 h 185351"/>
                  <a:gd name="connsiteX93" fmla="*/ 135538 w 236322"/>
                  <a:gd name="connsiteY93" fmla="*/ 168033 h 185351"/>
                  <a:gd name="connsiteX94" fmla="*/ 145269 w 236322"/>
                  <a:gd name="connsiteY94" fmla="*/ 168033 h 185351"/>
                  <a:gd name="connsiteX95" fmla="*/ 147586 w 236322"/>
                  <a:gd name="connsiteY95" fmla="*/ 168033 h 185351"/>
                  <a:gd name="connsiteX96" fmla="*/ 155463 w 236322"/>
                  <a:gd name="connsiteY96" fmla="*/ 166643 h 185351"/>
                  <a:gd name="connsiteX97" fmla="*/ 159171 w 236322"/>
                  <a:gd name="connsiteY97" fmla="*/ 159692 h 185351"/>
                  <a:gd name="connsiteX98" fmla="*/ 159171 w 236322"/>
                  <a:gd name="connsiteY98" fmla="*/ 155985 h 185351"/>
                  <a:gd name="connsiteX99" fmla="*/ 157780 w 236322"/>
                  <a:gd name="connsiteY99" fmla="*/ 152742 h 185351"/>
                  <a:gd name="connsiteX100" fmla="*/ 157780 w 236322"/>
                  <a:gd name="connsiteY100" fmla="*/ 147645 h 185351"/>
                  <a:gd name="connsiteX101" fmla="*/ 157780 w 236322"/>
                  <a:gd name="connsiteY101" fmla="*/ 142547 h 185351"/>
                  <a:gd name="connsiteX102" fmla="*/ 156854 w 236322"/>
                  <a:gd name="connsiteY102" fmla="*/ 136987 h 185351"/>
                  <a:gd name="connsiteX103" fmla="*/ 155000 w 236322"/>
                  <a:gd name="connsiteY103" fmla="*/ 131890 h 185351"/>
                  <a:gd name="connsiteX104" fmla="*/ 153610 w 236322"/>
                  <a:gd name="connsiteY104" fmla="*/ 128183 h 185351"/>
                  <a:gd name="connsiteX105" fmla="*/ 152683 w 236322"/>
                  <a:gd name="connsiteY105" fmla="*/ 128646 h 185351"/>
                  <a:gd name="connsiteX106" fmla="*/ 153610 w 236322"/>
                  <a:gd name="connsiteY106" fmla="*/ 128183 h 185351"/>
                  <a:gd name="connsiteX107" fmla="*/ 151293 w 236322"/>
                  <a:gd name="connsiteY107" fmla="*/ 122622 h 185351"/>
                  <a:gd name="connsiteX108" fmla="*/ 151293 w 236322"/>
                  <a:gd name="connsiteY108" fmla="*/ 121232 h 185351"/>
                  <a:gd name="connsiteX109" fmla="*/ 153147 w 236322"/>
                  <a:gd name="connsiteY109" fmla="*/ 123086 h 185351"/>
                  <a:gd name="connsiteX110" fmla="*/ 155927 w 236322"/>
                  <a:gd name="connsiteY110" fmla="*/ 125866 h 185351"/>
                  <a:gd name="connsiteX111" fmla="*/ 161951 w 236322"/>
                  <a:gd name="connsiteY111" fmla="*/ 130963 h 185351"/>
                  <a:gd name="connsiteX112" fmla="*/ 169828 w 236322"/>
                  <a:gd name="connsiteY112" fmla="*/ 132816 h 185351"/>
                  <a:gd name="connsiteX113" fmla="*/ 180023 w 236322"/>
                  <a:gd name="connsiteY113" fmla="*/ 129109 h 185351"/>
                  <a:gd name="connsiteX114" fmla="*/ 186510 w 236322"/>
                  <a:gd name="connsiteY114" fmla="*/ 120769 h 185351"/>
                  <a:gd name="connsiteX115" fmla="*/ 187436 w 236322"/>
                  <a:gd name="connsiteY115" fmla="*/ 117988 h 185351"/>
                  <a:gd name="connsiteX116" fmla="*/ 187900 w 236322"/>
                  <a:gd name="connsiteY116" fmla="*/ 115671 h 185351"/>
                  <a:gd name="connsiteX117" fmla="*/ 202728 w 236322"/>
                  <a:gd name="connsiteY117" fmla="*/ 116135 h 185351"/>
                  <a:gd name="connsiteX118" fmla="*/ 216166 w 236322"/>
                  <a:gd name="connsiteY118" fmla="*/ 112428 h 185351"/>
                  <a:gd name="connsiteX119" fmla="*/ 229604 w 236322"/>
                  <a:gd name="connsiteY119" fmla="*/ 98990 h 185351"/>
                  <a:gd name="connsiteX120" fmla="*/ 236091 w 236322"/>
                  <a:gd name="connsiteY120" fmla="*/ 78138 h 185351"/>
                  <a:gd name="connsiteX121" fmla="*/ 233774 w 236322"/>
                  <a:gd name="connsiteY121" fmla="*/ 56359 h 185351"/>
                  <a:gd name="connsiteX122" fmla="*/ 164268 w 236322"/>
                  <a:gd name="connsiteY122" fmla="*/ 112428 h 185351"/>
                  <a:gd name="connsiteX123" fmla="*/ 167048 w 236322"/>
                  <a:gd name="connsiteY123" fmla="*/ 126329 h 185351"/>
                  <a:gd name="connsiteX124" fmla="*/ 173999 w 236322"/>
                  <a:gd name="connsiteY124" fmla="*/ 124939 h 185351"/>
                  <a:gd name="connsiteX125" fmla="*/ 167975 w 236322"/>
                  <a:gd name="connsiteY125" fmla="*/ 124939 h 185351"/>
                  <a:gd name="connsiteX126" fmla="*/ 164731 w 236322"/>
                  <a:gd name="connsiteY126" fmla="*/ 122159 h 185351"/>
                  <a:gd name="connsiteX127" fmla="*/ 167975 w 236322"/>
                  <a:gd name="connsiteY127" fmla="*/ 123086 h 185351"/>
                  <a:gd name="connsiteX128" fmla="*/ 178169 w 236322"/>
                  <a:gd name="connsiteY128" fmla="*/ 118452 h 185351"/>
                  <a:gd name="connsiteX129" fmla="*/ 179559 w 236322"/>
                  <a:gd name="connsiteY129" fmla="*/ 112891 h 185351"/>
                  <a:gd name="connsiteX130" fmla="*/ 182803 w 236322"/>
                  <a:gd name="connsiteY130" fmla="*/ 113818 h 185351"/>
                  <a:gd name="connsiteX131" fmla="*/ 180949 w 236322"/>
                  <a:gd name="connsiteY131" fmla="*/ 119842 h 185351"/>
                  <a:gd name="connsiteX132" fmla="*/ 167975 w 236322"/>
                  <a:gd name="connsiteY132" fmla="*/ 128646 h 185351"/>
                  <a:gd name="connsiteX133" fmla="*/ 156390 w 236322"/>
                  <a:gd name="connsiteY133" fmla="*/ 122622 h 185351"/>
                  <a:gd name="connsiteX134" fmla="*/ 149440 w 236322"/>
                  <a:gd name="connsiteY134" fmla="*/ 116598 h 185351"/>
                  <a:gd name="connsiteX135" fmla="*/ 132758 w 236322"/>
                  <a:gd name="connsiteY135" fmla="*/ 108257 h 185351"/>
                  <a:gd name="connsiteX136" fmla="*/ 145269 w 236322"/>
                  <a:gd name="connsiteY136" fmla="*/ 117988 h 185351"/>
                  <a:gd name="connsiteX137" fmla="*/ 139245 w 236322"/>
                  <a:gd name="connsiteY137" fmla="*/ 140230 h 185351"/>
                  <a:gd name="connsiteX138" fmla="*/ 126734 w 236322"/>
                  <a:gd name="connsiteY138" fmla="*/ 159692 h 185351"/>
                  <a:gd name="connsiteX139" fmla="*/ 111906 w 236322"/>
                  <a:gd name="connsiteY139" fmla="*/ 171277 h 185351"/>
                  <a:gd name="connsiteX140" fmla="*/ 106809 w 236322"/>
                  <a:gd name="connsiteY140" fmla="*/ 177301 h 185351"/>
                  <a:gd name="connsiteX141" fmla="*/ 91517 w 236322"/>
                  <a:gd name="connsiteY141" fmla="*/ 168033 h 185351"/>
                  <a:gd name="connsiteX142" fmla="*/ 89200 w 236322"/>
                  <a:gd name="connsiteY142" fmla="*/ 155059 h 185351"/>
                  <a:gd name="connsiteX143" fmla="*/ 99395 w 236322"/>
                  <a:gd name="connsiteY143" fmla="*/ 149035 h 185351"/>
                  <a:gd name="connsiteX144" fmla="*/ 101711 w 236322"/>
                  <a:gd name="connsiteY144" fmla="*/ 152278 h 185351"/>
                  <a:gd name="connsiteX145" fmla="*/ 101248 w 236322"/>
                  <a:gd name="connsiteY145" fmla="*/ 148571 h 185351"/>
                  <a:gd name="connsiteX146" fmla="*/ 101248 w 236322"/>
                  <a:gd name="connsiteY146" fmla="*/ 142547 h 185351"/>
                  <a:gd name="connsiteX147" fmla="*/ 101711 w 236322"/>
                  <a:gd name="connsiteY147" fmla="*/ 136523 h 185351"/>
                  <a:gd name="connsiteX148" fmla="*/ 99395 w 236322"/>
                  <a:gd name="connsiteY148" fmla="*/ 143011 h 185351"/>
                  <a:gd name="connsiteX149" fmla="*/ 98931 w 236322"/>
                  <a:gd name="connsiteY149" fmla="*/ 145328 h 185351"/>
                  <a:gd name="connsiteX150" fmla="*/ 72055 w 236322"/>
                  <a:gd name="connsiteY150" fmla="*/ 145791 h 185351"/>
                  <a:gd name="connsiteX151" fmla="*/ 70202 w 236322"/>
                  <a:gd name="connsiteY151" fmla="*/ 136523 h 185351"/>
                  <a:gd name="connsiteX152" fmla="*/ 70202 w 236322"/>
                  <a:gd name="connsiteY152" fmla="*/ 151352 h 185351"/>
                  <a:gd name="connsiteX153" fmla="*/ 68348 w 236322"/>
                  <a:gd name="connsiteY153" fmla="*/ 158766 h 185351"/>
                  <a:gd name="connsiteX154" fmla="*/ 63715 w 236322"/>
                  <a:gd name="connsiteY154" fmla="*/ 166643 h 185351"/>
                  <a:gd name="connsiteX155" fmla="*/ 63251 w 236322"/>
                  <a:gd name="connsiteY155" fmla="*/ 174057 h 185351"/>
                  <a:gd name="connsiteX156" fmla="*/ 46106 w 236322"/>
                  <a:gd name="connsiteY156" fmla="*/ 174057 h 185351"/>
                  <a:gd name="connsiteX157" fmla="*/ 35448 w 236322"/>
                  <a:gd name="connsiteY157" fmla="*/ 165716 h 185351"/>
                  <a:gd name="connsiteX158" fmla="*/ 39619 w 236322"/>
                  <a:gd name="connsiteY158" fmla="*/ 149035 h 185351"/>
                  <a:gd name="connsiteX159" fmla="*/ 23864 w 236322"/>
                  <a:gd name="connsiteY159" fmla="*/ 110111 h 185351"/>
                  <a:gd name="connsiteX160" fmla="*/ 25717 w 236322"/>
                  <a:gd name="connsiteY160" fmla="*/ 87405 h 185351"/>
                  <a:gd name="connsiteX161" fmla="*/ 41936 w 236322"/>
                  <a:gd name="connsiteY161" fmla="*/ 61920 h 185351"/>
                  <a:gd name="connsiteX162" fmla="*/ 78079 w 236322"/>
                  <a:gd name="connsiteY162" fmla="*/ 46628 h 185351"/>
                  <a:gd name="connsiteX163" fmla="*/ 66495 w 236322"/>
                  <a:gd name="connsiteY163" fmla="*/ 60066 h 185351"/>
                  <a:gd name="connsiteX164" fmla="*/ 57227 w 236322"/>
                  <a:gd name="connsiteY164" fmla="*/ 74894 h 185351"/>
                  <a:gd name="connsiteX165" fmla="*/ 58617 w 236322"/>
                  <a:gd name="connsiteY165" fmla="*/ 91112 h 185351"/>
                  <a:gd name="connsiteX166" fmla="*/ 66495 w 236322"/>
                  <a:gd name="connsiteY166" fmla="*/ 104550 h 185351"/>
                  <a:gd name="connsiteX167" fmla="*/ 64178 w 236322"/>
                  <a:gd name="connsiteY167" fmla="*/ 114281 h 185351"/>
                  <a:gd name="connsiteX168" fmla="*/ 77616 w 236322"/>
                  <a:gd name="connsiteY168" fmla="*/ 124476 h 185351"/>
                  <a:gd name="connsiteX169" fmla="*/ 90590 w 236322"/>
                  <a:gd name="connsiteY169" fmla="*/ 123086 h 185351"/>
                  <a:gd name="connsiteX170" fmla="*/ 119320 w 236322"/>
                  <a:gd name="connsiteY170" fmla="*/ 111501 h 185351"/>
                  <a:gd name="connsiteX171" fmla="*/ 121173 w 236322"/>
                  <a:gd name="connsiteY171" fmla="*/ 77211 h 185351"/>
                  <a:gd name="connsiteX172" fmla="*/ 118393 w 236322"/>
                  <a:gd name="connsiteY172" fmla="*/ 53579 h 185351"/>
                  <a:gd name="connsiteX173" fmla="*/ 117466 w 236322"/>
                  <a:gd name="connsiteY173" fmla="*/ 77674 h 185351"/>
                  <a:gd name="connsiteX174" fmla="*/ 115613 w 236322"/>
                  <a:gd name="connsiteY174" fmla="*/ 107794 h 185351"/>
                  <a:gd name="connsiteX175" fmla="*/ 88737 w 236322"/>
                  <a:gd name="connsiteY175" fmla="*/ 118915 h 185351"/>
                  <a:gd name="connsiteX176" fmla="*/ 77616 w 236322"/>
                  <a:gd name="connsiteY176" fmla="*/ 119842 h 185351"/>
                  <a:gd name="connsiteX177" fmla="*/ 68348 w 236322"/>
                  <a:gd name="connsiteY177" fmla="*/ 112428 h 185351"/>
                  <a:gd name="connsiteX178" fmla="*/ 71129 w 236322"/>
                  <a:gd name="connsiteY178" fmla="*/ 101770 h 185351"/>
                  <a:gd name="connsiteX179" fmla="*/ 82250 w 236322"/>
                  <a:gd name="connsiteY179" fmla="*/ 82772 h 185351"/>
                  <a:gd name="connsiteX180" fmla="*/ 69275 w 236322"/>
                  <a:gd name="connsiteY180" fmla="*/ 99453 h 185351"/>
                  <a:gd name="connsiteX181" fmla="*/ 62324 w 236322"/>
                  <a:gd name="connsiteY181" fmla="*/ 88332 h 185351"/>
                  <a:gd name="connsiteX182" fmla="*/ 60934 w 236322"/>
                  <a:gd name="connsiteY182" fmla="*/ 76284 h 185351"/>
                  <a:gd name="connsiteX183" fmla="*/ 70202 w 236322"/>
                  <a:gd name="connsiteY183" fmla="*/ 61456 h 185351"/>
                  <a:gd name="connsiteX184" fmla="*/ 92907 w 236322"/>
                  <a:gd name="connsiteY184" fmla="*/ 35970 h 185351"/>
                  <a:gd name="connsiteX185" fmla="*/ 104955 w 236322"/>
                  <a:gd name="connsiteY185" fmla="*/ 30873 h 185351"/>
                  <a:gd name="connsiteX186" fmla="*/ 121173 w 236322"/>
                  <a:gd name="connsiteY186" fmla="*/ 27630 h 185351"/>
                  <a:gd name="connsiteX187" fmla="*/ 105419 w 236322"/>
                  <a:gd name="connsiteY187" fmla="*/ 29020 h 185351"/>
                  <a:gd name="connsiteX188" fmla="*/ 121637 w 236322"/>
                  <a:gd name="connsiteY188" fmla="*/ 15118 h 185351"/>
                  <a:gd name="connsiteX189" fmla="*/ 170755 w 236322"/>
                  <a:gd name="connsiteY189" fmla="*/ 18825 h 185351"/>
                  <a:gd name="connsiteX190" fmla="*/ 182803 w 236322"/>
                  <a:gd name="connsiteY190" fmla="*/ 28556 h 185351"/>
                  <a:gd name="connsiteX191" fmla="*/ 178169 w 236322"/>
                  <a:gd name="connsiteY191" fmla="*/ 29483 h 185351"/>
                  <a:gd name="connsiteX192" fmla="*/ 185120 w 236322"/>
                  <a:gd name="connsiteY192" fmla="*/ 29946 h 185351"/>
                  <a:gd name="connsiteX193" fmla="*/ 186973 w 236322"/>
                  <a:gd name="connsiteY193" fmla="*/ 31336 h 185351"/>
                  <a:gd name="connsiteX194" fmla="*/ 193460 w 236322"/>
                  <a:gd name="connsiteY194" fmla="*/ 36897 h 185351"/>
                  <a:gd name="connsiteX195" fmla="*/ 199021 w 236322"/>
                  <a:gd name="connsiteY195" fmla="*/ 46165 h 185351"/>
                  <a:gd name="connsiteX196" fmla="*/ 196241 w 236322"/>
                  <a:gd name="connsiteY196" fmla="*/ 45238 h 185351"/>
                  <a:gd name="connsiteX197" fmla="*/ 194387 w 236322"/>
                  <a:gd name="connsiteY197" fmla="*/ 44775 h 185351"/>
                  <a:gd name="connsiteX198" fmla="*/ 190680 w 236322"/>
                  <a:gd name="connsiteY198" fmla="*/ 45701 h 185351"/>
                  <a:gd name="connsiteX199" fmla="*/ 184656 w 236322"/>
                  <a:gd name="connsiteY199" fmla="*/ 47555 h 185351"/>
                  <a:gd name="connsiteX200" fmla="*/ 188363 w 236322"/>
                  <a:gd name="connsiteY200" fmla="*/ 47555 h 185351"/>
                  <a:gd name="connsiteX201" fmla="*/ 188827 w 236322"/>
                  <a:gd name="connsiteY201" fmla="*/ 47555 h 185351"/>
                  <a:gd name="connsiteX202" fmla="*/ 187900 w 236322"/>
                  <a:gd name="connsiteY202" fmla="*/ 49872 h 185351"/>
                  <a:gd name="connsiteX203" fmla="*/ 188363 w 236322"/>
                  <a:gd name="connsiteY203" fmla="*/ 53115 h 185351"/>
                  <a:gd name="connsiteX204" fmla="*/ 188827 w 236322"/>
                  <a:gd name="connsiteY204" fmla="*/ 54042 h 185351"/>
                  <a:gd name="connsiteX205" fmla="*/ 186510 w 236322"/>
                  <a:gd name="connsiteY205" fmla="*/ 54969 h 185351"/>
                  <a:gd name="connsiteX206" fmla="*/ 197631 w 236322"/>
                  <a:gd name="connsiteY206" fmla="*/ 54969 h 185351"/>
                  <a:gd name="connsiteX207" fmla="*/ 198558 w 236322"/>
                  <a:gd name="connsiteY207" fmla="*/ 58676 h 185351"/>
                  <a:gd name="connsiteX208" fmla="*/ 197167 w 236322"/>
                  <a:gd name="connsiteY208" fmla="*/ 58676 h 185351"/>
                  <a:gd name="connsiteX209" fmla="*/ 190680 w 236322"/>
                  <a:gd name="connsiteY209" fmla="*/ 58213 h 185351"/>
                  <a:gd name="connsiteX210" fmla="*/ 180949 w 236322"/>
                  <a:gd name="connsiteY210" fmla="*/ 71650 h 185351"/>
                  <a:gd name="connsiteX211" fmla="*/ 190680 w 236322"/>
                  <a:gd name="connsiteY211" fmla="*/ 60530 h 185351"/>
                  <a:gd name="connsiteX212" fmla="*/ 193924 w 236322"/>
                  <a:gd name="connsiteY212" fmla="*/ 60066 h 185351"/>
                  <a:gd name="connsiteX213" fmla="*/ 189753 w 236322"/>
                  <a:gd name="connsiteY213" fmla="*/ 64237 h 185351"/>
                  <a:gd name="connsiteX214" fmla="*/ 186973 w 236322"/>
                  <a:gd name="connsiteY214" fmla="*/ 77674 h 185351"/>
                  <a:gd name="connsiteX215" fmla="*/ 191607 w 236322"/>
                  <a:gd name="connsiteY215" fmla="*/ 65163 h 185351"/>
                  <a:gd name="connsiteX216" fmla="*/ 196704 w 236322"/>
                  <a:gd name="connsiteY216" fmla="*/ 60993 h 185351"/>
                  <a:gd name="connsiteX217" fmla="*/ 198094 w 236322"/>
                  <a:gd name="connsiteY217" fmla="*/ 60993 h 185351"/>
                  <a:gd name="connsiteX218" fmla="*/ 198558 w 236322"/>
                  <a:gd name="connsiteY218" fmla="*/ 68407 h 185351"/>
                  <a:gd name="connsiteX219" fmla="*/ 196704 w 236322"/>
                  <a:gd name="connsiteY219" fmla="*/ 80918 h 185351"/>
                  <a:gd name="connsiteX220" fmla="*/ 200875 w 236322"/>
                  <a:gd name="connsiteY220" fmla="*/ 68407 h 185351"/>
                  <a:gd name="connsiteX221" fmla="*/ 200875 w 236322"/>
                  <a:gd name="connsiteY221" fmla="*/ 54505 h 185351"/>
                  <a:gd name="connsiteX222" fmla="*/ 209679 w 236322"/>
                  <a:gd name="connsiteY222" fmla="*/ 46165 h 185351"/>
                  <a:gd name="connsiteX223" fmla="*/ 216629 w 236322"/>
                  <a:gd name="connsiteY223" fmla="*/ 38287 h 185351"/>
                  <a:gd name="connsiteX224" fmla="*/ 224043 w 236322"/>
                  <a:gd name="connsiteY224" fmla="*/ 41994 h 185351"/>
                  <a:gd name="connsiteX225" fmla="*/ 229141 w 236322"/>
                  <a:gd name="connsiteY225" fmla="*/ 79065 h 185351"/>
                  <a:gd name="connsiteX226" fmla="*/ 211996 w 236322"/>
                  <a:gd name="connsiteY226" fmla="*/ 109184 h 185351"/>
                  <a:gd name="connsiteX227" fmla="*/ 170292 w 236322"/>
                  <a:gd name="connsiteY227" fmla="*/ 107794 h 185351"/>
                  <a:gd name="connsiteX228" fmla="*/ 163341 w 236322"/>
                  <a:gd name="connsiteY228" fmla="*/ 104087 h 185351"/>
                  <a:gd name="connsiteX229" fmla="*/ 164268 w 236322"/>
                  <a:gd name="connsiteY229" fmla="*/ 112428 h 185351"/>
                  <a:gd name="connsiteX230" fmla="*/ 152683 w 236322"/>
                  <a:gd name="connsiteY230" fmla="*/ 159229 h 185351"/>
                  <a:gd name="connsiteX231" fmla="*/ 146196 w 236322"/>
                  <a:gd name="connsiteY231" fmla="*/ 164326 h 185351"/>
                  <a:gd name="connsiteX232" fmla="*/ 134611 w 236322"/>
                  <a:gd name="connsiteY232" fmla="*/ 163863 h 185351"/>
                  <a:gd name="connsiteX233" fmla="*/ 129514 w 236322"/>
                  <a:gd name="connsiteY233" fmla="*/ 162936 h 185351"/>
                  <a:gd name="connsiteX234" fmla="*/ 142489 w 236322"/>
                  <a:gd name="connsiteY234" fmla="*/ 142084 h 185351"/>
                  <a:gd name="connsiteX235" fmla="*/ 146659 w 236322"/>
                  <a:gd name="connsiteY235" fmla="*/ 128646 h 185351"/>
                  <a:gd name="connsiteX236" fmla="*/ 148513 w 236322"/>
                  <a:gd name="connsiteY236" fmla="*/ 134207 h 185351"/>
                  <a:gd name="connsiteX237" fmla="*/ 150830 w 236322"/>
                  <a:gd name="connsiteY237" fmla="*/ 143011 h 185351"/>
                  <a:gd name="connsiteX238" fmla="*/ 151293 w 236322"/>
                  <a:gd name="connsiteY238" fmla="*/ 154132 h 185351"/>
                  <a:gd name="connsiteX239" fmla="*/ 152683 w 236322"/>
                  <a:gd name="connsiteY239" fmla="*/ 159229 h 185351"/>
                  <a:gd name="connsiteX240" fmla="*/ 17377 w 236322"/>
                  <a:gd name="connsiteY240" fmla="*/ 62846 h 185351"/>
                  <a:gd name="connsiteX241" fmla="*/ 15986 w 236322"/>
                  <a:gd name="connsiteY241" fmla="*/ 66553 h 185351"/>
                  <a:gd name="connsiteX242" fmla="*/ 11816 w 236322"/>
                  <a:gd name="connsiteY242" fmla="*/ 79991 h 185351"/>
                  <a:gd name="connsiteX243" fmla="*/ 18767 w 236322"/>
                  <a:gd name="connsiteY243" fmla="*/ 84162 h 185351"/>
                  <a:gd name="connsiteX244" fmla="*/ 23864 w 236322"/>
                  <a:gd name="connsiteY244" fmla="*/ 80918 h 185351"/>
                  <a:gd name="connsiteX245" fmla="*/ 22010 w 236322"/>
                  <a:gd name="connsiteY245" fmla="*/ 86479 h 185351"/>
                  <a:gd name="connsiteX246" fmla="*/ 21547 w 236322"/>
                  <a:gd name="connsiteY246" fmla="*/ 87405 h 185351"/>
                  <a:gd name="connsiteX247" fmla="*/ 11353 w 236322"/>
                  <a:gd name="connsiteY247" fmla="*/ 86015 h 185351"/>
                  <a:gd name="connsiteX248" fmla="*/ 9499 w 236322"/>
                  <a:gd name="connsiteY248" fmla="*/ 79991 h 185351"/>
                  <a:gd name="connsiteX249" fmla="*/ 17377 w 236322"/>
                  <a:gd name="connsiteY249" fmla="*/ 62846 h 185351"/>
                  <a:gd name="connsiteX250" fmla="*/ 17840 w 236322"/>
                  <a:gd name="connsiteY250" fmla="*/ 68407 h 185351"/>
                  <a:gd name="connsiteX251" fmla="*/ 18303 w 236322"/>
                  <a:gd name="connsiteY251" fmla="*/ 66553 h 185351"/>
                  <a:gd name="connsiteX252" fmla="*/ 18767 w 236322"/>
                  <a:gd name="connsiteY252" fmla="*/ 65627 h 185351"/>
                  <a:gd name="connsiteX253" fmla="*/ 20620 w 236322"/>
                  <a:gd name="connsiteY253" fmla="*/ 69334 h 185351"/>
                  <a:gd name="connsiteX254" fmla="*/ 17840 w 236322"/>
                  <a:gd name="connsiteY254" fmla="*/ 68407 h 185351"/>
                  <a:gd name="connsiteX255" fmla="*/ 22474 w 236322"/>
                  <a:gd name="connsiteY255" fmla="*/ 122622 h 185351"/>
                  <a:gd name="connsiteX256" fmla="*/ 34985 w 236322"/>
                  <a:gd name="connsiteY256" fmla="*/ 149498 h 185351"/>
                  <a:gd name="connsiteX257" fmla="*/ 33595 w 236322"/>
                  <a:gd name="connsiteY257" fmla="*/ 153205 h 185351"/>
                  <a:gd name="connsiteX258" fmla="*/ 17840 w 236322"/>
                  <a:gd name="connsiteY258" fmla="*/ 148108 h 185351"/>
                  <a:gd name="connsiteX259" fmla="*/ 12279 w 236322"/>
                  <a:gd name="connsiteY259" fmla="*/ 137914 h 185351"/>
                  <a:gd name="connsiteX260" fmla="*/ 14133 w 236322"/>
                  <a:gd name="connsiteY260" fmla="*/ 133743 h 185351"/>
                  <a:gd name="connsiteX261" fmla="*/ 21084 w 236322"/>
                  <a:gd name="connsiteY261" fmla="*/ 126793 h 185351"/>
                  <a:gd name="connsiteX262" fmla="*/ 22474 w 236322"/>
                  <a:gd name="connsiteY262" fmla="*/ 122622 h 185351"/>
                  <a:gd name="connsiteX263" fmla="*/ 199021 w 236322"/>
                  <a:gd name="connsiteY263" fmla="*/ 46165 h 185351"/>
                  <a:gd name="connsiteX264" fmla="*/ 199484 w 236322"/>
                  <a:gd name="connsiteY264" fmla="*/ 47555 h 185351"/>
                  <a:gd name="connsiteX265" fmla="*/ 199021 w 236322"/>
                  <a:gd name="connsiteY265" fmla="*/ 48018 h 185351"/>
                  <a:gd name="connsiteX266" fmla="*/ 197631 w 236322"/>
                  <a:gd name="connsiteY266" fmla="*/ 46165 h 185351"/>
                  <a:gd name="connsiteX267" fmla="*/ 199021 w 236322"/>
                  <a:gd name="connsiteY267" fmla="*/ 46165 h 18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36322" h="185351">
                    <a:moveTo>
                      <a:pt x="233774" y="56359"/>
                    </a:moveTo>
                    <a:cubicBezTo>
                      <a:pt x="232848" y="49408"/>
                      <a:pt x="230994" y="42458"/>
                      <a:pt x="228214" y="37824"/>
                    </a:cubicBezTo>
                    <a:cubicBezTo>
                      <a:pt x="227750" y="37361"/>
                      <a:pt x="227287" y="36434"/>
                      <a:pt x="226824" y="35970"/>
                    </a:cubicBezTo>
                    <a:cubicBezTo>
                      <a:pt x="225434" y="34580"/>
                      <a:pt x="223580" y="33653"/>
                      <a:pt x="221727" y="32727"/>
                    </a:cubicBezTo>
                    <a:cubicBezTo>
                      <a:pt x="219873" y="31800"/>
                      <a:pt x="217556" y="31800"/>
                      <a:pt x="215703" y="32727"/>
                    </a:cubicBezTo>
                    <a:cubicBezTo>
                      <a:pt x="215239" y="33190"/>
                      <a:pt x="214776" y="33190"/>
                      <a:pt x="214313" y="33653"/>
                    </a:cubicBezTo>
                    <a:cubicBezTo>
                      <a:pt x="213386" y="34580"/>
                      <a:pt x="212459" y="35970"/>
                      <a:pt x="211532" y="37361"/>
                    </a:cubicBezTo>
                    <a:cubicBezTo>
                      <a:pt x="210605" y="38751"/>
                      <a:pt x="209215" y="40604"/>
                      <a:pt x="208289" y="41531"/>
                    </a:cubicBezTo>
                    <a:cubicBezTo>
                      <a:pt x="206898" y="42921"/>
                      <a:pt x="205045" y="43384"/>
                      <a:pt x="203191" y="44311"/>
                    </a:cubicBezTo>
                    <a:cubicBezTo>
                      <a:pt x="202265" y="42458"/>
                      <a:pt x="201801" y="40604"/>
                      <a:pt x="200411" y="39214"/>
                    </a:cubicBezTo>
                    <a:cubicBezTo>
                      <a:pt x="199021" y="37361"/>
                      <a:pt x="198094" y="35507"/>
                      <a:pt x="196241" y="33653"/>
                    </a:cubicBezTo>
                    <a:lnTo>
                      <a:pt x="192534" y="29946"/>
                    </a:lnTo>
                    <a:cubicBezTo>
                      <a:pt x="191144" y="29020"/>
                      <a:pt x="189753" y="28093"/>
                      <a:pt x="188363" y="27166"/>
                    </a:cubicBezTo>
                    <a:cubicBezTo>
                      <a:pt x="184193" y="24386"/>
                      <a:pt x="180949" y="21606"/>
                      <a:pt x="177242" y="18362"/>
                    </a:cubicBezTo>
                    <a:cubicBezTo>
                      <a:pt x="175852" y="16972"/>
                      <a:pt x="173999" y="15582"/>
                      <a:pt x="172608" y="14192"/>
                    </a:cubicBezTo>
                    <a:cubicBezTo>
                      <a:pt x="164268" y="7241"/>
                      <a:pt x="156390" y="3997"/>
                      <a:pt x="148049" y="3534"/>
                    </a:cubicBezTo>
                    <a:cubicBezTo>
                      <a:pt x="139709" y="3071"/>
                      <a:pt x="130904" y="5387"/>
                      <a:pt x="120247" y="9558"/>
                    </a:cubicBezTo>
                    <a:cubicBezTo>
                      <a:pt x="115150" y="11875"/>
                      <a:pt x="111442" y="14192"/>
                      <a:pt x="108199" y="16972"/>
                    </a:cubicBezTo>
                    <a:cubicBezTo>
                      <a:pt x="104955" y="19752"/>
                      <a:pt x="102638" y="22996"/>
                      <a:pt x="99395" y="27166"/>
                    </a:cubicBezTo>
                    <a:cubicBezTo>
                      <a:pt x="97541" y="27166"/>
                      <a:pt x="96151" y="27630"/>
                      <a:pt x="94761" y="28093"/>
                    </a:cubicBezTo>
                    <a:cubicBezTo>
                      <a:pt x="92907" y="28556"/>
                      <a:pt x="91517" y="29946"/>
                      <a:pt x="89200" y="31800"/>
                    </a:cubicBezTo>
                    <a:cubicBezTo>
                      <a:pt x="87810" y="33190"/>
                      <a:pt x="86420" y="34580"/>
                      <a:pt x="85030" y="35507"/>
                    </a:cubicBezTo>
                    <a:lnTo>
                      <a:pt x="81323" y="39214"/>
                    </a:lnTo>
                    <a:cubicBezTo>
                      <a:pt x="71592" y="40604"/>
                      <a:pt x="64178" y="42458"/>
                      <a:pt x="57227" y="45238"/>
                    </a:cubicBezTo>
                    <a:cubicBezTo>
                      <a:pt x="50277" y="48018"/>
                      <a:pt x="43789" y="51725"/>
                      <a:pt x="37302" y="57286"/>
                    </a:cubicBezTo>
                    <a:cubicBezTo>
                      <a:pt x="34522" y="59603"/>
                      <a:pt x="32205" y="61920"/>
                      <a:pt x="30351" y="64700"/>
                    </a:cubicBezTo>
                    <a:cubicBezTo>
                      <a:pt x="28498" y="67480"/>
                      <a:pt x="26644" y="69797"/>
                      <a:pt x="25254" y="72577"/>
                    </a:cubicBezTo>
                    <a:cubicBezTo>
                      <a:pt x="23864" y="73967"/>
                      <a:pt x="22474" y="75357"/>
                      <a:pt x="21084" y="76748"/>
                    </a:cubicBezTo>
                    <a:cubicBezTo>
                      <a:pt x="19694" y="78138"/>
                      <a:pt x="18303" y="79065"/>
                      <a:pt x="16450" y="79528"/>
                    </a:cubicBezTo>
                    <a:cubicBezTo>
                      <a:pt x="15523" y="79991"/>
                      <a:pt x="15060" y="79991"/>
                      <a:pt x="15060" y="79991"/>
                    </a:cubicBezTo>
                    <a:lnTo>
                      <a:pt x="15060" y="79528"/>
                    </a:lnTo>
                    <a:cubicBezTo>
                      <a:pt x="17377" y="77211"/>
                      <a:pt x="17840" y="73967"/>
                      <a:pt x="17840" y="70724"/>
                    </a:cubicBezTo>
                    <a:cubicBezTo>
                      <a:pt x="18303" y="71187"/>
                      <a:pt x="18303" y="71650"/>
                      <a:pt x="18767" y="72114"/>
                    </a:cubicBezTo>
                    <a:cubicBezTo>
                      <a:pt x="19230" y="72577"/>
                      <a:pt x="19230" y="73041"/>
                      <a:pt x="19694" y="73504"/>
                    </a:cubicBezTo>
                    <a:lnTo>
                      <a:pt x="20620" y="72577"/>
                    </a:lnTo>
                    <a:lnTo>
                      <a:pt x="22010" y="73041"/>
                    </a:lnTo>
                    <a:cubicBezTo>
                      <a:pt x="22474" y="70724"/>
                      <a:pt x="22937" y="68407"/>
                      <a:pt x="22474" y="65627"/>
                    </a:cubicBezTo>
                    <a:cubicBezTo>
                      <a:pt x="22010" y="64237"/>
                      <a:pt x="21547" y="62846"/>
                      <a:pt x="20157" y="61920"/>
                    </a:cubicBezTo>
                    <a:cubicBezTo>
                      <a:pt x="20157" y="61456"/>
                      <a:pt x="20620" y="61456"/>
                      <a:pt x="20620" y="60993"/>
                    </a:cubicBezTo>
                    <a:cubicBezTo>
                      <a:pt x="21084" y="60066"/>
                      <a:pt x="21547" y="59139"/>
                      <a:pt x="21547" y="57749"/>
                    </a:cubicBezTo>
                    <a:lnTo>
                      <a:pt x="20620" y="57286"/>
                    </a:lnTo>
                    <a:lnTo>
                      <a:pt x="21547" y="57749"/>
                    </a:lnTo>
                    <a:lnTo>
                      <a:pt x="22937" y="56822"/>
                    </a:lnTo>
                    <a:lnTo>
                      <a:pt x="21084" y="57286"/>
                    </a:lnTo>
                    <a:cubicBezTo>
                      <a:pt x="18303" y="57749"/>
                      <a:pt x="12743" y="60993"/>
                      <a:pt x="8573" y="65163"/>
                    </a:cubicBezTo>
                    <a:cubicBezTo>
                      <a:pt x="7182" y="66553"/>
                      <a:pt x="5792" y="68407"/>
                      <a:pt x="4865" y="70260"/>
                    </a:cubicBezTo>
                    <a:cubicBezTo>
                      <a:pt x="3475" y="72577"/>
                      <a:pt x="3475" y="74431"/>
                      <a:pt x="3475" y="76284"/>
                    </a:cubicBezTo>
                    <a:cubicBezTo>
                      <a:pt x="3939" y="78138"/>
                      <a:pt x="4865" y="79528"/>
                      <a:pt x="6256" y="81382"/>
                    </a:cubicBezTo>
                    <a:cubicBezTo>
                      <a:pt x="6719" y="82772"/>
                      <a:pt x="6719" y="83698"/>
                      <a:pt x="7182" y="84625"/>
                    </a:cubicBezTo>
                    <a:cubicBezTo>
                      <a:pt x="7646" y="85552"/>
                      <a:pt x="8109" y="86479"/>
                      <a:pt x="8109" y="87405"/>
                    </a:cubicBezTo>
                    <a:cubicBezTo>
                      <a:pt x="9499" y="89722"/>
                      <a:pt x="11353" y="91576"/>
                      <a:pt x="13206" y="92039"/>
                    </a:cubicBezTo>
                    <a:cubicBezTo>
                      <a:pt x="15060" y="92502"/>
                      <a:pt x="16913" y="92502"/>
                      <a:pt x="18767" y="92039"/>
                    </a:cubicBezTo>
                    <a:cubicBezTo>
                      <a:pt x="18303" y="94356"/>
                      <a:pt x="18303" y="96673"/>
                      <a:pt x="17840" y="98990"/>
                    </a:cubicBezTo>
                    <a:cubicBezTo>
                      <a:pt x="17840" y="102234"/>
                      <a:pt x="17840" y="105941"/>
                      <a:pt x="18303" y="110111"/>
                    </a:cubicBezTo>
                    <a:cubicBezTo>
                      <a:pt x="18303" y="111038"/>
                      <a:pt x="18303" y="111964"/>
                      <a:pt x="18767" y="112891"/>
                    </a:cubicBezTo>
                    <a:cubicBezTo>
                      <a:pt x="18767" y="113818"/>
                      <a:pt x="19230" y="114745"/>
                      <a:pt x="19230" y="115671"/>
                    </a:cubicBezTo>
                    <a:cubicBezTo>
                      <a:pt x="18767" y="116598"/>
                      <a:pt x="18303" y="117525"/>
                      <a:pt x="18303" y="118452"/>
                    </a:cubicBezTo>
                    <a:cubicBezTo>
                      <a:pt x="17840" y="119842"/>
                      <a:pt x="17377" y="121695"/>
                      <a:pt x="16450" y="123086"/>
                    </a:cubicBezTo>
                    <a:cubicBezTo>
                      <a:pt x="15060" y="124476"/>
                      <a:pt x="14133" y="125403"/>
                      <a:pt x="12743" y="126793"/>
                    </a:cubicBezTo>
                    <a:cubicBezTo>
                      <a:pt x="11816" y="127719"/>
                      <a:pt x="10426" y="129109"/>
                      <a:pt x="9499" y="130036"/>
                    </a:cubicBezTo>
                    <a:lnTo>
                      <a:pt x="8573" y="130963"/>
                    </a:lnTo>
                    <a:cubicBezTo>
                      <a:pt x="6256" y="133280"/>
                      <a:pt x="5792" y="133743"/>
                      <a:pt x="6256" y="137450"/>
                    </a:cubicBezTo>
                    <a:cubicBezTo>
                      <a:pt x="6719" y="139767"/>
                      <a:pt x="7646" y="142084"/>
                      <a:pt x="8573" y="144864"/>
                    </a:cubicBezTo>
                    <a:cubicBezTo>
                      <a:pt x="9499" y="147181"/>
                      <a:pt x="11353" y="149035"/>
                      <a:pt x="13206" y="151352"/>
                    </a:cubicBezTo>
                    <a:cubicBezTo>
                      <a:pt x="16450" y="154132"/>
                      <a:pt x="20620" y="156912"/>
                      <a:pt x="24791" y="158766"/>
                    </a:cubicBezTo>
                    <a:cubicBezTo>
                      <a:pt x="27108" y="159692"/>
                      <a:pt x="29888" y="160156"/>
                      <a:pt x="32205" y="159692"/>
                    </a:cubicBezTo>
                    <a:cubicBezTo>
                      <a:pt x="32205" y="160156"/>
                      <a:pt x="32205" y="160619"/>
                      <a:pt x="31741" y="160619"/>
                    </a:cubicBezTo>
                    <a:cubicBezTo>
                      <a:pt x="31278" y="161546"/>
                      <a:pt x="30815" y="162473"/>
                      <a:pt x="30351" y="163863"/>
                    </a:cubicBezTo>
                    <a:cubicBezTo>
                      <a:pt x="27571" y="170350"/>
                      <a:pt x="30351" y="173594"/>
                      <a:pt x="34985" y="175447"/>
                    </a:cubicBezTo>
                    <a:cubicBezTo>
                      <a:pt x="37302" y="176374"/>
                      <a:pt x="40082" y="177301"/>
                      <a:pt x="42399" y="177764"/>
                    </a:cubicBezTo>
                    <a:cubicBezTo>
                      <a:pt x="42863" y="177764"/>
                      <a:pt x="43326" y="178227"/>
                      <a:pt x="44253" y="178227"/>
                    </a:cubicBezTo>
                    <a:cubicBezTo>
                      <a:pt x="47033" y="179154"/>
                      <a:pt x="52593" y="180544"/>
                      <a:pt x="57227" y="181008"/>
                    </a:cubicBezTo>
                    <a:cubicBezTo>
                      <a:pt x="62324" y="181471"/>
                      <a:pt x="66958" y="180081"/>
                      <a:pt x="68348" y="175447"/>
                    </a:cubicBezTo>
                    <a:cubicBezTo>
                      <a:pt x="68812" y="173594"/>
                      <a:pt x="69275" y="172204"/>
                      <a:pt x="69275" y="170814"/>
                    </a:cubicBezTo>
                    <a:lnTo>
                      <a:pt x="69275" y="166643"/>
                    </a:lnTo>
                    <a:cubicBezTo>
                      <a:pt x="70665" y="163399"/>
                      <a:pt x="71592" y="162473"/>
                      <a:pt x="72519" y="161082"/>
                    </a:cubicBezTo>
                    <a:cubicBezTo>
                      <a:pt x="72519" y="160619"/>
                      <a:pt x="72982" y="160619"/>
                      <a:pt x="72982" y="160156"/>
                    </a:cubicBezTo>
                    <a:cubicBezTo>
                      <a:pt x="73909" y="158302"/>
                      <a:pt x="74836" y="157375"/>
                      <a:pt x="74836" y="155985"/>
                    </a:cubicBezTo>
                    <a:lnTo>
                      <a:pt x="74836" y="151352"/>
                    </a:lnTo>
                    <a:lnTo>
                      <a:pt x="74836" y="150425"/>
                    </a:lnTo>
                    <a:cubicBezTo>
                      <a:pt x="77616" y="150888"/>
                      <a:pt x="80859" y="150888"/>
                      <a:pt x="83640" y="150888"/>
                    </a:cubicBezTo>
                    <a:lnTo>
                      <a:pt x="88274" y="150888"/>
                    </a:lnTo>
                    <a:cubicBezTo>
                      <a:pt x="87810" y="150888"/>
                      <a:pt x="87347" y="151352"/>
                      <a:pt x="86883" y="151352"/>
                    </a:cubicBezTo>
                    <a:cubicBezTo>
                      <a:pt x="86883" y="151352"/>
                      <a:pt x="86420" y="151352"/>
                      <a:pt x="86420" y="151815"/>
                    </a:cubicBezTo>
                    <a:cubicBezTo>
                      <a:pt x="82250" y="153668"/>
                      <a:pt x="82250" y="157839"/>
                      <a:pt x="83640" y="161546"/>
                    </a:cubicBezTo>
                    <a:cubicBezTo>
                      <a:pt x="84567" y="165253"/>
                      <a:pt x="86883" y="168960"/>
                      <a:pt x="88737" y="170814"/>
                    </a:cubicBezTo>
                    <a:cubicBezTo>
                      <a:pt x="91981" y="175447"/>
                      <a:pt x="94761" y="179618"/>
                      <a:pt x="98005" y="181471"/>
                    </a:cubicBezTo>
                    <a:cubicBezTo>
                      <a:pt x="101711" y="183788"/>
                      <a:pt x="105882" y="183788"/>
                      <a:pt x="111442" y="181008"/>
                    </a:cubicBezTo>
                    <a:cubicBezTo>
                      <a:pt x="114223" y="179618"/>
                      <a:pt x="115150" y="177764"/>
                      <a:pt x="116076" y="175911"/>
                    </a:cubicBezTo>
                    <a:cubicBezTo>
                      <a:pt x="116540" y="175447"/>
                      <a:pt x="117003" y="174521"/>
                      <a:pt x="117466" y="174057"/>
                    </a:cubicBezTo>
                    <a:cubicBezTo>
                      <a:pt x="118393" y="173130"/>
                      <a:pt x="121173" y="170814"/>
                      <a:pt x="124417" y="168497"/>
                    </a:cubicBezTo>
                    <a:cubicBezTo>
                      <a:pt x="125344" y="167570"/>
                      <a:pt x="126271" y="167107"/>
                      <a:pt x="127661" y="166180"/>
                    </a:cubicBezTo>
                    <a:cubicBezTo>
                      <a:pt x="128588" y="166643"/>
                      <a:pt x="129051" y="167107"/>
                      <a:pt x="130441" y="167570"/>
                    </a:cubicBezTo>
                    <a:cubicBezTo>
                      <a:pt x="131831" y="168033"/>
                      <a:pt x="133685" y="168033"/>
                      <a:pt x="135538" y="168033"/>
                    </a:cubicBezTo>
                    <a:lnTo>
                      <a:pt x="145269" y="168033"/>
                    </a:lnTo>
                    <a:lnTo>
                      <a:pt x="147586" y="168033"/>
                    </a:lnTo>
                    <a:cubicBezTo>
                      <a:pt x="150830" y="168033"/>
                      <a:pt x="153610" y="168033"/>
                      <a:pt x="155463" y="166643"/>
                    </a:cubicBezTo>
                    <a:cubicBezTo>
                      <a:pt x="157780" y="165253"/>
                      <a:pt x="158707" y="163399"/>
                      <a:pt x="159171" y="159692"/>
                    </a:cubicBezTo>
                    <a:lnTo>
                      <a:pt x="159171" y="155985"/>
                    </a:lnTo>
                    <a:cubicBezTo>
                      <a:pt x="159171" y="155059"/>
                      <a:pt x="158707" y="154132"/>
                      <a:pt x="157780" y="152742"/>
                    </a:cubicBezTo>
                    <a:lnTo>
                      <a:pt x="157780" y="147645"/>
                    </a:lnTo>
                    <a:lnTo>
                      <a:pt x="157780" y="142547"/>
                    </a:lnTo>
                    <a:cubicBezTo>
                      <a:pt x="157780" y="140694"/>
                      <a:pt x="157317" y="138840"/>
                      <a:pt x="156854" y="136987"/>
                    </a:cubicBezTo>
                    <a:cubicBezTo>
                      <a:pt x="156390" y="135133"/>
                      <a:pt x="155927" y="133743"/>
                      <a:pt x="155000" y="131890"/>
                    </a:cubicBezTo>
                    <a:cubicBezTo>
                      <a:pt x="154537" y="130500"/>
                      <a:pt x="154073" y="129573"/>
                      <a:pt x="153610" y="128183"/>
                    </a:cubicBezTo>
                    <a:lnTo>
                      <a:pt x="152683" y="128646"/>
                    </a:lnTo>
                    <a:lnTo>
                      <a:pt x="153610" y="128183"/>
                    </a:lnTo>
                    <a:cubicBezTo>
                      <a:pt x="153147" y="126329"/>
                      <a:pt x="152220" y="124476"/>
                      <a:pt x="151293" y="122622"/>
                    </a:cubicBezTo>
                    <a:lnTo>
                      <a:pt x="151293" y="121232"/>
                    </a:lnTo>
                    <a:lnTo>
                      <a:pt x="153147" y="123086"/>
                    </a:lnTo>
                    <a:lnTo>
                      <a:pt x="155927" y="125866"/>
                    </a:lnTo>
                    <a:cubicBezTo>
                      <a:pt x="157780" y="127719"/>
                      <a:pt x="159634" y="129573"/>
                      <a:pt x="161951" y="130963"/>
                    </a:cubicBezTo>
                    <a:cubicBezTo>
                      <a:pt x="164268" y="132353"/>
                      <a:pt x="166584" y="133280"/>
                      <a:pt x="169828" y="132816"/>
                    </a:cubicBezTo>
                    <a:cubicBezTo>
                      <a:pt x="173072" y="132816"/>
                      <a:pt x="176779" y="131426"/>
                      <a:pt x="180023" y="129109"/>
                    </a:cubicBezTo>
                    <a:cubicBezTo>
                      <a:pt x="182803" y="126793"/>
                      <a:pt x="185120" y="124012"/>
                      <a:pt x="186510" y="120769"/>
                    </a:cubicBezTo>
                    <a:cubicBezTo>
                      <a:pt x="186973" y="119842"/>
                      <a:pt x="186973" y="118915"/>
                      <a:pt x="187436" y="117988"/>
                    </a:cubicBezTo>
                    <a:cubicBezTo>
                      <a:pt x="187436" y="117061"/>
                      <a:pt x="187900" y="116598"/>
                      <a:pt x="187900" y="115671"/>
                    </a:cubicBezTo>
                    <a:cubicBezTo>
                      <a:pt x="192534" y="116598"/>
                      <a:pt x="198094" y="116598"/>
                      <a:pt x="202728" y="116135"/>
                    </a:cubicBezTo>
                    <a:cubicBezTo>
                      <a:pt x="207362" y="115671"/>
                      <a:pt x="212459" y="114281"/>
                      <a:pt x="216166" y="112428"/>
                    </a:cubicBezTo>
                    <a:cubicBezTo>
                      <a:pt x="222190" y="109184"/>
                      <a:pt x="226360" y="104550"/>
                      <a:pt x="229604" y="98990"/>
                    </a:cubicBezTo>
                    <a:cubicBezTo>
                      <a:pt x="233311" y="92966"/>
                      <a:pt x="235165" y="85552"/>
                      <a:pt x="236091" y="78138"/>
                    </a:cubicBezTo>
                    <a:cubicBezTo>
                      <a:pt x="235628" y="72577"/>
                      <a:pt x="235165" y="64237"/>
                      <a:pt x="233774" y="56359"/>
                    </a:cubicBezTo>
                    <a:moveTo>
                      <a:pt x="164268" y="112428"/>
                    </a:moveTo>
                    <a:cubicBezTo>
                      <a:pt x="162877" y="117061"/>
                      <a:pt x="160561" y="124939"/>
                      <a:pt x="167048" y="126329"/>
                    </a:cubicBezTo>
                    <a:cubicBezTo>
                      <a:pt x="169365" y="126793"/>
                      <a:pt x="170755" y="126793"/>
                      <a:pt x="173999" y="124939"/>
                    </a:cubicBezTo>
                    <a:cubicBezTo>
                      <a:pt x="171218" y="125403"/>
                      <a:pt x="169828" y="125403"/>
                      <a:pt x="167975" y="124939"/>
                    </a:cubicBezTo>
                    <a:cubicBezTo>
                      <a:pt x="166121" y="124476"/>
                      <a:pt x="165194" y="123549"/>
                      <a:pt x="164731" y="122159"/>
                    </a:cubicBezTo>
                    <a:cubicBezTo>
                      <a:pt x="165194" y="122622"/>
                      <a:pt x="166121" y="122622"/>
                      <a:pt x="167975" y="123086"/>
                    </a:cubicBezTo>
                    <a:cubicBezTo>
                      <a:pt x="172608" y="124012"/>
                      <a:pt x="177242" y="122159"/>
                      <a:pt x="178169" y="118452"/>
                    </a:cubicBezTo>
                    <a:cubicBezTo>
                      <a:pt x="178632" y="116598"/>
                      <a:pt x="178632" y="115671"/>
                      <a:pt x="179559" y="112891"/>
                    </a:cubicBezTo>
                    <a:cubicBezTo>
                      <a:pt x="180486" y="113355"/>
                      <a:pt x="181413" y="113355"/>
                      <a:pt x="182803" y="113818"/>
                    </a:cubicBezTo>
                    <a:cubicBezTo>
                      <a:pt x="182339" y="115671"/>
                      <a:pt x="181413" y="117525"/>
                      <a:pt x="180949" y="119842"/>
                    </a:cubicBezTo>
                    <a:cubicBezTo>
                      <a:pt x="179559" y="124939"/>
                      <a:pt x="173535" y="129109"/>
                      <a:pt x="167975" y="128646"/>
                    </a:cubicBezTo>
                    <a:cubicBezTo>
                      <a:pt x="162877" y="128646"/>
                      <a:pt x="160097" y="125403"/>
                      <a:pt x="156390" y="122622"/>
                    </a:cubicBezTo>
                    <a:cubicBezTo>
                      <a:pt x="154073" y="120769"/>
                      <a:pt x="151756" y="118452"/>
                      <a:pt x="149440" y="116598"/>
                    </a:cubicBezTo>
                    <a:cubicBezTo>
                      <a:pt x="143416" y="114745"/>
                      <a:pt x="138318" y="112428"/>
                      <a:pt x="132758" y="108257"/>
                    </a:cubicBezTo>
                    <a:cubicBezTo>
                      <a:pt x="136928" y="112891"/>
                      <a:pt x="139709" y="115671"/>
                      <a:pt x="145269" y="117988"/>
                    </a:cubicBezTo>
                    <a:cubicBezTo>
                      <a:pt x="144342" y="126329"/>
                      <a:pt x="141562" y="132353"/>
                      <a:pt x="139245" y="140230"/>
                    </a:cubicBezTo>
                    <a:cubicBezTo>
                      <a:pt x="138318" y="143938"/>
                      <a:pt x="129514" y="158302"/>
                      <a:pt x="126734" y="159692"/>
                    </a:cubicBezTo>
                    <a:cubicBezTo>
                      <a:pt x="124880" y="160619"/>
                      <a:pt x="114223" y="169887"/>
                      <a:pt x="111906" y="171277"/>
                    </a:cubicBezTo>
                    <a:cubicBezTo>
                      <a:pt x="110516" y="173130"/>
                      <a:pt x="109126" y="175911"/>
                      <a:pt x="106809" y="177301"/>
                    </a:cubicBezTo>
                    <a:cubicBezTo>
                      <a:pt x="99858" y="181008"/>
                      <a:pt x="95224" y="174057"/>
                      <a:pt x="91517" y="168033"/>
                    </a:cubicBezTo>
                    <a:cubicBezTo>
                      <a:pt x="89664" y="165253"/>
                      <a:pt x="85030" y="157375"/>
                      <a:pt x="89200" y="155059"/>
                    </a:cubicBezTo>
                    <a:cubicBezTo>
                      <a:pt x="92907" y="153205"/>
                      <a:pt x="95224" y="151352"/>
                      <a:pt x="99395" y="149035"/>
                    </a:cubicBezTo>
                    <a:cubicBezTo>
                      <a:pt x="99858" y="149962"/>
                      <a:pt x="100785" y="151352"/>
                      <a:pt x="101711" y="152278"/>
                    </a:cubicBezTo>
                    <a:cubicBezTo>
                      <a:pt x="101711" y="150888"/>
                      <a:pt x="101248" y="149962"/>
                      <a:pt x="101248" y="148571"/>
                    </a:cubicBezTo>
                    <a:cubicBezTo>
                      <a:pt x="100785" y="146255"/>
                      <a:pt x="100785" y="144864"/>
                      <a:pt x="101248" y="142547"/>
                    </a:cubicBezTo>
                    <a:cubicBezTo>
                      <a:pt x="101248" y="140694"/>
                      <a:pt x="101711" y="138377"/>
                      <a:pt x="101711" y="136523"/>
                    </a:cubicBezTo>
                    <a:cubicBezTo>
                      <a:pt x="101248" y="138840"/>
                      <a:pt x="99858" y="140694"/>
                      <a:pt x="99395" y="143011"/>
                    </a:cubicBezTo>
                    <a:cubicBezTo>
                      <a:pt x="98931" y="143938"/>
                      <a:pt x="98931" y="144401"/>
                      <a:pt x="98931" y="145328"/>
                    </a:cubicBezTo>
                    <a:cubicBezTo>
                      <a:pt x="90127" y="147181"/>
                      <a:pt x="80859" y="147181"/>
                      <a:pt x="72055" y="145791"/>
                    </a:cubicBezTo>
                    <a:cubicBezTo>
                      <a:pt x="71592" y="142547"/>
                      <a:pt x="70665" y="138840"/>
                      <a:pt x="70202" y="136523"/>
                    </a:cubicBezTo>
                    <a:lnTo>
                      <a:pt x="70202" y="151352"/>
                    </a:lnTo>
                    <a:cubicBezTo>
                      <a:pt x="70202" y="154595"/>
                      <a:pt x="70202" y="155985"/>
                      <a:pt x="68348" y="158766"/>
                    </a:cubicBezTo>
                    <a:cubicBezTo>
                      <a:pt x="66958" y="161546"/>
                      <a:pt x="66031" y="162009"/>
                      <a:pt x="63715" y="166643"/>
                    </a:cubicBezTo>
                    <a:cubicBezTo>
                      <a:pt x="63715" y="169423"/>
                      <a:pt x="63715" y="171277"/>
                      <a:pt x="63251" y="174057"/>
                    </a:cubicBezTo>
                    <a:cubicBezTo>
                      <a:pt x="61861" y="178691"/>
                      <a:pt x="49350" y="174984"/>
                      <a:pt x="46106" y="174057"/>
                    </a:cubicBezTo>
                    <a:cubicBezTo>
                      <a:pt x="41936" y="173130"/>
                      <a:pt x="33595" y="171277"/>
                      <a:pt x="35448" y="165716"/>
                    </a:cubicBezTo>
                    <a:cubicBezTo>
                      <a:pt x="37302" y="161082"/>
                      <a:pt x="38692" y="155985"/>
                      <a:pt x="39619" y="149035"/>
                    </a:cubicBezTo>
                    <a:cubicBezTo>
                      <a:pt x="32205" y="138377"/>
                      <a:pt x="25254" y="123549"/>
                      <a:pt x="23864" y="110111"/>
                    </a:cubicBezTo>
                    <a:cubicBezTo>
                      <a:pt x="22937" y="99917"/>
                      <a:pt x="23401" y="93429"/>
                      <a:pt x="25717" y="87405"/>
                    </a:cubicBezTo>
                    <a:cubicBezTo>
                      <a:pt x="29425" y="77674"/>
                      <a:pt x="34058" y="68870"/>
                      <a:pt x="41936" y="61920"/>
                    </a:cubicBezTo>
                    <a:cubicBezTo>
                      <a:pt x="52593" y="52652"/>
                      <a:pt x="62324" y="48945"/>
                      <a:pt x="78079" y="46628"/>
                    </a:cubicBezTo>
                    <a:cubicBezTo>
                      <a:pt x="74372" y="50798"/>
                      <a:pt x="70665" y="55432"/>
                      <a:pt x="66495" y="60066"/>
                    </a:cubicBezTo>
                    <a:cubicBezTo>
                      <a:pt x="62324" y="64700"/>
                      <a:pt x="60007" y="69797"/>
                      <a:pt x="57227" y="74894"/>
                    </a:cubicBezTo>
                    <a:cubicBezTo>
                      <a:pt x="53520" y="82308"/>
                      <a:pt x="53520" y="85089"/>
                      <a:pt x="58617" y="91112"/>
                    </a:cubicBezTo>
                    <a:cubicBezTo>
                      <a:pt x="62788" y="96673"/>
                      <a:pt x="65105" y="98990"/>
                      <a:pt x="66495" y="104550"/>
                    </a:cubicBezTo>
                    <a:cubicBezTo>
                      <a:pt x="65105" y="107794"/>
                      <a:pt x="64641" y="110111"/>
                      <a:pt x="64178" y="114281"/>
                    </a:cubicBezTo>
                    <a:cubicBezTo>
                      <a:pt x="69275" y="119842"/>
                      <a:pt x="72982" y="123549"/>
                      <a:pt x="77616" y="124476"/>
                    </a:cubicBezTo>
                    <a:cubicBezTo>
                      <a:pt x="82250" y="125403"/>
                      <a:pt x="86420" y="125403"/>
                      <a:pt x="90590" y="123086"/>
                    </a:cubicBezTo>
                    <a:cubicBezTo>
                      <a:pt x="99858" y="118452"/>
                      <a:pt x="108662" y="111964"/>
                      <a:pt x="119320" y="111501"/>
                    </a:cubicBezTo>
                    <a:cubicBezTo>
                      <a:pt x="124417" y="99453"/>
                      <a:pt x="123954" y="89259"/>
                      <a:pt x="121173" y="77211"/>
                    </a:cubicBezTo>
                    <a:cubicBezTo>
                      <a:pt x="119783" y="69334"/>
                      <a:pt x="118857" y="61456"/>
                      <a:pt x="118393" y="53579"/>
                    </a:cubicBezTo>
                    <a:cubicBezTo>
                      <a:pt x="116540" y="61920"/>
                      <a:pt x="116076" y="69334"/>
                      <a:pt x="117466" y="77674"/>
                    </a:cubicBezTo>
                    <a:cubicBezTo>
                      <a:pt x="119320" y="87869"/>
                      <a:pt x="120710" y="98990"/>
                      <a:pt x="115613" y="107794"/>
                    </a:cubicBezTo>
                    <a:cubicBezTo>
                      <a:pt x="105882" y="108721"/>
                      <a:pt x="97541" y="114281"/>
                      <a:pt x="88737" y="118915"/>
                    </a:cubicBezTo>
                    <a:cubicBezTo>
                      <a:pt x="85030" y="120769"/>
                      <a:pt x="81786" y="120769"/>
                      <a:pt x="77616" y="119842"/>
                    </a:cubicBezTo>
                    <a:cubicBezTo>
                      <a:pt x="74836" y="119378"/>
                      <a:pt x="72519" y="117061"/>
                      <a:pt x="68348" y="112428"/>
                    </a:cubicBezTo>
                    <a:cubicBezTo>
                      <a:pt x="68348" y="107794"/>
                      <a:pt x="69275" y="105941"/>
                      <a:pt x="71129" y="101770"/>
                    </a:cubicBezTo>
                    <a:cubicBezTo>
                      <a:pt x="74372" y="95283"/>
                      <a:pt x="78079" y="89259"/>
                      <a:pt x="82250" y="82772"/>
                    </a:cubicBezTo>
                    <a:cubicBezTo>
                      <a:pt x="77616" y="88796"/>
                      <a:pt x="72982" y="93893"/>
                      <a:pt x="69275" y="99453"/>
                    </a:cubicBezTo>
                    <a:cubicBezTo>
                      <a:pt x="67885" y="95283"/>
                      <a:pt x="65568" y="92966"/>
                      <a:pt x="62324" y="88332"/>
                    </a:cubicBezTo>
                    <a:cubicBezTo>
                      <a:pt x="59081" y="83698"/>
                      <a:pt x="58617" y="81845"/>
                      <a:pt x="60934" y="76284"/>
                    </a:cubicBezTo>
                    <a:cubicBezTo>
                      <a:pt x="63715" y="70724"/>
                      <a:pt x="65568" y="66090"/>
                      <a:pt x="70202" y="61456"/>
                    </a:cubicBezTo>
                    <a:cubicBezTo>
                      <a:pt x="77616" y="53115"/>
                      <a:pt x="84567" y="44311"/>
                      <a:pt x="92907" y="35970"/>
                    </a:cubicBezTo>
                    <a:cubicBezTo>
                      <a:pt x="97541" y="31800"/>
                      <a:pt x="99395" y="31800"/>
                      <a:pt x="104955" y="30873"/>
                    </a:cubicBezTo>
                    <a:cubicBezTo>
                      <a:pt x="110516" y="29946"/>
                      <a:pt x="115613" y="29020"/>
                      <a:pt x="121173" y="27630"/>
                    </a:cubicBezTo>
                    <a:cubicBezTo>
                      <a:pt x="115613" y="28556"/>
                      <a:pt x="110516" y="29020"/>
                      <a:pt x="105419" y="29020"/>
                    </a:cubicBezTo>
                    <a:cubicBezTo>
                      <a:pt x="110516" y="22532"/>
                      <a:pt x="113296" y="18825"/>
                      <a:pt x="121637" y="15118"/>
                    </a:cubicBezTo>
                    <a:cubicBezTo>
                      <a:pt x="142025" y="6314"/>
                      <a:pt x="155000" y="5387"/>
                      <a:pt x="170755" y="18825"/>
                    </a:cubicBezTo>
                    <a:cubicBezTo>
                      <a:pt x="174925" y="22532"/>
                      <a:pt x="178632" y="25776"/>
                      <a:pt x="182803" y="28556"/>
                    </a:cubicBezTo>
                    <a:cubicBezTo>
                      <a:pt x="181413" y="28556"/>
                      <a:pt x="180023" y="29020"/>
                      <a:pt x="178169" y="29483"/>
                    </a:cubicBezTo>
                    <a:cubicBezTo>
                      <a:pt x="180486" y="29020"/>
                      <a:pt x="182803" y="29483"/>
                      <a:pt x="185120" y="29946"/>
                    </a:cubicBezTo>
                    <a:cubicBezTo>
                      <a:pt x="185583" y="30410"/>
                      <a:pt x="186510" y="30873"/>
                      <a:pt x="186973" y="31336"/>
                    </a:cubicBezTo>
                    <a:cubicBezTo>
                      <a:pt x="189753" y="33190"/>
                      <a:pt x="191607" y="34117"/>
                      <a:pt x="193460" y="36897"/>
                    </a:cubicBezTo>
                    <a:cubicBezTo>
                      <a:pt x="195777" y="39678"/>
                      <a:pt x="197167" y="42921"/>
                      <a:pt x="199021" y="46165"/>
                    </a:cubicBezTo>
                    <a:cubicBezTo>
                      <a:pt x="198094" y="45701"/>
                      <a:pt x="197167" y="45701"/>
                      <a:pt x="196241" y="45238"/>
                    </a:cubicBezTo>
                    <a:cubicBezTo>
                      <a:pt x="195777" y="44775"/>
                      <a:pt x="194851" y="44775"/>
                      <a:pt x="194387" y="44775"/>
                    </a:cubicBezTo>
                    <a:cubicBezTo>
                      <a:pt x="192997" y="44775"/>
                      <a:pt x="192070" y="44775"/>
                      <a:pt x="190680" y="45701"/>
                    </a:cubicBezTo>
                    <a:cubicBezTo>
                      <a:pt x="188827" y="46628"/>
                      <a:pt x="186510" y="47555"/>
                      <a:pt x="184656" y="47555"/>
                    </a:cubicBezTo>
                    <a:cubicBezTo>
                      <a:pt x="185583" y="48018"/>
                      <a:pt x="187436" y="48018"/>
                      <a:pt x="188363" y="47555"/>
                    </a:cubicBezTo>
                    <a:lnTo>
                      <a:pt x="188827" y="47555"/>
                    </a:lnTo>
                    <a:cubicBezTo>
                      <a:pt x="188363" y="48018"/>
                      <a:pt x="188363" y="48945"/>
                      <a:pt x="187900" y="49872"/>
                    </a:cubicBezTo>
                    <a:cubicBezTo>
                      <a:pt x="187900" y="50798"/>
                      <a:pt x="187900" y="52189"/>
                      <a:pt x="188363" y="53115"/>
                    </a:cubicBezTo>
                    <a:cubicBezTo>
                      <a:pt x="188363" y="53579"/>
                      <a:pt x="188827" y="53579"/>
                      <a:pt x="188827" y="54042"/>
                    </a:cubicBezTo>
                    <a:cubicBezTo>
                      <a:pt x="187900" y="54505"/>
                      <a:pt x="187436" y="54505"/>
                      <a:pt x="186510" y="54969"/>
                    </a:cubicBezTo>
                    <a:cubicBezTo>
                      <a:pt x="190217" y="54505"/>
                      <a:pt x="193924" y="54505"/>
                      <a:pt x="197631" y="54969"/>
                    </a:cubicBezTo>
                    <a:cubicBezTo>
                      <a:pt x="198094" y="56359"/>
                      <a:pt x="198094" y="57286"/>
                      <a:pt x="198558" y="58676"/>
                    </a:cubicBezTo>
                    <a:lnTo>
                      <a:pt x="197167" y="58676"/>
                    </a:lnTo>
                    <a:cubicBezTo>
                      <a:pt x="195314" y="57286"/>
                      <a:pt x="193460" y="57286"/>
                      <a:pt x="190680" y="58213"/>
                    </a:cubicBezTo>
                    <a:cubicBezTo>
                      <a:pt x="182803" y="60066"/>
                      <a:pt x="184656" y="64700"/>
                      <a:pt x="180949" y="71650"/>
                    </a:cubicBezTo>
                    <a:cubicBezTo>
                      <a:pt x="184656" y="67017"/>
                      <a:pt x="184656" y="61920"/>
                      <a:pt x="190680" y="60530"/>
                    </a:cubicBezTo>
                    <a:cubicBezTo>
                      <a:pt x="192070" y="60066"/>
                      <a:pt x="192997" y="59603"/>
                      <a:pt x="193924" y="60066"/>
                    </a:cubicBezTo>
                    <a:cubicBezTo>
                      <a:pt x="192070" y="60993"/>
                      <a:pt x="190680" y="62383"/>
                      <a:pt x="189753" y="64237"/>
                    </a:cubicBezTo>
                    <a:cubicBezTo>
                      <a:pt x="187900" y="69334"/>
                      <a:pt x="189290" y="73041"/>
                      <a:pt x="186973" y="77674"/>
                    </a:cubicBezTo>
                    <a:cubicBezTo>
                      <a:pt x="189290" y="73504"/>
                      <a:pt x="189290" y="69797"/>
                      <a:pt x="191607" y="65163"/>
                    </a:cubicBezTo>
                    <a:cubicBezTo>
                      <a:pt x="192534" y="63773"/>
                      <a:pt x="195314" y="60993"/>
                      <a:pt x="196704" y="60993"/>
                    </a:cubicBezTo>
                    <a:lnTo>
                      <a:pt x="198094" y="60993"/>
                    </a:lnTo>
                    <a:cubicBezTo>
                      <a:pt x="198558" y="63773"/>
                      <a:pt x="198558" y="66553"/>
                      <a:pt x="198558" y="68407"/>
                    </a:cubicBezTo>
                    <a:cubicBezTo>
                      <a:pt x="198094" y="72577"/>
                      <a:pt x="197167" y="78601"/>
                      <a:pt x="196704" y="80918"/>
                    </a:cubicBezTo>
                    <a:cubicBezTo>
                      <a:pt x="199021" y="78138"/>
                      <a:pt x="199948" y="72577"/>
                      <a:pt x="200875" y="68407"/>
                    </a:cubicBezTo>
                    <a:cubicBezTo>
                      <a:pt x="201801" y="64237"/>
                      <a:pt x="201801" y="59139"/>
                      <a:pt x="200875" y="54505"/>
                    </a:cubicBezTo>
                    <a:cubicBezTo>
                      <a:pt x="199484" y="48018"/>
                      <a:pt x="205972" y="49408"/>
                      <a:pt x="209679" y="46165"/>
                    </a:cubicBezTo>
                    <a:cubicBezTo>
                      <a:pt x="212459" y="43848"/>
                      <a:pt x="214313" y="40604"/>
                      <a:pt x="216629" y="38287"/>
                    </a:cubicBezTo>
                    <a:cubicBezTo>
                      <a:pt x="218946" y="35970"/>
                      <a:pt x="223117" y="39214"/>
                      <a:pt x="224043" y="41994"/>
                    </a:cubicBezTo>
                    <a:cubicBezTo>
                      <a:pt x="228214" y="52189"/>
                      <a:pt x="230067" y="68407"/>
                      <a:pt x="229141" y="79065"/>
                    </a:cubicBezTo>
                    <a:cubicBezTo>
                      <a:pt x="227750" y="90649"/>
                      <a:pt x="222190" y="103624"/>
                      <a:pt x="211996" y="109184"/>
                    </a:cubicBezTo>
                    <a:cubicBezTo>
                      <a:pt x="199021" y="116598"/>
                      <a:pt x="183266" y="111964"/>
                      <a:pt x="170292" y="107794"/>
                    </a:cubicBezTo>
                    <a:cubicBezTo>
                      <a:pt x="167511" y="106867"/>
                      <a:pt x="165658" y="105477"/>
                      <a:pt x="163341" y="104087"/>
                    </a:cubicBezTo>
                    <a:cubicBezTo>
                      <a:pt x="164731" y="106404"/>
                      <a:pt x="165194" y="109648"/>
                      <a:pt x="164268" y="112428"/>
                    </a:cubicBezTo>
                    <a:moveTo>
                      <a:pt x="152683" y="159229"/>
                    </a:moveTo>
                    <a:cubicBezTo>
                      <a:pt x="152220" y="163863"/>
                      <a:pt x="150830" y="164326"/>
                      <a:pt x="146196" y="164326"/>
                    </a:cubicBezTo>
                    <a:cubicBezTo>
                      <a:pt x="144342" y="164326"/>
                      <a:pt x="136465" y="164326"/>
                      <a:pt x="134611" y="163863"/>
                    </a:cubicBezTo>
                    <a:cubicBezTo>
                      <a:pt x="131831" y="163399"/>
                      <a:pt x="130441" y="163399"/>
                      <a:pt x="129514" y="162936"/>
                    </a:cubicBezTo>
                    <a:cubicBezTo>
                      <a:pt x="133685" y="159692"/>
                      <a:pt x="141099" y="146718"/>
                      <a:pt x="142489" y="142084"/>
                    </a:cubicBezTo>
                    <a:cubicBezTo>
                      <a:pt x="143879" y="137450"/>
                      <a:pt x="145732" y="133280"/>
                      <a:pt x="146659" y="128646"/>
                    </a:cubicBezTo>
                    <a:cubicBezTo>
                      <a:pt x="147123" y="130500"/>
                      <a:pt x="147586" y="132353"/>
                      <a:pt x="148513" y="134207"/>
                    </a:cubicBezTo>
                    <a:cubicBezTo>
                      <a:pt x="149903" y="137450"/>
                      <a:pt x="150366" y="139304"/>
                      <a:pt x="150830" y="143011"/>
                    </a:cubicBezTo>
                    <a:cubicBezTo>
                      <a:pt x="150830" y="146718"/>
                      <a:pt x="150830" y="150425"/>
                      <a:pt x="151293" y="154132"/>
                    </a:cubicBezTo>
                    <a:cubicBezTo>
                      <a:pt x="152683" y="156449"/>
                      <a:pt x="152683" y="156912"/>
                      <a:pt x="152683" y="159229"/>
                    </a:cubicBezTo>
                    <a:moveTo>
                      <a:pt x="17377" y="62846"/>
                    </a:moveTo>
                    <a:cubicBezTo>
                      <a:pt x="16450" y="64237"/>
                      <a:pt x="15986" y="65627"/>
                      <a:pt x="15986" y="66553"/>
                    </a:cubicBezTo>
                    <a:cubicBezTo>
                      <a:pt x="14596" y="71650"/>
                      <a:pt x="16450" y="76284"/>
                      <a:pt x="11816" y="79991"/>
                    </a:cubicBezTo>
                    <a:cubicBezTo>
                      <a:pt x="14133" y="84162"/>
                      <a:pt x="13670" y="86015"/>
                      <a:pt x="18767" y="84162"/>
                    </a:cubicBezTo>
                    <a:cubicBezTo>
                      <a:pt x="20620" y="83235"/>
                      <a:pt x="22474" y="82308"/>
                      <a:pt x="23864" y="80918"/>
                    </a:cubicBezTo>
                    <a:cubicBezTo>
                      <a:pt x="23401" y="82772"/>
                      <a:pt x="22474" y="84625"/>
                      <a:pt x="22010" y="86479"/>
                    </a:cubicBezTo>
                    <a:cubicBezTo>
                      <a:pt x="22010" y="86942"/>
                      <a:pt x="22010" y="86942"/>
                      <a:pt x="21547" y="87405"/>
                    </a:cubicBezTo>
                    <a:cubicBezTo>
                      <a:pt x="17840" y="88796"/>
                      <a:pt x="13206" y="89722"/>
                      <a:pt x="11353" y="86015"/>
                    </a:cubicBezTo>
                    <a:cubicBezTo>
                      <a:pt x="10426" y="84162"/>
                      <a:pt x="9963" y="82308"/>
                      <a:pt x="9499" y="79991"/>
                    </a:cubicBezTo>
                    <a:cubicBezTo>
                      <a:pt x="3475" y="73967"/>
                      <a:pt x="12279" y="65627"/>
                      <a:pt x="17377" y="62846"/>
                    </a:cubicBezTo>
                    <a:moveTo>
                      <a:pt x="17840" y="68407"/>
                    </a:moveTo>
                    <a:cubicBezTo>
                      <a:pt x="17840" y="67943"/>
                      <a:pt x="17840" y="67017"/>
                      <a:pt x="18303" y="66553"/>
                    </a:cubicBezTo>
                    <a:cubicBezTo>
                      <a:pt x="18303" y="66090"/>
                      <a:pt x="18303" y="66090"/>
                      <a:pt x="18767" y="65627"/>
                    </a:cubicBezTo>
                    <a:cubicBezTo>
                      <a:pt x="20157" y="66553"/>
                      <a:pt x="20157" y="67480"/>
                      <a:pt x="20620" y="69334"/>
                    </a:cubicBezTo>
                    <a:cubicBezTo>
                      <a:pt x="19694" y="68407"/>
                      <a:pt x="18767" y="67943"/>
                      <a:pt x="17840" y="68407"/>
                    </a:cubicBezTo>
                    <a:moveTo>
                      <a:pt x="22474" y="122622"/>
                    </a:moveTo>
                    <a:cubicBezTo>
                      <a:pt x="25254" y="131890"/>
                      <a:pt x="29888" y="141621"/>
                      <a:pt x="34985" y="149498"/>
                    </a:cubicBezTo>
                    <a:cubicBezTo>
                      <a:pt x="34522" y="150888"/>
                      <a:pt x="34058" y="152278"/>
                      <a:pt x="33595" y="153205"/>
                    </a:cubicBezTo>
                    <a:cubicBezTo>
                      <a:pt x="29888" y="158302"/>
                      <a:pt x="20620" y="150888"/>
                      <a:pt x="17840" y="148108"/>
                    </a:cubicBezTo>
                    <a:cubicBezTo>
                      <a:pt x="14596" y="144864"/>
                      <a:pt x="12743" y="141157"/>
                      <a:pt x="12279" y="137914"/>
                    </a:cubicBezTo>
                    <a:cubicBezTo>
                      <a:pt x="11816" y="135597"/>
                      <a:pt x="12279" y="135597"/>
                      <a:pt x="14133" y="133743"/>
                    </a:cubicBezTo>
                    <a:lnTo>
                      <a:pt x="21084" y="126793"/>
                    </a:lnTo>
                    <a:cubicBezTo>
                      <a:pt x="21547" y="125403"/>
                      <a:pt x="22010" y="124012"/>
                      <a:pt x="22474" y="122622"/>
                    </a:cubicBezTo>
                    <a:moveTo>
                      <a:pt x="199021" y="46165"/>
                    </a:moveTo>
                    <a:cubicBezTo>
                      <a:pt x="199021" y="46628"/>
                      <a:pt x="199484" y="47091"/>
                      <a:pt x="199484" y="47555"/>
                    </a:cubicBezTo>
                    <a:lnTo>
                      <a:pt x="199021" y="48018"/>
                    </a:lnTo>
                    <a:cubicBezTo>
                      <a:pt x="198558" y="47555"/>
                      <a:pt x="198094" y="46628"/>
                      <a:pt x="197631" y="46165"/>
                    </a:cubicBezTo>
                    <a:lnTo>
                      <a:pt x="199021" y="46165"/>
                    </a:lnTo>
                    <a:close/>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37" name="Freeform: Shape 36">
                <a:extLst>
                  <a:ext uri="{FF2B5EF4-FFF2-40B4-BE49-F238E27FC236}">
                    <a16:creationId xmlns:a16="http://schemas.microsoft.com/office/drawing/2014/main" id="{90AAF421-2181-4329-9478-3C8888302E5A}"/>
                  </a:ext>
                </a:extLst>
              </p:cNvPr>
              <p:cNvSpPr/>
              <p:nvPr/>
            </p:nvSpPr>
            <p:spPr>
              <a:xfrm>
                <a:off x="856023" y="9515998"/>
                <a:ext cx="39430" cy="31543"/>
              </a:xfrm>
              <a:custGeom>
                <a:avLst/>
                <a:gdLst>
                  <a:gd name="connsiteX0" fmla="*/ 12279 w 23168"/>
                  <a:gd name="connsiteY0" fmla="*/ 17377 h 18535"/>
                  <a:gd name="connsiteX1" fmla="*/ 23401 w 23168"/>
                  <a:gd name="connsiteY1" fmla="*/ 3475 h 18535"/>
                  <a:gd name="connsiteX2" fmla="*/ 11353 w 23168"/>
                  <a:gd name="connsiteY2" fmla="*/ 15523 h 18535"/>
                  <a:gd name="connsiteX3" fmla="*/ 3475 w 23168"/>
                  <a:gd name="connsiteY3" fmla="*/ 15987 h 18535"/>
                  <a:gd name="connsiteX4" fmla="*/ 12279 w 23168"/>
                  <a:gd name="connsiteY4" fmla="*/ 17377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 h="18535">
                    <a:moveTo>
                      <a:pt x="12279" y="17377"/>
                    </a:moveTo>
                    <a:cubicBezTo>
                      <a:pt x="18767" y="15060"/>
                      <a:pt x="22010" y="9963"/>
                      <a:pt x="23401" y="3475"/>
                    </a:cubicBezTo>
                    <a:cubicBezTo>
                      <a:pt x="20620" y="8572"/>
                      <a:pt x="16913" y="13206"/>
                      <a:pt x="11353" y="15523"/>
                    </a:cubicBezTo>
                    <a:cubicBezTo>
                      <a:pt x="8573" y="16913"/>
                      <a:pt x="6719" y="16450"/>
                      <a:pt x="3475" y="15987"/>
                    </a:cubicBezTo>
                    <a:cubicBezTo>
                      <a:pt x="6719" y="17377"/>
                      <a:pt x="9036" y="18304"/>
                      <a:pt x="12279" y="17377"/>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38" name="Freeform: Shape 37">
                <a:extLst>
                  <a:ext uri="{FF2B5EF4-FFF2-40B4-BE49-F238E27FC236}">
                    <a16:creationId xmlns:a16="http://schemas.microsoft.com/office/drawing/2014/main" id="{D3E9013C-D1F3-4919-9E69-E51184D7DF60}"/>
                  </a:ext>
                </a:extLst>
              </p:cNvPr>
              <p:cNvSpPr/>
              <p:nvPr/>
            </p:nvSpPr>
            <p:spPr>
              <a:xfrm>
                <a:off x="761391" y="9537289"/>
                <a:ext cx="55200" cy="47316"/>
              </a:xfrm>
              <a:custGeom>
                <a:avLst/>
                <a:gdLst>
                  <a:gd name="connsiteX0" fmla="*/ 30815 w 32436"/>
                  <a:gd name="connsiteY0" fmla="*/ 11353 h 27802"/>
                  <a:gd name="connsiteX1" fmla="*/ 23864 w 32436"/>
                  <a:gd name="connsiteY1" fmla="*/ 12279 h 27802"/>
                  <a:gd name="connsiteX2" fmla="*/ 23401 w 32436"/>
                  <a:gd name="connsiteY2" fmla="*/ 9962 h 27802"/>
                  <a:gd name="connsiteX3" fmla="*/ 19230 w 32436"/>
                  <a:gd name="connsiteY3" fmla="*/ 6255 h 27802"/>
                  <a:gd name="connsiteX4" fmla="*/ 23864 w 32436"/>
                  <a:gd name="connsiteY4" fmla="*/ 3475 h 27802"/>
                  <a:gd name="connsiteX5" fmla="*/ 12743 w 32436"/>
                  <a:gd name="connsiteY5" fmla="*/ 6719 h 27802"/>
                  <a:gd name="connsiteX6" fmla="*/ 3475 w 32436"/>
                  <a:gd name="connsiteY6" fmla="*/ 16913 h 27802"/>
                  <a:gd name="connsiteX7" fmla="*/ 9036 w 32436"/>
                  <a:gd name="connsiteY7" fmla="*/ 13206 h 27802"/>
                  <a:gd name="connsiteX8" fmla="*/ 9963 w 32436"/>
                  <a:gd name="connsiteY8" fmla="*/ 16450 h 27802"/>
                  <a:gd name="connsiteX9" fmla="*/ 13206 w 32436"/>
                  <a:gd name="connsiteY9" fmla="*/ 19694 h 27802"/>
                  <a:gd name="connsiteX10" fmla="*/ 10889 w 32436"/>
                  <a:gd name="connsiteY10" fmla="*/ 24327 h 27802"/>
                  <a:gd name="connsiteX11" fmla="*/ 30815 w 32436"/>
                  <a:gd name="connsiteY11" fmla="*/ 11353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6" h="27802">
                    <a:moveTo>
                      <a:pt x="30815" y="11353"/>
                    </a:moveTo>
                    <a:cubicBezTo>
                      <a:pt x="28961" y="11353"/>
                      <a:pt x="26644" y="11816"/>
                      <a:pt x="23864" y="12279"/>
                    </a:cubicBezTo>
                    <a:cubicBezTo>
                      <a:pt x="23864" y="11353"/>
                      <a:pt x="23401" y="10889"/>
                      <a:pt x="23401" y="9962"/>
                    </a:cubicBezTo>
                    <a:cubicBezTo>
                      <a:pt x="22474" y="8109"/>
                      <a:pt x="21084" y="6719"/>
                      <a:pt x="19230" y="6255"/>
                    </a:cubicBezTo>
                    <a:cubicBezTo>
                      <a:pt x="20620" y="5329"/>
                      <a:pt x="22474" y="4402"/>
                      <a:pt x="23864" y="3475"/>
                    </a:cubicBezTo>
                    <a:cubicBezTo>
                      <a:pt x="20157" y="5329"/>
                      <a:pt x="15987" y="4865"/>
                      <a:pt x="12743" y="6719"/>
                    </a:cubicBezTo>
                    <a:cubicBezTo>
                      <a:pt x="9963" y="8572"/>
                      <a:pt x="6256" y="14596"/>
                      <a:pt x="3475" y="16913"/>
                    </a:cubicBezTo>
                    <a:cubicBezTo>
                      <a:pt x="5329" y="15987"/>
                      <a:pt x="7182" y="14596"/>
                      <a:pt x="9036" y="13206"/>
                    </a:cubicBezTo>
                    <a:cubicBezTo>
                      <a:pt x="9036" y="14133"/>
                      <a:pt x="9499" y="15523"/>
                      <a:pt x="9963" y="16450"/>
                    </a:cubicBezTo>
                    <a:cubicBezTo>
                      <a:pt x="10889" y="17840"/>
                      <a:pt x="11816" y="19230"/>
                      <a:pt x="13206" y="19694"/>
                    </a:cubicBezTo>
                    <a:cubicBezTo>
                      <a:pt x="12279" y="21084"/>
                      <a:pt x="11353" y="22474"/>
                      <a:pt x="10889" y="24327"/>
                    </a:cubicBezTo>
                    <a:cubicBezTo>
                      <a:pt x="15987" y="18304"/>
                      <a:pt x="23401" y="13206"/>
                      <a:pt x="30815" y="11353"/>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1" name="Freeform: Shape 40">
                <a:extLst>
                  <a:ext uri="{FF2B5EF4-FFF2-40B4-BE49-F238E27FC236}">
                    <a16:creationId xmlns:a16="http://schemas.microsoft.com/office/drawing/2014/main" id="{6177DAD3-98A5-40BD-BF0A-3BB2D592F337}"/>
                  </a:ext>
                </a:extLst>
              </p:cNvPr>
              <p:cNvSpPr/>
              <p:nvPr/>
            </p:nvSpPr>
            <p:spPr>
              <a:xfrm>
                <a:off x="750459" y="9514420"/>
                <a:ext cx="31543" cy="31543"/>
              </a:xfrm>
              <a:custGeom>
                <a:avLst/>
                <a:gdLst>
                  <a:gd name="connsiteX0" fmla="*/ 3876 w 18535"/>
                  <a:gd name="connsiteY0" fmla="*/ 17840 h 18535"/>
                  <a:gd name="connsiteX1" fmla="*/ 15460 w 18535"/>
                  <a:gd name="connsiteY1" fmla="*/ 3475 h 18535"/>
                  <a:gd name="connsiteX2" fmla="*/ 3876 w 18535"/>
                  <a:gd name="connsiteY2" fmla="*/ 17840 h 18535"/>
                </a:gdLst>
                <a:ahLst/>
                <a:cxnLst>
                  <a:cxn ang="0">
                    <a:pos x="connsiteX0" y="connsiteY0"/>
                  </a:cxn>
                  <a:cxn ang="0">
                    <a:pos x="connsiteX1" y="connsiteY1"/>
                  </a:cxn>
                  <a:cxn ang="0">
                    <a:pos x="connsiteX2" y="connsiteY2"/>
                  </a:cxn>
                </a:cxnLst>
                <a:rect l="l" t="t" r="r" b="b"/>
                <a:pathLst>
                  <a:path w="18535" h="18535">
                    <a:moveTo>
                      <a:pt x="3876" y="17840"/>
                    </a:moveTo>
                    <a:cubicBezTo>
                      <a:pt x="5266" y="12280"/>
                      <a:pt x="7119" y="7182"/>
                      <a:pt x="15460" y="3475"/>
                    </a:cubicBezTo>
                    <a:cubicBezTo>
                      <a:pt x="4339" y="6256"/>
                      <a:pt x="2486" y="10890"/>
                      <a:pt x="3876" y="17840"/>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4" name="Freeform: Shape 43">
                <a:extLst>
                  <a:ext uri="{FF2B5EF4-FFF2-40B4-BE49-F238E27FC236}">
                    <a16:creationId xmlns:a16="http://schemas.microsoft.com/office/drawing/2014/main" id="{4419337B-6355-46F2-B51C-BC0F54F00AF5}"/>
                  </a:ext>
                </a:extLst>
              </p:cNvPr>
              <p:cNvSpPr/>
              <p:nvPr/>
            </p:nvSpPr>
            <p:spPr>
              <a:xfrm>
                <a:off x="780317" y="9619302"/>
                <a:ext cx="23657" cy="23657"/>
              </a:xfrm>
              <a:custGeom>
                <a:avLst/>
                <a:gdLst>
                  <a:gd name="connsiteX0" fmla="*/ 4402 w 13901"/>
                  <a:gd name="connsiteY0" fmla="*/ 9036 h 13901"/>
                  <a:gd name="connsiteX1" fmla="*/ 3475 w 13901"/>
                  <a:gd name="connsiteY1" fmla="*/ 14133 h 13901"/>
                  <a:gd name="connsiteX2" fmla="*/ 5792 w 13901"/>
                  <a:gd name="connsiteY2" fmla="*/ 8573 h 13901"/>
                  <a:gd name="connsiteX3" fmla="*/ 9036 w 13901"/>
                  <a:gd name="connsiteY3" fmla="*/ 5792 h 13901"/>
                  <a:gd name="connsiteX4" fmla="*/ 13670 w 13901"/>
                  <a:gd name="connsiteY4" fmla="*/ 3475 h 13901"/>
                  <a:gd name="connsiteX5" fmla="*/ 8573 w 13901"/>
                  <a:gd name="connsiteY5" fmla="*/ 4402 h 13901"/>
                  <a:gd name="connsiteX6" fmla="*/ 4402 w 13901"/>
                  <a:gd name="connsiteY6" fmla="*/ 9036 h 1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01" h="13901">
                    <a:moveTo>
                      <a:pt x="4402" y="9036"/>
                    </a:moveTo>
                    <a:cubicBezTo>
                      <a:pt x="3939" y="10426"/>
                      <a:pt x="3939" y="12743"/>
                      <a:pt x="3475" y="14133"/>
                    </a:cubicBezTo>
                    <a:cubicBezTo>
                      <a:pt x="3939" y="12280"/>
                      <a:pt x="4866" y="9963"/>
                      <a:pt x="5792" y="8573"/>
                    </a:cubicBezTo>
                    <a:cubicBezTo>
                      <a:pt x="6719" y="6719"/>
                      <a:pt x="7182" y="6719"/>
                      <a:pt x="9036" y="5792"/>
                    </a:cubicBezTo>
                    <a:cubicBezTo>
                      <a:pt x="10426" y="5329"/>
                      <a:pt x="12743" y="3939"/>
                      <a:pt x="13670" y="3475"/>
                    </a:cubicBezTo>
                    <a:cubicBezTo>
                      <a:pt x="12280" y="3475"/>
                      <a:pt x="9963" y="4402"/>
                      <a:pt x="8573" y="4402"/>
                    </a:cubicBezTo>
                    <a:cubicBezTo>
                      <a:pt x="5329" y="4866"/>
                      <a:pt x="4866" y="5792"/>
                      <a:pt x="4402" y="9036"/>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5" name="Freeform: Shape 44">
                <a:extLst>
                  <a:ext uri="{FF2B5EF4-FFF2-40B4-BE49-F238E27FC236}">
                    <a16:creationId xmlns:a16="http://schemas.microsoft.com/office/drawing/2014/main" id="{E4C2FBF5-0B06-43CD-91A4-BFD92F0BBC0D}"/>
                  </a:ext>
                </a:extLst>
              </p:cNvPr>
              <p:cNvSpPr/>
              <p:nvPr/>
            </p:nvSpPr>
            <p:spPr>
              <a:xfrm>
                <a:off x="665183" y="9514420"/>
                <a:ext cx="63086" cy="55200"/>
              </a:xfrm>
              <a:custGeom>
                <a:avLst/>
                <a:gdLst>
                  <a:gd name="connsiteX0" fmla="*/ 12743 w 37070"/>
                  <a:gd name="connsiteY0" fmla="*/ 8109 h 32436"/>
                  <a:gd name="connsiteX1" fmla="*/ 3475 w 37070"/>
                  <a:gd name="connsiteY1" fmla="*/ 31278 h 32436"/>
                  <a:gd name="connsiteX2" fmla="*/ 14133 w 37070"/>
                  <a:gd name="connsiteY2" fmla="*/ 10890 h 32436"/>
                  <a:gd name="connsiteX3" fmla="*/ 16913 w 37070"/>
                  <a:gd name="connsiteY3" fmla="*/ 9036 h 32436"/>
                  <a:gd name="connsiteX4" fmla="*/ 15523 w 37070"/>
                  <a:gd name="connsiteY4" fmla="*/ 20620 h 32436"/>
                  <a:gd name="connsiteX5" fmla="*/ 22010 w 37070"/>
                  <a:gd name="connsiteY5" fmla="*/ 7182 h 32436"/>
                  <a:gd name="connsiteX6" fmla="*/ 33595 w 37070"/>
                  <a:gd name="connsiteY6" fmla="*/ 3475 h 32436"/>
                  <a:gd name="connsiteX7" fmla="*/ 20157 w 37070"/>
                  <a:gd name="connsiteY7" fmla="*/ 4865 h 32436"/>
                  <a:gd name="connsiteX8" fmla="*/ 12743 w 37070"/>
                  <a:gd name="connsiteY8" fmla="*/ 8109 h 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0" h="32436">
                    <a:moveTo>
                      <a:pt x="12743" y="8109"/>
                    </a:moveTo>
                    <a:cubicBezTo>
                      <a:pt x="8572" y="12280"/>
                      <a:pt x="4865" y="25717"/>
                      <a:pt x="3475" y="31278"/>
                    </a:cubicBezTo>
                    <a:cubicBezTo>
                      <a:pt x="5329" y="26644"/>
                      <a:pt x="10426" y="14133"/>
                      <a:pt x="14133" y="10890"/>
                    </a:cubicBezTo>
                    <a:cubicBezTo>
                      <a:pt x="15060" y="9963"/>
                      <a:pt x="15986" y="9499"/>
                      <a:pt x="16913" y="9036"/>
                    </a:cubicBezTo>
                    <a:cubicBezTo>
                      <a:pt x="14133" y="13670"/>
                      <a:pt x="14596" y="14597"/>
                      <a:pt x="15523" y="20620"/>
                    </a:cubicBezTo>
                    <a:cubicBezTo>
                      <a:pt x="16450" y="14597"/>
                      <a:pt x="18303" y="11816"/>
                      <a:pt x="22010" y="7182"/>
                    </a:cubicBezTo>
                    <a:cubicBezTo>
                      <a:pt x="25717" y="6256"/>
                      <a:pt x="29424" y="4865"/>
                      <a:pt x="33595" y="3475"/>
                    </a:cubicBezTo>
                    <a:cubicBezTo>
                      <a:pt x="28961" y="3939"/>
                      <a:pt x="24791" y="4402"/>
                      <a:pt x="20157" y="4865"/>
                    </a:cubicBezTo>
                    <a:cubicBezTo>
                      <a:pt x="15986" y="5792"/>
                      <a:pt x="15060" y="5792"/>
                      <a:pt x="12743" y="8109"/>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6" name="Freeform: Shape 45">
                <a:extLst>
                  <a:ext uri="{FF2B5EF4-FFF2-40B4-BE49-F238E27FC236}">
                    <a16:creationId xmlns:a16="http://schemas.microsoft.com/office/drawing/2014/main" id="{331AEB2B-8A15-4094-870A-393995A04CC4}"/>
                  </a:ext>
                </a:extLst>
              </p:cNvPr>
              <p:cNvSpPr/>
              <p:nvPr/>
            </p:nvSpPr>
            <p:spPr>
              <a:xfrm>
                <a:off x="774164" y="9554793"/>
                <a:ext cx="15773" cy="15773"/>
              </a:xfrm>
              <a:custGeom>
                <a:avLst/>
                <a:gdLst>
                  <a:gd name="connsiteX0" fmla="*/ 3848 w 9267"/>
                  <a:gd name="connsiteY0" fmla="*/ 8019 h 9267"/>
                  <a:gd name="connsiteX1" fmla="*/ 5238 w 9267"/>
                  <a:gd name="connsiteY1" fmla="*/ 3848 h 9267"/>
                  <a:gd name="connsiteX2" fmla="*/ 9409 w 9267"/>
                  <a:gd name="connsiteY2" fmla="*/ 5238 h 9267"/>
                  <a:gd name="connsiteX3" fmla="*/ 9409 w 9267"/>
                  <a:gd name="connsiteY3" fmla="*/ 5702 h 9267"/>
                  <a:gd name="connsiteX4" fmla="*/ 5238 w 9267"/>
                  <a:gd name="connsiteY4" fmla="*/ 9409 h 9267"/>
                  <a:gd name="connsiteX5" fmla="*/ 3848 w 9267"/>
                  <a:gd name="connsiteY5" fmla="*/ 8019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848" y="8019"/>
                    </a:moveTo>
                    <a:cubicBezTo>
                      <a:pt x="2922" y="6629"/>
                      <a:pt x="3848" y="4775"/>
                      <a:pt x="5238" y="3848"/>
                    </a:cubicBezTo>
                    <a:cubicBezTo>
                      <a:pt x="6629" y="2922"/>
                      <a:pt x="8482" y="3848"/>
                      <a:pt x="9409" y="5238"/>
                    </a:cubicBezTo>
                    <a:lnTo>
                      <a:pt x="9409" y="5702"/>
                    </a:lnTo>
                    <a:cubicBezTo>
                      <a:pt x="8019" y="6629"/>
                      <a:pt x="6629" y="8019"/>
                      <a:pt x="5238" y="9409"/>
                    </a:cubicBezTo>
                    <a:cubicBezTo>
                      <a:pt x="4775" y="9409"/>
                      <a:pt x="3848" y="8945"/>
                      <a:pt x="3848" y="8019"/>
                    </a:cubicBezTo>
                  </a:path>
                </a:pathLst>
              </a:custGeom>
              <a:solidFill>
                <a:srgbClr val="FFFACB"/>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7" name="Freeform: Shape 46">
                <a:extLst>
                  <a:ext uri="{FF2B5EF4-FFF2-40B4-BE49-F238E27FC236}">
                    <a16:creationId xmlns:a16="http://schemas.microsoft.com/office/drawing/2014/main" id="{3481E484-893F-4D9D-9F62-5813FD66A3A7}"/>
                  </a:ext>
                </a:extLst>
              </p:cNvPr>
              <p:cNvSpPr/>
              <p:nvPr/>
            </p:nvSpPr>
            <p:spPr>
              <a:xfrm>
                <a:off x="833154" y="9535712"/>
                <a:ext cx="15773" cy="15773"/>
              </a:xfrm>
              <a:custGeom>
                <a:avLst/>
                <a:gdLst>
                  <a:gd name="connsiteX0" fmla="*/ 3475 w 9267"/>
                  <a:gd name="connsiteY0" fmla="*/ 5792 h 9267"/>
                  <a:gd name="connsiteX1" fmla="*/ 5792 w 9267"/>
                  <a:gd name="connsiteY1" fmla="*/ 3475 h 9267"/>
                  <a:gd name="connsiteX2" fmla="*/ 8109 w 9267"/>
                  <a:gd name="connsiteY2" fmla="*/ 5792 h 9267"/>
                  <a:gd name="connsiteX3" fmla="*/ 8109 w 9267"/>
                  <a:gd name="connsiteY3" fmla="*/ 6719 h 9267"/>
                  <a:gd name="connsiteX4" fmla="*/ 4402 w 9267"/>
                  <a:gd name="connsiteY4" fmla="*/ 7646 h 9267"/>
                  <a:gd name="connsiteX5" fmla="*/ 3475 w 9267"/>
                  <a:gd name="connsiteY5" fmla="*/ 5792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475" y="5792"/>
                    </a:moveTo>
                    <a:cubicBezTo>
                      <a:pt x="3475" y="4402"/>
                      <a:pt x="4865" y="3475"/>
                      <a:pt x="5792" y="3475"/>
                    </a:cubicBezTo>
                    <a:cubicBezTo>
                      <a:pt x="7182" y="3475"/>
                      <a:pt x="8109" y="4865"/>
                      <a:pt x="8109" y="5792"/>
                    </a:cubicBezTo>
                    <a:lnTo>
                      <a:pt x="8109" y="6719"/>
                    </a:lnTo>
                    <a:cubicBezTo>
                      <a:pt x="6719" y="6719"/>
                      <a:pt x="5792" y="7182"/>
                      <a:pt x="4402" y="7646"/>
                    </a:cubicBezTo>
                    <a:cubicBezTo>
                      <a:pt x="3939" y="7646"/>
                      <a:pt x="3475" y="6719"/>
                      <a:pt x="3475" y="5792"/>
                    </a:cubicBezTo>
                  </a:path>
                </a:pathLst>
              </a:custGeom>
              <a:solidFill>
                <a:srgbClr val="FFFACB"/>
              </a:solidFill>
              <a:ln w="9525" cap="flat">
                <a:noFill/>
                <a:prstDash val="solid"/>
                <a:miter/>
              </a:ln>
            </p:spPr>
            <p:txBody>
              <a:bodyPr rtlCol="0" anchor="ctr"/>
              <a:lstStyle/>
              <a:p>
                <a:pPr>
                  <a:defRPr/>
                </a:pPr>
                <a:endParaRPr lang="en-US" sz="1200" dirty="0">
                  <a:solidFill>
                    <a:srgbClr val="505050"/>
                  </a:solidFill>
                  <a:latin typeface="Segoe UI"/>
                </a:endParaRPr>
              </a:p>
            </p:txBody>
          </p:sp>
        </p:grpSp>
      </p:grpSp>
      <p:grpSp>
        <p:nvGrpSpPr>
          <p:cNvPr id="8" name="Group 7">
            <a:extLst>
              <a:ext uri="{FF2B5EF4-FFF2-40B4-BE49-F238E27FC236}">
                <a16:creationId xmlns:a16="http://schemas.microsoft.com/office/drawing/2014/main" id="{6BCD293B-59D1-42E9-BAD5-3D53E2BAEF8A}"/>
              </a:ext>
            </a:extLst>
          </p:cNvPr>
          <p:cNvGrpSpPr/>
          <p:nvPr/>
        </p:nvGrpSpPr>
        <p:grpSpPr>
          <a:xfrm>
            <a:off x="0" y="1400213"/>
            <a:ext cx="12192000" cy="4155998"/>
            <a:chOff x="0" y="1400213"/>
            <a:chExt cx="12192000" cy="4155998"/>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fully managed, full spectrum open-source analytics</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loud-native</a:t>
              </a:r>
            </a:p>
            <a:p>
              <a:pPr lvl="1">
                <a:spcBef>
                  <a:spcPts val="600"/>
                </a:spcBef>
                <a:spcAft>
                  <a:spcPts val="0"/>
                </a:spcAft>
                <a:defRPr/>
              </a:pPr>
              <a:r>
                <a:rPr lang="en-US" dirty="0">
                  <a:solidFill>
                    <a:schemeClr val="tx1"/>
                  </a:solidFill>
                  <a:latin typeface="Segoe UI"/>
                </a:rPr>
                <a:t>Transform complex data into business user friendly semantic model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Low cost</a:t>
              </a:r>
            </a:p>
            <a:p>
              <a:pPr lvl="1">
                <a:spcBef>
                  <a:spcPts val="600"/>
                </a:spcBef>
                <a:spcAft>
                  <a:spcPts val="0"/>
                </a:spcAft>
                <a:defRPr/>
              </a:pPr>
              <a:r>
                <a:rPr lang="en-US" dirty="0">
                  <a:solidFill>
                    <a:schemeClr val="tx1"/>
                  </a:solidFill>
                  <a:latin typeface="Segoe UI"/>
                </a:rPr>
                <a:t>Based on powerful, </a:t>
              </a:r>
              <a:br>
                <a:rPr lang="en-US" dirty="0">
                  <a:solidFill>
                    <a:schemeClr val="tx1"/>
                  </a:solidFill>
                  <a:latin typeface="Segoe UI"/>
                </a:rPr>
              </a:br>
              <a:r>
                <a:rPr lang="en-US" dirty="0">
                  <a:solidFill>
                    <a:schemeClr val="tx1"/>
                  </a:solidFill>
                  <a:latin typeface="Segoe UI"/>
                </a:rPr>
                <a:t>proven SQL Server Analysis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4357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 and compliant</a:t>
              </a:r>
            </a:p>
            <a:p>
              <a:pPr lvl="1">
                <a:spcBef>
                  <a:spcPts val="600"/>
                </a:spcBef>
                <a:spcAft>
                  <a:spcPts val="0"/>
                </a:spcAft>
                <a:defRPr/>
              </a:pPr>
              <a:r>
                <a:rPr lang="en-US" dirty="0">
                  <a:solidFill>
                    <a:schemeClr val="tx1"/>
                  </a:solidFill>
                  <a:latin typeface="Segoe UI"/>
                </a:rPr>
                <a:t>Gain instant insights with </a:t>
              </a:r>
              <a:br>
                <a:rPr lang="en-US" dirty="0">
                  <a:solidFill>
                    <a:schemeClr val="tx1"/>
                  </a:solidFill>
                  <a:latin typeface="Segoe UI"/>
                </a:rPr>
              </a:br>
              <a:r>
                <a:rPr lang="en-US" dirty="0">
                  <a:solidFill>
                    <a:schemeClr val="tx1"/>
                  </a:solidFill>
                  <a:latin typeface="Segoe UI"/>
                </a:rPr>
                <a:t>in-memory cache using your preferred visualization tools </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asy to provision</a:t>
              </a:r>
            </a:p>
            <a:p>
              <a:pPr lvl="1">
                <a:spcBef>
                  <a:spcPts val="600"/>
                </a:spcBef>
                <a:spcAft>
                  <a:spcPts val="0"/>
                </a:spcAft>
                <a:defRPr/>
              </a:pPr>
              <a:r>
                <a:rPr lang="en-US" dirty="0">
                  <a:solidFill>
                    <a:schemeClr val="tx1"/>
                  </a:solidFill>
                  <a:latin typeface="Segoe UI"/>
                </a:rPr>
                <a:t>Easy to deploy, scale, </a:t>
              </a:r>
              <a:br>
                <a:rPr lang="en-US" dirty="0">
                  <a:solidFill>
                    <a:schemeClr val="tx1"/>
                  </a:solidFill>
                  <a:latin typeface="Segoe UI"/>
                </a:rPr>
              </a:br>
              <a:r>
                <a:rPr lang="en-US" dirty="0">
                  <a:solidFill>
                    <a:schemeClr val="tx1"/>
                  </a:solidFill>
                  <a:latin typeface="Segoe UI"/>
                </a:rPr>
                <a:t>and manage as </a:t>
              </a:r>
              <a:br>
                <a:rPr lang="en-US" dirty="0">
                  <a:solidFill>
                    <a:schemeClr val="tx1"/>
                  </a:solidFill>
                  <a:latin typeface="Segoe UI"/>
                </a:rPr>
              </a:br>
              <a:r>
                <a:rPr lang="en-US" dirty="0">
                  <a:solidFill>
                    <a:schemeClr val="tx1"/>
                  </a:solidFill>
                  <a:latin typeface="Segoe UI"/>
                </a:rPr>
                <a:t>platform-as-a-service</a:t>
              </a:r>
            </a:p>
          </p:txBody>
        </p:sp>
        <p:sp>
          <p:nvSpPr>
            <p:cNvPr id="50" name="Money_4" title="Icon of a stack of coins">
              <a:extLst>
                <a:ext uri="{FF2B5EF4-FFF2-40B4-BE49-F238E27FC236}">
                  <a16:creationId xmlns:a16="http://schemas.microsoft.com/office/drawing/2014/main" id="{FDB61339-8020-4066-A716-8C1C2FBE8A9B}"/>
                </a:ext>
              </a:extLst>
            </p:cNvPr>
            <p:cNvSpPr>
              <a:spLocks noChangeAspect="1" noEditPoints="1"/>
            </p:cNvSpPr>
            <p:nvPr/>
          </p:nvSpPr>
          <p:spPr bwMode="auto">
            <a:xfrm>
              <a:off x="3481285" y="3530278"/>
              <a:ext cx="615640" cy="571944"/>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1" name="Lock" title="Icon of a padlock">
              <a:extLst>
                <a:ext uri="{FF2B5EF4-FFF2-40B4-BE49-F238E27FC236}">
                  <a16:creationId xmlns:a16="http://schemas.microsoft.com/office/drawing/2014/main" id="{B2E628D9-EEE2-41E2-9494-85EB8B18A34A}"/>
                </a:ext>
              </a:extLst>
            </p:cNvPr>
            <p:cNvSpPr>
              <a:spLocks noChangeAspect="1" noEditPoints="1"/>
            </p:cNvSpPr>
            <p:nvPr/>
          </p:nvSpPr>
          <p:spPr bwMode="auto">
            <a:xfrm>
              <a:off x="6239525" y="34172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Processing_E9F5" title="Icon of two interlocked gears">
              <a:extLst>
                <a:ext uri="{FF2B5EF4-FFF2-40B4-BE49-F238E27FC236}">
                  <a16:creationId xmlns:a16="http://schemas.microsoft.com/office/drawing/2014/main" id="{5B974448-CDCE-4167-BD23-982C056F86D3}"/>
                </a:ext>
              </a:extLst>
            </p:cNvPr>
            <p:cNvSpPr>
              <a:spLocks noChangeAspect="1" noEditPoints="1"/>
            </p:cNvSpPr>
            <p:nvPr/>
          </p:nvSpPr>
          <p:spPr bwMode="auto">
            <a:xfrm flipH="1">
              <a:off x="9604056" y="3414532"/>
              <a:ext cx="769250" cy="66996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FA01461A-4E3E-4A70-8A21-8BD088D64FB5}"/>
                </a:ext>
              </a:extLst>
            </p:cNvPr>
            <p:cNvGrpSpPr/>
            <p:nvPr/>
          </p:nvGrpSpPr>
          <p:grpSpPr>
            <a:xfrm>
              <a:off x="427363" y="3530277"/>
              <a:ext cx="886710" cy="486414"/>
              <a:chOff x="5300310" y="1777914"/>
              <a:chExt cx="1591377" cy="872966"/>
            </a:xfrm>
          </p:grpSpPr>
          <p:sp>
            <p:nvSpPr>
              <p:cNvPr id="54" name="Business applications" title="Icon of a chart showing three peaks that get higher in succession, a dotted arrow line points forward and up">
                <a:extLst>
                  <a:ext uri="{FF2B5EF4-FFF2-40B4-BE49-F238E27FC236}">
                    <a16:creationId xmlns:a16="http://schemas.microsoft.com/office/drawing/2014/main" id="{5693B4F4-4B4B-4FC8-8AA5-4915F65B8B86}"/>
                  </a:ext>
                </a:extLst>
              </p:cNvPr>
              <p:cNvSpPr>
                <a:spLocks noChangeAspect="1" noEditPoints="1"/>
              </p:cNvSpPr>
              <p:nvPr/>
            </p:nvSpPr>
            <p:spPr bwMode="auto">
              <a:xfrm>
                <a:off x="5729171" y="2063002"/>
                <a:ext cx="587767" cy="483042"/>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55" name="Freeform 13" title="Icon of a cloud">
                <a:extLst>
                  <a:ext uri="{FF2B5EF4-FFF2-40B4-BE49-F238E27FC236}">
                    <a16:creationId xmlns:a16="http://schemas.microsoft.com/office/drawing/2014/main" id="{F0CD56F7-7CB9-48B7-8FB6-00A31F49137A}"/>
                  </a:ext>
                </a:extLst>
              </p:cNvPr>
              <p:cNvSpPr>
                <a:spLocks noChangeAspect="1"/>
              </p:cNvSpPr>
              <p:nvPr/>
            </p:nvSpPr>
            <p:spPr bwMode="auto">
              <a:xfrm>
                <a:off x="5300310" y="1777914"/>
                <a:ext cx="1591377" cy="872966"/>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spTree>
    <p:extLst>
      <p:ext uri="{BB962C8B-B14F-4D97-AF65-F5344CB8AC3E}">
        <p14:creationId xmlns:p14="http://schemas.microsoft.com/office/powerpoint/2010/main" val="24719833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SQL databas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8" name="Group 7">
            <a:extLst>
              <a:ext uri="{FF2B5EF4-FFF2-40B4-BE49-F238E27FC236}">
                <a16:creationId xmlns:a16="http://schemas.microsoft.com/office/drawing/2014/main" id="{2B7B9048-E4C8-4746-9043-52782D56D39D}"/>
              </a:ext>
            </a:extLst>
          </p:cNvPr>
          <p:cNvGrpSpPr/>
          <p:nvPr/>
        </p:nvGrpSpPr>
        <p:grpSpPr>
          <a:xfrm>
            <a:off x="0" y="1400213"/>
            <a:ext cx="12192000" cy="4654596"/>
            <a:chOff x="0" y="1400213"/>
            <a:chExt cx="12192000" cy="46545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n intelligent, fully-managed relational cloud database 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9343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elligent</a:t>
              </a:r>
            </a:p>
            <a:p>
              <a:pPr lvl="1">
                <a:spcBef>
                  <a:spcPts val="600"/>
                </a:spcBef>
                <a:spcAft>
                  <a:spcPts val="0"/>
                </a:spcAft>
                <a:defRPr/>
              </a:pPr>
              <a:r>
                <a:rPr lang="en-US" dirty="0">
                  <a:solidFill>
                    <a:schemeClr val="tx1"/>
                  </a:solidFill>
                  <a:latin typeface="Segoe UI"/>
                </a:rPr>
                <a:t>Tune and protect your database with built-in intelligence that automatically tunes the database for improved performance and protection</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a:t>
              </a:r>
            </a:p>
            <a:p>
              <a:pPr lvl="1">
                <a:spcBef>
                  <a:spcPts val="600"/>
                </a:spcBef>
                <a:spcAft>
                  <a:spcPts val="0"/>
                </a:spcAft>
                <a:defRPr/>
              </a:pPr>
              <a:r>
                <a:rPr lang="en-US" dirty="0">
                  <a:solidFill>
                    <a:schemeClr val="tx1"/>
                  </a:solidFill>
                  <a:latin typeface="Segoe UI"/>
                </a:rPr>
                <a:t>Built-in security and protection features dynamically mask sensitive data and encrypt it at rest and in motion</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Scale on the fly with minimal downtime as the demand for your app grows from a handful of devices to millions</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Enable DevOps by developing in SQL Server containers and deploying in SQL Database with the easy-to-use tools you already know</a:t>
              </a:r>
            </a:p>
          </p:txBody>
        </p:sp>
        <p:sp>
          <p:nvSpPr>
            <p:cNvPr id="46" name="light">
              <a:extLst>
                <a:ext uri="{FF2B5EF4-FFF2-40B4-BE49-F238E27FC236}">
                  <a16:creationId xmlns:a16="http://schemas.microsoft.com/office/drawing/2014/main" id="{8D646E0E-F133-4D00-86DA-7FAFA8CBE576}"/>
                </a:ext>
              </a:extLst>
            </p:cNvPr>
            <p:cNvSpPr>
              <a:spLocks noChangeAspect="1" noEditPoints="1"/>
            </p:cNvSpPr>
            <p:nvPr/>
          </p:nvSpPr>
          <p:spPr bwMode="auto">
            <a:xfrm>
              <a:off x="426808" y="3489864"/>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 name="Lock" title="Icon of a padlock">
              <a:extLst>
                <a:ext uri="{FF2B5EF4-FFF2-40B4-BE49-F238E27FC236}">
                  <a16:creationId xmlns:a16="http://schemas.microsoft.com/office/drawing/2014/main" id="{97466E7E-F925-4CC5-AE1A-95F6962CCF52}"/>
                </a:ext>
              </a:extLst>
            </p:cNvPr>
            <p:cNvSpPr>
              <a:spLocks noChangeAspect="1" noEditPoints="1"/>
            </p:cNvSpPr>
            <p:nvPr/>
          </p:nvSpPr>
          <p:spPr bwMode="auto">
            <a:xfrm>
              <a:off x="3507900" y="34172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Database_EFC7" title="Icon of a cylinder">
              <a:extLst>
                <a:ext uri="{FF2B5EF4-FFF2-40B4-BE49-F238E27FC236}">
                  <a16:creationId xmlns:a16="http://schemas.microsoft.com/office/drawing/2014/main" id="{3CEE5EA4-712B-484F-B5E0-A058E992DFA3}"/>
                </a:ext>
              </a:extLst>
            </p:cNvPr>
            <p:cNvSpPr>
              <a:spLocks noChangeAspect="1" noEditPoints="1"/>
            </p:cNvSpPr>
            <p:nvPr/>
          </p:nvSpPr>
          <p:spPr bwMode="auto">
            <a:xfrm>
              <a:off x="9621003" y="3505789"/>
              <a:ext cx="425822" cy="55350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5" name="Group 54">
              <a:extLst>
                <a:ext uri="{FF2B5EF4-FFF2-40B4-BE49-F238E27FC236}">
                  <a16:creationId xmlns:a16="http://schemas.microsoft.com/office/drawing/2014/main" id="{7B1AC33E-FA8D-489C-A179-F6AB841D9FA9}"/>
                </a:ext>
              </a:extLst>
            </p:cNvPr>
            <p:cNvGrpSpPr>
              <a:grpSpLocks noChangeAspect="1"/>
            </p:cNvGrpSpPr>
            <p:nvPr/>
          </p:nvGrpSpPr>
          <p:grpSpPr>
            <a:xfrm>
              <a:off x="6173518" y="3494175"/>
              <a:ext cx="928963" cy="512093"/>
              <a:chOff x="9569872" y="2014913"/>
              <a:chExt cx="868086" cy="478535"/>
            </a:xfrm>
          </p:grpSpPr>
          <p:sp>
            <p:nvSpPr>
              <p:cNvPr id="56" name="Shape 4978">
                <a:extLst>
                  <a:ext uri="{FF2B5EF4-FFF2-40B4-BE49-F238E27FC236}">
                    <a16:creationId xmlns:a16="http://schemas.microsoft.com/office/drawing/2014/main" id="{59C9DD8F-5F66-443F-97BF-64778251DC8E}"/>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7" name="Shape 4978">
                <a:extLst>
                  <a:ext uri="{FF2B5EF4-FFF2-40B4-BE49-F238E27FC236}">
                    <a16:creationId xmlns:a16="http://schemas.microsoft.com/office/drawing/2014/main" id="{3532B726-90C2-4158-9D22-C9CE5C9F9464}"/>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68" name="Freeform: Shape 27">
                <a:extLst>
                  <a:ext uri="{FF2B5EF4-FFF2-40B4-BE49-F238E27FC236}">
                    <a16:creationId xmlns:a16="http://schemas.microsoft.com/office/drawing/2014/main" id="{348A67FD-C2D7-4DB9-B669-F5A42933C634}"/>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0" name="Group 29">
            <a:extLst>
              <a:ext uri="{FF2B5EF4-FFF2-40B4-BE49-F238E27FC236}">
                <a16:creationId xmlns:a16="http://schemas.microsoft.com/office/drawing/2014/main" id="{C08D6106-9AF6-42D8-8BFD-634530DFE784}"/>
              </a:ext>
            </a:extLst>
          </p:cNvPr>
          <p:cNvGrpSpPr>
            <a:grpSpLocks noChangeAspect="1"/>
          </p:cNvGrpSpPr>
          <p:nvPr/>
        </p:nvGrpSpPr>
        <p:grpSpPr>
          <a:xfrm>
            <a:off x="10515601" y="234158"/>
            <a:ext cx="670862" cy="888367"/>
            <a:chOff x="6372224" y="3082295"/>
            <a:chExt cx="1533525" cy="2030732"/>
          </a:xfrm>
        </p:grpSpPr>
        <p:sp>
          <p:nvSpPr>
            <p:cNvPr id="31" name="Freeform: Shape 30">
              <a:extLst>
                <a:ext uri="{FF2B5EF4-FFF2-40B4-BE49-F238E27FC236}">
                  <a16:creationId xmlns:a16="http://schemas.microsoft.com/office/drawing/2014/main" id="{909E05B2-9C6D-4A33-B080-F1993D110D81}"/>
                </a:ext>
              </a:extLst>
            </p:cNvPr>
            <p:cNvSpPr/>
            <p:nvPr/>
          </p:nvSpPr>
          <p:spPr>
            <a:xfrm>
              <a:off x="6372224" y="3360425"/>
              <a:ext cx="761999" cy="1752602"/>
            </a:xfrm>
            <a:custGeom>
              <a:avLst/>
              <a:gdLst/>
              <a:ahLst/>
              <a:cxnLst/>
              <a:rect l="0" t="0" r="0" b="0"/>
              <a:pathLst>
                <a:path w="762000" h="1752600">
                  <a:moveTo>
                    <a:pt x="0" y="0"/>
                  </a:moveTo>
                  <a:lnTo>
                    <a:pt x="0" y="1480185"/>
                  </a:lnTo>
                  <a:cubicBezTo>
                    <a:pt x="0" y="1632585"/>
                    <a:pt x="344805" y="1758315"/>
                    <a:pt x="768668" y="1758315"/>
                  </a:cubicBezTo>
                  <a:lnTo>
                    <a:pt x="768668" y="0"/>
                  </a:lnTo>
                  <a:lnTo>
                    <a:pt x="0" y="0"/>
                  </a:lnTo>
                  <a:close/>
                </a:path>
              </a:pathLst>
            </a:custGeom>
            <a:solidFill>
              <a:srgbClr val="3999C6"/>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2" name="Freeform: Shape 31">
              <a:extLst>
                <a:ext uri="{FF2B5EF4-FFF2-40B4-BE49-F238E27FC236}">
                  <a16:creationId xmlns:a16="http://schemas.microsoft.com/office/drawing/2014/main" id="{8CBBFF3A-4C79-468F-B5E3-BB4F1CE4506C}"/>
                </a:ext>
              </a:extLst>
            </p:cNvPr>
            <p:cNvSpPr/>
            <p:nvPr/>
          </p:nvSpPr>
          <p:spPr>
            <a:xfrm>
              <a:off x="7129464" y="3360425"/>
              <a:ext cx="771526" cy="1752602"/>
            </a:xfrm>
            <a:custGeom>
              <a:avLst/>
              <a:gdLst/>
              <a:ahLst/>
              <a:cxnLst/>
              <a:rect l="0" t="0" r="0" b="0"/>
              <a:pathLst>
                <a:path w="771525" h="1752600">
                  <a:moveTo>
                    <a:pt x="0" y="1759268"/>
                  </a:moveTo>
                  <a:lnTo>
                    <a:pt x="11430" y="1759268"/>
                  </a:lnTo>
                  <a:cubicBezTo>
                    <a:pt x="436245" y="1759268"/>
                    <a:pt x="780097" y="1633537"/>
                    <a:pt x="780097" y="1481137"/>
                  </a:cubicBezTo>
                  <a:lnTo>
                    <a:pt x="780097" y="0"/>
                  </a:lnTo>
                  <a:lnTo>
                    <a:pt x="0" y="0"/>
                  </a:lnTo>
                  <a:lnTo>
                    <a:pt x="0" y="1759268"/>
                  </a:lnTo>
                  <a:close/>
                </a:path>
              </a:pathLst>
            </a:custGeom>
            <a:solidFill>
              <a:srgbClr val="5AB4D9"/>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3" name="Freeform: Shape 32">
              <a:extLst>
                <a:ext uri="{FF2B5EF4-FFF2-40B4-BE49-F238E27FC236}">
                  <a16:creationId xmlns:a16="http://schemas.microsoft.com/office/drawing/2014/main" id="{4BCC24B2-D513-4AAC-91AD-93736B018230}"/>
                </a:ext>
              </a:extLst>
            </p:cNvPr>
            <p:cNvSpPr/>
            <p:nvPr/>
          </p:nvSpPr>
          <p:spPr>
            <a:xfrm>
              <a:off x="6372224" y="3082295"/>
              <a:ext cx="1533525" cy="552451"/>
            </a:xfrm>
            <a:custGeom>
              <a:avLst/>
              <a:gdLst/>
              <a:ahLst/>
              <a:cxnLst/>
              <a:rect l="0" t="0" r="0" b="0"/>
              <a:pathLst>
                <a:path w="1533525" h="552450">
                  <a:moveTo>
                    <a:pt x="1537335" y="278130"/>
                  </a:moveTo>
                  <a:cubicBezTo>
                    <a:pt x="1537335" y="430530"/>
                    <a:pt x="1192530" y="556260"/>
                    <a:pt x="768668" y="556260"/>
                  </a:cubicBezTo>
                  <a:cubicBezTo>
                    <a:pt x="344805" y="556260"/>
                    <a:pt x="0" y="431482"/>
                    <a:pt x="0" y="278130"/>
                  </a:cubicBezTo>
                  <a:cubicBezTo>
                    <a:pt x="0" y="124777"/>
                    <a:pt x="344805" y="0"/>
                    <a:pt x="768668" y="0"/>
                  </a:cubicBezTo>
                  <a:cubicBezTo>
                    <a:pt x="1192530" y="0"/>
                    <a:pt x="1537335" y="122872"/>
                    <a:pt x="1537335" y="278130"/>
                  </a:cubicBezTo>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4" name="Freeform: Shape 33">
              <a:extLst>
                <a:ext uri="{FF2B5EF4-FFF2-40B4-BE49-F238E27FC236}">
                  <a16:creationId xmlns:a16="http://schemas.microsoft.com/office/drawing/2014/main" id="{91FA7AF0-73EA-4578-8F8B-D307D2989897}"/>
                </a:ext>
              </a:extLst>
            </p:cNvPr>
            <p:cNvSpPr/>
            <p:nvPr/>
          </p:nvSpPr>
          <p:spPr>
            <a:xfrm>
              <a:off x="6529389" y="3159446"/>
              <a:ext cx="1219201" cy="361951"/>
            </a:xfrm>
            <a:custGeom>
              <a:avLst/>
              <a:gdLst/>
              <a:ahLst/>
              <a:cxnLst/>
              <a:rect l="0" t="0" r="0" b="0"/>
              <a:pathLst>
                <a:path w="1219200" h="361950">
                  <a:moveTo>
                    <a:pt x="1223010" y="184785"/>
                  </a:moveTo>
                  <a:cubicBezTo>
                    <a:pt x="1223010" y="284798"/>
                    <a:pt x="949643" y="369570"/>
                    <a:pt x="611505" y="369570"/>
                  </a:cubicBezTo>
                  <a:cubicBezTo>
                    <a:pt x="273368" y="369570"/>
                    <a:pt x="0" y="287655"/>
                    <a:pt x="0" y="184785"/>
                  </a:cubicBezTo>
                  <a:cubicBezTo>
                    <a:pt x="0" y="84773"/>
                    <a:pt x="273368" y="0"/>
                    <a:pt x="611505" y="0"/>
                  </a:cubicBezTo>
                  <a:cubicBezTo>
                    <a:pt x="949643" y="0"/>
                    <a:pt x="1223010" y="82867"/>
                    <a:pt x="1223010" y="184785"/>
                  </a:cubicBezTo>
                </a:path>
              </a:pathLst>
            </a:custGeom>
            <a:solidFill>
              <a:srgbClr val="7FBB42"/>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5" name="Freeform: Shape 34">
              <a:extLst>
                <a:ext uri="{FF2B5EF4-FFF2-40B4-BE49-F238E27FC236}">
                  <a16:creationId xmlns:a16="http://schemas.microsoft.com/office/drawing/2014/main" id="{E2710DDA-2478-4D28-9501-3D7CF49A0A87}"/>
                </a:ext>
              </a:extLst>
            </p:cNvPr>
            <p:cNvSpPr/>
            <p:nvPr/>
          </p:nvSpPr>
          <p:spPr>
            <a:xfrm>
              <a:off x="6529389" y="3160397"/>
              <a:ext cx="1219201" cy="295278"/>
            </a:xfrm>
            <a:custGeom>
              <a:avLst/>
              <a:gdLst/>
              <a:ahLst/>
              <a:cxnLst/>
              <a:rect l="0" t="0" r="0" b="0"/>
              <a:pathLst>
                <a:path w="1219200" h="295275">
                  <a:moveTo>
                    <a:pt x="1095375" y="296227"/>
                  </a:moveTo>
                  <a:cubicBezTo>
                    <a:pt x="1175385" y="263842"/>
                    <a:pt x="1223010" y="225742"/>
                    <a:pt x="1223010" y="184785"/>
                  </a:cubicBezTo>
                  <a:cubicBezTo>
                    <a:pt x="1223010" y="84772"/>
                    <a:pt x="949643" y="0"/>
                    <a:pt x="611505" y="0"/>
                  </a:cubicBezTo>
                  <a:cubicBezTo>
                    <a:pt x="273368" y="0"/>
                    <a:pt x="0" y="81915"/>
                    <a:pt x="0" y="184785"/>
                  </a:cubicBezTo>
                  <a:cubicBezTo>
                    <a:pt x="0" y="228600"/>
                    <a:pt x="47625" y="266700"/>
                    <a:pt x="127635" y="296227"/>
                  </a:cubicBezTo>
                  <a:cubicBezTo>
                    <a:pt x="239078" y="252413"/>
                    <a:pt x="415290" y="225742"/>
                    <a:pt x="611505" y="225742"/>
                  </a:cubicBezTo>
                  <a:cubicBezTo>
                    <a:pt x="807720" y="222885"/>
                    <a:pt x="982980" y="252413"/>
                    <a:pt x="1095375" y="296227"/>
                  </a:cubicBezTo>
                </a:path>
              </a:pathLst>
            </a:custGeom>
            <a:solidFill>
              <a:srgbClr val="B8D433"/>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6" name="Freeform: Shape 35">
              <a:extLst>
                <a:ext uri="{FF2B5EF4-FFF2-40B4-BE49-F238E27FC236}">
                  <a16:creationId xmlns:a16="http://schemas.microsoft.com/office/drawing/2014/main" id="{EFE09BDC-668C-4965-A263-821857F9A233}"/>
                </a:ext>
              </a:extLst>
            </p:cNvPr>
            <p:cNvSpPr/>
            <p:nvPr/>
          </p:nvSpPr>
          <p:spPr>
            <a:xfrm>
              <a:off x="6557965" y="3962405"/>
              <a:ext cx="314324" cy="476251"/>
            </a:xfrm>
            <a:custGeom>
              <a:avLst/>
              <a:gdLst/>
              <a:ahLst/>
              <a:cxnLst/>
              <a:rect l="0" t="0" r="0" b="0"/>
              <a:pathLst>
                <a:path w="314325" h="476250">
                  <a:moveTo>
                    <a:pt x="5715" y="459105"/>
                  </a:moveTo>
                  <a:lnTo>
                    <a:pt x="5715" y="354330"/>
                  </a:lnTo>
                  <a:cubicBezTo>
                    <a:pt x="23813" y="370522"/>
                    <a:pt x="44767" y="381953"/>
                    <a:pt x="67628" y="390525"/>
                  </a:cubicBezTo>
                  <a:cubicBezTo>
                    <a:pt x="90488" y="397193"/>
                    <a:pt x="113347" y="401955"/>
                    <a:pt x="133350" y="401955"/>
                  </a:cubicBezTo>
                  <a:cubicBezTo>
                    <a:pt x="146685" y="401955"/>
                    <a:pt x="158115" y="400050"/>
                    <a:pt x="167640" y="397193"/>
                  </a:cubicBezTo>
                  <a:cubicBezTo>
                    <a:pt x="177165" y="395288"/>
                    <a:pt x="185738" y="392430"/>
                    <a:pt x="192405" y="387668"/>
                  </a:cubicBezTo>
                  <a:cubicBezTo>
                    <a:pt x="199072" y="382905"/>
                    <a:pt x="203835" y="378143"/>
                    <a:pt x="205740" y="371475"/>
                  </a:cubicBezTo>
                  <a:cubicBezTo>
                    <a:pt x="207645" y="364807"/>
                    <a:pt x="210503" y="360045"/>
                    <a:pt x="210503" y="353378"/>
                  </a:cubicBezTo>
                  <a:cubicBezTo>
                    <a:pt x="210503" y="343853"/>
                    <a:pt x="208597" y="335280"/>
                    <a:pt x="203835" y="328613"/>
                  </a:cubicBezTo>
                  <a:cubicBezTo>
                    <a:pt x="199072" y="321945"/>
                    <a:pt x="192405" y="315278"/>
                    <a:pt x="182880" y="307657"/>
                  </a:cubicBezTo>
                  <a:cubicBezTo>
                    <a:pt x="173355" y="300990"/>
                    <a:pt x="161925" y="296228"/>
                    <a:pt x="150495" y="289560"/>
                  </a:cubicBezTo>
                  <a:cubicBezTo>
                    <a:pt x="139065" y="284797"/>
                    <a:pt x="125730" y="278130"/>
                    <a:pt x="109538" y="271463"/>
                  </a:cubicBezTo>
                  <a:cubicBezTo>
                    <a:pt x="73343" y="255270"/>
                    <a:pt x="45720" y="237172"/>
                    <a:pt x="27622" y="217170"/>
                  </a:cubicBezTo>
                  <a:cubicBezTo>
                    <a:pt x="9525" y="194310"/>
                    <a:pt x="0" y="169545"/>
                    <a:pt x="0" y="137160"/>
                  </a:cubicBezTo>
                  <a:cubicBezTo>
                    <a:pt x="0" y="112395"/>
                    <a:pt x="4763" y="91440"/>
                    <a:pt x="13335" y="75247"/>
                  </a:cubicBezTo>
                  <a:cubicBezTo>
                    <a:pt x="22860" y="57150"/>
                    <a:pt x="36195" y="42863"/>
                    <a:pt x="52388" y="31432"/>
                  </a:cubicBezTo>
                  <a:cubicBezTo>
                    <a:pt x="68580" y="20003"/>
                    <a:pt x="88582" y="10478"/>
                    <a:pt x="111443" y="6668"/>
                  </a:cubicBezTo>
                  <a:cubicBezTo>
                    <a:pt x="134303" y="1905"/>
                    <a:pt x="157163" y="0"/>
                    <a:pt x="181928" y="0"/>
                  </a:cubicBezTo>
                  <a:cubicBezTo>
                    <a:pt x="206693" y="0"/>
                    <a:pt x="227647" y="1905"/>
                    <a:pt x="245745" y="4763"/>
                  </a:cubicBezTo>
                  <a:cubicBezTo>
                    <a:pt x="263843" y="6668"/>
                    <a:pt x="281940" y="11430"/>
                    <a:pt x="298132" y="18097"/>
                  </a:cubicBezTo>
                  <a:lnTo>
                    <a:pt x="298132" y="116205"/>
                  </a:lnTo>
                  <a:cubicBezTo>
                    <a:pt x="291465" y="111443"/>
                    <a:pt x="281940" y="106680"/>
                    <a:pt x="273368" y="102870"/>
                  </a:cubicBezTo>
                  <a:cubicBezTo>
                    <a:pt x="264795" y="99060"/>
                    <a:pt x="255270" y="96203"/>
                    <a:pt x="245745" y="93345"/>
                  </a:cubicBezTo>
                  <a:cubicBezTo>
                    <a:pt x="236220" y="91440"/>
                    <a:pt x="224790" y="88582"/>
                    <a:pt x="216218" y="86678"/>
                  </a:cubicBezTo>
                  <a:cubicBezTo>
                    <a:pt x="206693" y="84772"/>
                    <a:pt x="198120" y="84772"/>
                    <a:pt x="188595" y="84772"/>
                  </a:cubicBezTo>
                  <a:cubicBezTo>
                    <a:pt x="177165" y="84772"/>
                    <a:pt x="165735" y="84772"/>
                    <a:pt x="156210" y="86678"/>
                  </a:cubicBezTo>
                  <a:cubicBezTo>
                    <a:pt x="146685" y="88582"/>
                    <a:pt x="138113" y="91440"/>
                    <a:pt x="131445" y="96203"/>
                  </a:cubicBezTo>
                  <a:cubicBezTo>
                    <a:pt x="124778" y="100965"/>
                    <a:pt x="120015" y="105728"/>
                    <a:pt x="115253" y="109538"/>
                  </a:cubicBezTo>
                  <a:cubicBezTo>
                    <a:pt x="110490" y="116205"/>
                    <a:pt x="110490" y="120968"/>
                    <a:pt x="110490" y="127635"/>
                  </a:cubicBezTo>
                  <a:cubicBezTo>
                    <a:pt x="110490" y="134303"/>
                    <a:pt x="112395" y="140970"/>
                    <a:pt x="117157" y="148590"/>
                  </a:cubicBezTo>
                  <a:cubicBezTo>
                    <a:pt x="121920" y="155257"/>
                    <a:pt x="126682" y="160020"/>
                    <a:pt x="135255" y="166688"/>
                  </a:cubicBezTo>
                  <a:cubicBezTo>
                    <a:pt x="141922" y="171450"/>
                    <a:pt x="151447" y="178118"/>
                    <a:pt x="162878" y="182880"/>
                  </a:cubicBezTo>
                  <a:cubicBezTo>
                    <a:pt x="174307" y="187643"/>
                    <a:pt x="185738" y="194310"/>
                    <a:pt x="199072" y="199072"/>
                  </a:cubicBezTo>
                  <a:cubicBezTo>
                    <a:pt x="217170" y="205740"/>
                    <a:pt x="235268" y="215265"/>
                    <a:pt x="249555" y="223838"/>
                  </a:cubicBezTo>
                  <a:cubicBezTo>
                    <a:pt x="265747" y="233363"/>
                    <a:pt x="277178" y="241935"/>
                    <a:pt x="288607" y="253365"/>
                  </a:cubicBezTo>
                  <a:cubicBezTo>
                    <a:pt x="300038" y="264795"/>
                    <a:pt x="306705" y="276225"/>
                    <a:pt x="313372" y="292418"/>
                  </a:cubicBezTo>
                  <a:cubicBezTo>
                    <a:pt x="318135" y="305753"/>
                    <a:pt x="322897" y="321945"/>
                    <a:pt x="322897" y="342900"/>
                  </a:cubicBezTo>
                  <a:cubicBezTo>
                    <a:pt x="322897" y="367665"/>
                    <a:pt x="318135" y="390525"/>
                    <a:pt x="309563" y="408622"/>
                  </a:cubicBezTo>
                  <a:cubicBezTo>
                    <a:pt x="300038" y="426720"/>
                    <a:pt x="286703" y="441007"/>
                    <a:pt x="268605" y="452438"/>
                  </a:cubicBezTo>
                  <a:cubicBezTo>
                    <a:pt x="252413" y="463868"/>
                    <a:pt x="232410" y="470535"/>
                    <a:pt x="209550" y="475297"/>
                  </a:cubicBezTo>
                  <a:cubicBezTo>
                    <a:pt x="186690" y="480060"/>
                    <a:pt x="163830" y="481965"/>
                    <a:pt x="139065" y="481965"/>
                  </a:cubicBezTo>
                  <a:cubicBezTo>
                    <a:pt x="114300" y="481965"/>
                    <a:pt x="88582" y="480060"/>
                    <a:pt x="65722" y="475297"/>
                  </a:cubicBezTo>
                  <a:cubicBezTo>
                    <a:pt x="41910" y="475297"/>
                    <a:pt x="21908" y="467678"/>
                    <a:pt x="5715" y="459105"/>
                  </a:cubicBez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7" name="Freeform: Shape 36">
              <a:extLst>
                <a:ext uri="{FF2B5EF4-FFF2-40B4-BE49-F238E27FC236}">
                  <a16:creationId xmlns:a16="http://schemas.microsoft.com/office/drawing/2014/main" id="{B89B0EF2-0446-4067-AEC8-B6542D3DF795}"/>
                </a:ext>
              </a:extLst>
            </p:cNvPr>
            <p:cNvSpPr/>
            <p:nvPr/>
          </p:nvSpPr>
          <p:spPr>
            <a:xfrm>
              <a:off x="6926578" y="3965251"/>
              <a:ext cx="495297" cy="533400"/>
            </a:xfrm>
            <a:custGeom>
              <a:avLst/>
              <a:gdLst/>
              <a:ahLst/>
              <a:cxnLst/>
              <a:rect l="0" t="0" r="0" b="0"/>
              <a:pathLst>
                <a:path w="495300" h="533400">
                  <a:moveTo>
                    <a:pt x="227647" y="483870"/>
                  </a:moveTo>
                  <a:cubicBezTo>
                    <a:pt x="161925" y="483870"/>
                    <a:pt x="106680" y="461010"/>
                    <a:pt x="63817" y="418148"/>
                  </a:cubicBezTo>
                  <a:cubicBezTo>
                    <a:pt x="22860" y="374333"/>
                    <a:pt x="0" y="318135"/>
                    <a:pt x="0" y="246698"/>
                  </a:cubicBezTo>
                  <a:cubicBezTo>
                    <a:pt x="0" y="173355"/>
                    <a:pt x="20955" y="114300"/>
                    <a:pt x="63817" y="68580"/>
                  </a:cubicBezTo>
                  <a:cubicBezTo>
                    <a:pt x="107632" y="22860"/>
                    <a:pt x="161925" y="0"/>
                    <a:pt x="232410" y="0"/>
                  </a:cubicBezTo>
                  <a:cubicBezTo>
                    <a:pt x="298132" y="0"/>
                    <a:pt x="353377" y="22860"/>
                    <a:pt x="394335" y="65723"/>
                  </a:cubicBezTo>
                  <a:cubicBezTo>
                    <a:pt x="435292" y="108585"/>
                    <a:pt x="456247" y="165735"/>
                    <a:pt x="456247" y="239078"/>
                  </a:cubicBezTo>
                  <a:cubicBezTo>
                    <a:pt x="456247" y="312420"/>
                    <a:pt x="435292" y="371475"/>
                    <a:pt x="392430" y="417195"/>
                  </a:cubicBezTo>
                  <a:cubicBezTo>
                    <a:pt x="390525" y="419100"/>
                    <a:pt x="390525" y="419100"/>
                    <a:pt x="387667" y="421958"/>
                  </a:cubicBezTo>
                  <a:cubicBezTo>
                    <a:pt x="385763" y="423863"/>
                    <a:pt x="385763" y="423863"/>
                    <a:pt x="382905" y="426720"/>
                  </a:cubicBezTo>
                  <a:lnTo>
                    <a:pt x="501967" y="541020"/>
                  </a:lnTo>
                  <a:lnTo>
                    <a:pt x="353377" y="541020"/>
                  </a:lnTo>
                  <a:lnTo>
                    <a:pt x="291465" y="477203"/>
                  </a:lnTo>
                  <a:cubicBezTo>
                    <a:pt x="276225" y="481013"/>
                    <a:pt x="253365" y="483870"/>
                    <a:pt x="227647" y="483870"/>
                  </a:cubicBezTo>
                  <a:close/>
                  <a:moveTo>
                    <a:pt x="232410" y="91440"/>
                  </a:moveTo>
                  <a:cubicBezTo>
                    <a:pt x="196215" y="91440"/>
                    <a:pt x="166688" y="104775"/>
                    <a:pt x="143827" y="132398"/>
                  </a:cubicBezTo>
                  <a:cubicBezTo>
                    <a:pt x="120967" y="160020"/>
                    <a:pt x="111442" y="196215"/>
                    <a:pt x="111442" y="241935"/>
                  </a:cubicBezTo>
                  <a:cubicBezTo>
                    <a:pt x="111442" y="287655"/>
                    <a:pt x="122872" y="323850"/>
                    <a:pt x="143827" y="351473"/>
                  </a:cubicBezTo>
                  <a:cubicBezTo>
                    <a:pt x="166688" y="379095"/>
                    <a:pt x="194310" y="392430"/>
                    <a:pt x="228600" y="392430"/>
                  </a:cubicBezTo>
                  <a:cubicBezTo>
                    <a:pt x="264795" y="392430"/>
                    <a:pt x="292417" y="379095"/>
                    <a:pt x="315277" y="353378"/>
                  </a:cubicBezTo>
                  <a:cubicBezTo>
                    <a:pt x="336232" y="325755"/>
                    <a:pt x="347663" y="289560"/>
                    <a:pt x="347663" y="243840"/>
                  </a:cubicBezTo>
                  <a:cubicBezTo>
                    <a:pt x="347663" y="196215"/>
                    <a:pt x="336232" y="157163"/>
                    <a:pt x="315277" y="129540"/>
                  </a:cubicBezTo>
                  <a:cubicBezTo>
                    <a:pt x="296227" y="104775"/>
                    <a:pt x="268605" y="91440"/>
                    <a:pt x="232410" y="91440"/>
                  </a:cubicBez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8" name="Freeform: Shape 37">
              <a:extLst>
                <a:ext uri="{FF2B5EF4-FFF2-40B4-BE49-F238E27FC236}">
                  <a16:creationId xmlns:a16="http://schemas.microsoft.com/office/drawing/2014/main" id="{C8320E22-DEA2-46D8-A91E-B467931C2E91}"/>
                </a:ext>
              </a:extLst>
            </p:cNvPr>
            <p:cNvSpPr/>
            <p:nvPr/>
          </p:nvSpPr>
          <p:spPr>
            <a:xfrm>
              <a:off x="7462834" y="3971927"/>
              <a:ext cx="276224" cy="466724"/>
            </a:xfrm>
            <a:custGeom>
              <a:avLst/>
              <a:gdLst/>
              <a:ahLst/>
              <a:cxnLst/>
              <a:rect l="0" t="0" r="0" b="0"/>
              <a:pathLst>
                <a:path w="276225" h="466725">
                  <a:moveTo>
                    <a:pt x="278130" y="467678"/>
                  </a:moveTo>
                  <a:lnTo>
                    <a:pt x="0" y="467678"/>
                  </a:lnTo>
                  <a:lnTo>
                    <a:pt x="0" y="0"/>
                  </a:lnTo>
                  <a:lnTo>
                    <a:pt x="104775" y="0"/>
                  </a:lnTo>
                  <a:lnTo>
                    <a:pt x="104775" y="381000"/>
                  </a:lnTo>
                  <a:lnTo>
                    <a:pt x="278130" y="381000"/>
                  </a:lnTo>
                  <a:lnTo>
                    <a:pt x="278130" y="467678"/>
                  </a:lnTo>
                  <a:lnTo>
                    <a:pt x="278130" y="467678"/>
                  </a:ln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0144301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The Microsoft cognitive toolkit</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0" name="Group 9">
            <a:extLst>
              <a:ext uri="{FF2B5EF4-FFF2-40B4-BE49-F238E27FC236}">
                <a16:creationId xmlns:a16="http://schemas.microsoft.com/office/drawing/2014/main" id="{7FA2E622-84B8-496E-9373-0B297E3B8BAB}"/>
              </a:ext>
            </a:extLst>
          </p:cNvPr>
          <p:cNvGrpSpPr/>
          <p:nvPr/>
        </p:nvGrpSpPr>
        <p:grpSpPr>
          <a:xfrm>
            <a:off x="0" y="1403065"/>
            <a:ext cx="12192000" cy="5067183"/>
            <a:chOff x="0" y="1403065"/>
            <a:chExt cx="12192000" cy="5067183"/>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3065"/>
              <a:ext cx="12192000" cy="1081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4" name="Rectangle 3">
              <a:extLst>
                <a:ext uri="{FF2B5EF4-FFF2-40B4-BE49-F238E27FC236}">
                  <a16:creationId xmlns:a16="http://schemas.microsoft.com/office/drawing/2014/main" id="{98DC7BD8-DCB4-4177-94F5-5203DB17B340}"/>
                </a:ext>
              </a:extLst>
            </p:cNvPr>
            <p:cNvSpPr/>
            <p:nvPr/>
          </p:nvSpPr>
          <p:spPr bwMode="auto">
            <a:xfrm>
              <a:off x="0" y="2485038"/>
              <a:ext cx="12192000" cy="39852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C8B4412B-1D96-4B6A-BF68-C03DE6522968}"/>
                </a:ext>
              </a:extLst>
            </p:cNvPr>
            <p:cNvSpPr/>
            <p:nvPr/>
          </p:nvSpPr>
          <p:spPr>
            <a:xfrm>
              <a:off x="382805" y="1527449"/>
              <a:ext cx="11664740" cy="867930"/>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ree, easy-to-use, open-source, commercial-grade toolkit that trains deep learning algorithms to learn like the human brain</a:t>
              </a:r>
            </a:p>
          </p:txBody>
        </p:sp>
        <p:sp>
          <p:nvSpPr>
            <p:cNvPr id="16" name="Text Placeholder 25">
              <a:extLst>
                <a:ext uri="{FF2B5EF4-FFF2-40B4-BE49-F238E27FC236}">
                  <a16:creationId xmlns:a16="http://schemas.microsoft.com/office/drawing/2014/main" id="{DE4EDEF2-0404-488D-B7B1-1CDCB9A3917A}"/>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Train and evaluate deep learning algorithms faster than other available toolkits</a:t>
              </a:r>
            </a:p>
          </p:txBody>
        </p:sp>
        <p:sp>
          <p:nvSpPr>
            <p:cNvPr id="17" name="Text Placeholder 26">
              <a:extLst>
                <a:ext uri="{FF2B5EF4-FFF2-40B4-BE49-F238E27FC236}">
                  <a16:creationId xmlns:a16="http://schemas.microsoft.com/office/drawing/2014/main" id="{5D4BF2AD-50EC-43FC-8026-04C37C8FF9F7}"/>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Scale efficiently in a range of environments—from a CPU, to GPUs, to multiple machines—while maintaining accuracy</a:t>
              </a:r>
            </a:p>
          </p:txBody>
        </p:sp>
        <p:sp>
          <p:nvSpPr>
            <p:cNvPr id="18" name="Text Placeholder 28">
              <a:extLst>
                <a:ext uri="{FF2B5EF4-FFF2-40B4-BE49-F238E27FC236}">
                  <a16:creationId xmlns:a16="http://schemas.microsoft.com/office/drawing/2014/main" id="{E9446B3F-5EF2-489F-8350-88A69EE9BC35}"/>
                </a:ext>
              </a:extLst>
            </p:cNvPr>
            <p:cNvSpPr txBox="1">
              <a:spLocks/>
            </p:cNvSpPr>
            <p:nvPr/>
          </p:nvSpPr>
          <p:spPr>
            <a:xfrm>
              <a:off x="6051604"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mmercial-grade</a:t>
              </a:r>
            </a:p>
            <a:p>
              <a:pPr lvl="1">
                <a:spcBef>
                  <a:spcPts val="600"/>
                </a:spcBef>
                <a:spcAft>
                  <a:spcPts val="0"/>
                </a:spcAft>
                <a:defRPr/>
              </a:pPr>
              <a:r>
                <a:rPr lang="en-US" dirty="0">
                  <a:solidFill>
                    <a:schemeClr val="tx1"/>
                  </a:solidFill>
                  <a:latin typeface="Segoe UI"/>
                </a:rPr>
                <a:t>Leverage sophisticated algorithms and production readers to work reliably with massive datasets using tools employed by industry-leading data scientists</a:t>
              </a:r>
            </a:p>
          </p:txBody>
        </p:sp>
        <p:sp>
          <p:nvSpPr>
            <p:cNvPr id="19" name="Text Placeholder 67">
              <a:extLst>
                <a:ext uri="{FF2B5EF4-FFF2-40B4-BE49-F238E27FC236}">
                  <a16:creationId xmlns:a16="http://schemas.microsoft.com/office/drawing/2014/main" id="{3D3CF329-70C0-4C27-92CD-C537B65EE216}"/>
                </a:ext>
              </a:extLst>
            </p:cNvPr>
            <p:cNvSpPr txBox="1">
              <a:spLocks/>
            </p:cNvSpPr>
            <p:nvPr/>
          </p:nvSpPr>
          <p:spPr>
            <a:xfrm>
              <a:off x="9431917"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asy-to-use</a:t>
              </a:r>
            </a:p>
            <a:p>
              <a:pPr lvl="1">
                <a:spcBef>
                  <a:spcPts val="600"/>
                </a:spcBef>
                <a:spcAft>
                  <a:spcPts val="0"/>
                </a:spcAft>
                <a:defRPr/>
              </a:pPr>
              <a:r>
                <a:rPr lang="en-US" dirty="0">
                  <a:solidFill>
                    <a:schemeClr val="tx1"/>
                  </a:solidFill>
                  <a:latin typeface="Segoe UI"/>
                </a:rPr>
                <a:t>Work with the languages and networks you know, empowering you to easily customize built-in training algorithms or use your own</a:t>
              </a:r>
            </a:p>
          </p:txBody>
        </p:sp>
        <p:sp>
          <p:nvSpPr>
            <p:cNvPr id="38" name="Rocket" title="Icon of a rocket">
              <a:extLst>
                <a:ext uri="{FF2B5EF4-FFF2-40B4-BE49-F238E27FC236}">
                  <a16:creationId xmlns:a16="http://schemas.microsoft.com/office/drawing/2014/main" id="{AC346C65-1666-4EC0-9A4D-3F946247C6C1}"/>
                </a:ext>
              </a:extLst>
            </p:cNvPr>
            <p:cNvSpPr>
              <a:spLocks noChangeAspect="1" noEditPoints="1"/>
            </p:cNvSpPr>
            <p:nvPr/>
          </p:nvSpPr>
          <p:spPr bwMode="auto">
            <a:xfrm>
              <a:off x="463155"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Database_EFC7" title="Icon of a cylinder">
              <a:extLst>
                <a:ext uri="{FF2B5EF4-FFF2-40B4-BE49-F238E27FC236}">
                  <a16:creationId xmlns:a16="http://schemas.microsoft.com/office/drawing/2014/main" id="{B3156B41-E678-4AAD-A4E9-E6B33971D01F}"/>
                </a:ext>
              </a:extLst>
            </p:cNvPr>
            <p:cNvSpPr>
              <a:spLocks noChangeAspect="1" noEditPoints="1"/>
            </p:cNvSpPr>
            <p:nvPr/>
          </p:nvSpPr>
          <p:spPr bwMode="auto">
            <a:xfrm>
              <a:off x="6264343" y="3505789"/>
              <a:ext cx="425822" cy="55350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binary" title="Icon of binary code, ones and zeros">
              <a:extLst>
                <a:ext uri="{FF2B5EF4-FFF2-40B4-BE49-F238E27FC236}">
                  <a16:creationId xmlns:a16="http://schemas.microsoft.com/office/drawing/2014/main" id="{689A930D-65D5-47D0-803B-BE2EF6B97977}"/>
                </a:ext>
              </a:extLst>
            </p:cNvPr>
            <p:cNvSpPr>
              <a:spLocks noChangeAspect="1" noEditPoints="1"/>
            </p:cNvSpPr>
            <p:nvPr/>
          </p:nvSpPr>
          <p:spPr bwMode="auto">
            <a:xfrm>
              <a:off x="9653288" y="3591656"/>
              <a:ext cx="544008" cy="46975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B3565602-FFFF-46FB-9328-18390E8E9722}"/>
                </a:ext>
              </a:extLst>
            </p:cNvPr>
            <p:cNvGrpSpPr>
              <a:grpSpLocks noChangeAspect="1"/>
            </p:cNvGrpSpPr>
            <p:nvPr/>
          </p:nvGrpSpPr>
          <p:grpSpPr>
            <a:xfrm>
              <a:off x="3465034" y="3494175"/>
              <a:ext cx="928963" cy="512093"/>
              <a:chOff x="9569872" y="2014913"/>
              <a:chExt cx="868086" cy="478535"/>
            </a:xfrm>
          </p:grpSpPr>
          <p:sp>
            <p:nvSpPr>
              <p:cNvPr id="51" name="Shape 4978">
                <a:extLst>
                  <a:ext uri="{FF2B5EF4-FFF2-40B4-BE49-F238E27FC236}">
                    <a16:creationId xmlns:a16="http://schemas.microsoft.com/office/drawing/2014/main" id="{9A08EF6F-4140-48DD-995E-7992CF04A828}"/>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3" name="Shape 4978">
                <a:extLst>
                  <a:ext uri="{FF2B5EF4-FFF2-40B4-BE49-F238E27FC236}">
                    <a16:creationId xmlns:a16="http://schemas.microsoft.com/office/drawing/2014/main" id="{4489B277-5E50-4E27-8961-F719C17596AE}"/>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4" name="Freeform: Shape 27">
                <a:extLst>
                  <a:ext uri="{FF2B5EF4-FFF2-40B4-BE49-F238E27FC236}">
                    <a16:creationId xmlns:a16="http://schemas.microsoft.com/office/drawing/2014/main" id="{DE3116D2-DB87-438E-A925-5E5F61622AC6}"/>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pic>
        <p:nvPicPr>
          <p:cNvPr id="9" name="Picture 8">
            <a:extLst>
              <a:ext uri="{FF2B5EF4-FFF2-40B4-BE49-F238E27FC236}">
                <a16:creationId xmlns:a16="http://schemas.microsoft.com/office/drawing/2014/main" id="{1ED56436-AE8A-4C59-8CE2-408C89E80FE8}"/>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9663095" y="115435"/>
            <a:ext cx="2146262" cy="1208076"/>
          </a:xfrm>
          <a:prstGeom prst="rect">
            <a:avLst/>
          </a:prstGeom>
        </p:spPr>
      </p:pic>
    </p:spTree>
    <p:extLst>
      <p:ext uri="{BB962C8B-B14F-4D97-AF65-F5344CB8AC3E}">
        <p14:creationId xmlns:p14="http://schemas.microsoft.com/office/powerpoint/2010/main" val="31466575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solidFill>
                  <a:srgbClr val="0078D7"/>
                </a:solidFill>
              </a:rPr>
              <a:t>Cognitive services</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1" name="Group 10">
            <a:extLst>
              <a:ext uri="{FF2B5EF4-FFF2-40B4-BE49-F238E27FC236}">
                <a16:creationId xmlns:a16="http://schemas.microsoft.com/office/drawing/2014/main" id="{B9C6723A-BEB5-4DB7-8817-C3D1F141C9DC}"/>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1389154"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elligent</a:t>
              </a:r>
            </a:p>
            <a:p>
              <a:pPr lvl="1">
                <a:spcBef>
                  <a:spcPts val="600"/>
                </a:spcBef>
                <a:spcAft>
                  <a:spcPts val="0"/>
                </a:spcAft>
                <a:defRPr/>
              </a:pPr>
              <a:r>
                <a:rPr lang="en-US" dirty="0">
                  <a:solidFill>
                    <a:schemeClr val="tx1"/>
                  </a:solidFill>
                  <a:latin typeface="Segoe UI"/>
                </a:rPr>
                <a:t>Map complex information and data in order to solve tasks such as intelligent recommendations and semantic search</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4956193"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uitive</a:t>
              </a:r>
            </a:p>
            <a:p>
              <a:pPr lvl="1">
                <a:spcBef>
                  <a:spcPts val="600"/>
                </a:spcBef>
                <a:spcAft>
                  <a:spcPts val="0"/>
                </a:spcAft>
                <a:defRPr/>
              </a:pPr>
              <a:r>
                <a:rPr lang="en-US" dirty="0">
                  <a:solidFill>
                    <a:schemeClr val="tx1"/>
                  </a:solidFill>
                  <a:latin typeface="Segoe UI"/>
                </a:rPr>
                <a:t>Allow your apps to process natural language with pre-built scripts, evaluate sentiment and learn how to recognize what users want</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8523232" y="4120433"/>
              <a:ext cx="267137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Transformative</a:t>
              </a:r>
            </a:p>
            <a:p>
              <a:pPr lvl="1">
                <a:spcBef>
                  <a:spcPts val="600"/>
                </a:spcBef>
                <a:spcAft>
                  <a:spcPts val="0"/>
                </a:spcAft>
                <a:defRPr/>
              </a:pPr>
              <a:r>
                <a:rPr lang="en-US" dirty="0">
                  <a:solidFill>
                    <a:schemeClr val="tx1"/>
                  </a:solidFill>
                  <a:latin typeface="Segoe UI"/>
                </a:rPr>
                <a:t>Add Bing Search APIs to your apps and harness the ability to comb billions of webpages, images, videos, and news with a single API call</a:t>
              </a:r>
            </a:p>
          </p:txBody>
        </p:sp>
        <p:sp>
          <p:nvSpPr>
            <p:cNvPr id="6" name="Rectangle 5">
              <a:extLst>
                <a:ext uri="{FF2B5EF4-FFF2-40B4-BE49-F238E27FC236}">
                  <a16:creationId xmlns:a16="http://schemas.microsoft.com/office/drawing/2014/main" id="{C8B4412B-1D96-4B6A-BF68-C03DE6522968}"/>
                </a:ext>
              </a:extLst>
            </p:cNvPr>
            <p:cNvSpPr/>
            <p:nvPr/>
          </p:nvSpPr>
          <p:spPr>
            <a:xfrm>
              <a:off x="382805" y="1527449"/>
              <a:ext cx="11664740" cy="867930"/>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Services designed to infuse your apps, website and bots with intelligent algorithms to see, hear, speak, and understand</a:t>
              </a:r>
            </a:p>
          </p:txBody>
        </p:sp>
        <p:sp>
          <p:nvSpPr>
            <p:cNvPr id="33" name="light">
              <a:extLst>
                <a:ext uri="{FF2B5EF4-FFF2-40B4-BE49-F238E27FC236}">
                  <a16:creationId xmlns:a16="http://schemas.microsoft.com/office/drawing/2014/main" id="{47E2E54D-DD48-4BC6-B25F-0B9E213696E1}"/>
                </a:ext>
              </a:extLst>
            </p:cNvPr>
            <p:cNvSpPr>
              <a:spLocks noChangeAspect="1" noEditPoints="1"/>
            </p:cNvSpPr>
            <p:nvPr/>
          </p:nvSpPr>
          <p:spPr bwMode="auto">
            <a:xfrm>
              <a:off x="1537980" y="3431989"/>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Touchscreen" title="Icon of a closed hand with one finger touching a screen">
              <a:extLst>
                <a:ext uri="{FF2B5EF4-FFF2-40B4-BE49-F238E27FC236}">
                  <a16:creationId xmlns:a16="http://schemas.microsoft.com/office/drawing/2014/main" id="{AD1DFE93-7857-4F0D-9590-A86418D91DA5}"/>
                </a:ext>
              </a:extLst>
            </p:cNvPr>
            <p:cNvSpPr>
              <a:spLocks noChangeAspect="1" noEditPoints="1"/>
            </p:cNvSpPr>
            <p:nvPr/>
          </p:nvSpPr>
          <p:spPr bwMode="auto">
            <a:xfrm>
              <a:off x="5127396" y="3533441"/>
              <a:ext cx="602066" cy="56449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Digital_Transformation" title="Icon of a cloud of which half is made of dots">
              <a:extLst>
                <a:ext uri="{FF2B5EF4-FFF2-40B4-BE49-F238E27FC236}">
                  <a16:creationId xmlns:a16="http://schemas.microsoft.com/office/drawing/2014/main" id="{8A038F0B-B903-4C51-9115-880713FB04E6}"/>
                </a:ext>
              </a:extLst>
            </p:cNvPr>
            <p:cNvSpPr>
              <a:spLocks noChangeAspect="1" noEditPoints="1"/>
            </p:cNvSpPr>
            <p:nvPr/>
          </p:nvSpPr>
          <p:spPr bwMode="auto">
            <a:xfrm>
              <a:off x="8752033" y="3622876"/>
              <a:ext cx="776870" cy="41588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37" name="brain_2" title="Icon of a brain with circles and connection lines inside">
            <a:extLst>
              <a:ext uri="{FF2B5EF4-FFF2-40B4-BE49-F238E27FC236}">
                <a16:creationId xmlns:a16="http://schemas.microsoft.com/office/drawing/2014/main" id="{9CDB15D7-4337-4F71-A7AA-8AFC785A1B15}"/>
              </a:ext>
            </a:extLst>
          </p:cNvPr>
          <p:cNvSpPr>
            <a:spLocks noChangeAspect="1" noEditPoints="1"/>
          </p:cNvSpPr>
          <p:nvPr/>
        </p:nvSpPr>
        <p:spPr bwMode="auto">
          <a:xfrm>
            <a:off x="10095436" y="360256"/>
            <a:ext cx="1099166" cy="737024"/>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33417414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98E212B-6DAD-4639-B13B-E486852872B7}"/>
              </a:ext>
            </a:extLst>
          </p:cNvPr>
          <p:cNvSpPr>
            <a:spLocks noGrp="1"/>
          </p:cNvSpPr>
          <p:nvPr>
            <p:ph type="title"/>
          </p:nvPr>
        </p:nvSpPr>
        <p:spPr/>
        <p:txBody>
          <a:bodyPr/>
          <a:lstStyle/>
          <a:p>
            <a:r>
              <a:rPr lang="en-US" dirty="0">
                <a:solidFill>
                  <a:schemeClr val="bg1"/>
                </a:solidFill>
              </a:rPr>
              <a:t>Microsoft Translator uses AI</a:t>
            </a:r>
          </a:p>
        </p:txBody>
      </p:sp>
      <p:pic>
        <p:nvPicPr>
          <p:cNvPr id="8" name="Online Media 3">
            <a:hlinkClick r:id="" action="ppaction://media"/>
            <a:extLst>
              <a:ext uri="{FF2B5EF4-FFF2-40B4-BE49-F238E27FC236}">
                <a16:creationId xmlns:a16="http://schemas.microsoft.com/office/drawing/2014/main" id="{838F53A8-0370-4CA3-B148-22626632FED0}"/>
              </a:ext>
            </a:extLst>
          </p:cNvPr>
          <p:cNvPicPr>
            <a:picLocks noRot="1" noChangeAspect="1"/>
          </p:cNvPicPr>
          <p:nvPr>
            <a:videoFile r:link="rId1"/>
          </p:nvPr>
        </p:nvPicPr>
        <p:blipFill rotWithShape="1">
          <a:blip r:embed="rId3"/>
          <a:srcRect t="10313" b="9742"/>
          <a:stretch/>
        </p:blipFill>
        <p:spPr>
          <a:xfrm>
            <a:off x="1520820" y="685800"/>
            <a:ext cx="9150361" cy="5486400"/>
          </a:xfrm>
          <a:prstGeom prst="rect">
            <a:avLst/>
          </a:prstGeom>
        </p:spPr>
      </p:pic>
    </p:spTree>
    <p:extLst>
      <p:ext uri="{BB962C8B-B14F-4D97-AF65-F5344CB8AC3E}">
        <p14:creationId xmlns:p14="http://schemas.microsoft.com/office/powerpoint/2010/main" val="368031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6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t>What the research tells us</a:t>
            </a:r>
          </a:p>
        </p:txBody>
      </p:sp>
      <p:grpSp>
        <p:nvGrpSpPr>
          <p:cNvPr id="10" name="Group 9">
            <a:extLst>
              <a:ext uri="{FF2B5EF4-FFF2-40B4-BE49-F238E27FC236}">
                <a16:creationId xmlns:a16="http://schemas.microsoft.com/office/drawing/2014/main" id="{247D5F0E-8FFC-4AB0-B0A7-D54469CE0797}"/>
              </a:ext>
            </a:extLst>
          </p:cNvPr>
          <p:cNvGrpSpPr/>
          <p:nvPr/>
        </p:nvGrpSpPr>
        <p:grpSpPr>
          <a:xfrm>
            <a:off x="451563" y="3089904"/>
            <a:ext cx="11262290" cy="489351"/>
            <a:chOff x="321640" y="3312725"/>
            <a:chExt cx="11521524" cy="500615"/>
          </a:xfrm>
        </p:grpSpPr>
        <p:cxnSp>
          <p:nvCxnSpPr>
            <p:cNvPr id="60" name="Straight Arrow Connector 59">
              <a:extLst>
                <a:ext uri="{FF2B5EF4-FFF2-40B4-BE49-F238E27FC236}">
                  <a16:creationId xmlns:a16="http://schemas.microsoft.com/office/drawing/2014/main" id="{28C48829-7E65-4A2B-BC50-4FF80C46131E}"/>
                </a:ext>
              </a:extLst>
            </p:cNvPr>
            <p:cNvCxnSpPr/>
            <p:nvPr/>
          </p:nvCxnSpPr>
          <p:spPr>
            <a:xfrm>
              <a:off x="321640" y="3349052"/>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61" name="TextBox 60">
              <a:extLst>
                <a:ext uri="{FF2B5EF4-FFF2-40B4-BE49-F238E27FC236}">
                  <a16:creationId xmlns:a16="http://schemas.microsoft.com/office/drawing/2014/main" id="{A1BDD073-4F52-4E86-B22B-2E046303F2FB}"/>
                </a:ext>
              </a:extLst>
            </p:cNvPr>
            <p:cNvSpPr txBox="1"/>
            <p:nvPr/>
          </p:nvSpPr>
          <p:spPr>
            <a:xfrm>
              <a:off x="5131895" y="3312725"/>
              <a:ext cx="2010368" cy="500615"/>
            </a:xfrm>
            <a:prstGeom prst="rect">
              <a:avLst/>
            </a:prstGeom>
            <a:noFill/>
          </p:spPr>
          <p:txBody>
            <a:bodyPr wrap="none" lIns="182871" tIns="146297" rIns="182871" bIns="146297" rtlCol="0">
              <a:spAutoFit/>
            </a:bodyPr>
            <a:lstStyle/>
            <a:p>
              <a:pPr marL="0" marR="0" lvl="0" indent="0" algn="l" defTabSz="932654"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y company </a:t>
              </a:r>
              <a:r>
                <a:rPr kumimoji="0" lang="en-US" sz="1400" i="0" u="none" strike="noStrike" kern="120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Now</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1" name="Group 10">
            <a:extLst>
              <a:ext uri="{FF2B5EF4-FFF2-40B4-BE49-F238E27FC236}">
                <a16:creationId xmlns:a16="http://schemas.microsoft.com/office/drawing/2014/main" id="{E2328EA9-661B-4361-AB38-B179682C3A00}"/>
              </a:ext>
            </a:extLst>
          </p:cNvPr>
          <p:cNvGrpSpPr/>
          <p:nvPr/>
        </p:nvGrpSpPr>
        <p:grpSpPr>
          <a:xfrm>
            <a:off x="451563" y="5470762"/>
            <a:ext cx="11262290" cy="489351"/>
            <a:chOff x="321640" y="4670628"/>
            <a:chExt cx="11521524" cy="500615"/>
          </a:xfrm>
        </p:grpSpPr>
        <p:cxnSp>
          <p:nvCxnSpPr>
            <p:cNvPr id="161" name="Straight Arrow Connector 160">
              <a:extLst>
                <a:ext uri="{FF2B5EF4-FFF2-40B4-BE49-F238E27FC236}">
                  <a16:creationId xmlns:a16="http://schemas.microsoft.com/office/drawing/2014/main" id="{35E65CFD-D3B1-4371-BCF9-4F91106EB825}"/>
                </a:ext>
              </a:extLst>
            </p:cNvPr>
            <p:cNvCxnSpPr/>
            <p:nvPr/>
          </p:nvCxnSpPr>
          <p:spPr>
            <a:xfrm>
              <a:off x="321640" y="4752057"/>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208" name="TextBox 207">
              <a:extLst>
                <a:ext uri="{FF2B5EF4-FFF2-40B4-BE49-F238E27FC236}">
                  <a16:creationId xmlns:a16="http://schemas.microsoft.com/office/drawing/2014/main" id="{1CA853E7-1FD0-428E-9DB0-A3332FDBF376}"/>
                </a:ext>
              </a:extLst>
            </p:cNvPr>
            <p:cNvSpPr txBox="1"/>
            <p:nvPr/>
          </p:nvSpPr>
          <p:spPr>
            <a:xfrm>
              <a:off x="4074714" y="4670628"/>
              <a:ext cx="3938171" cy="500615"/>
            </a:xfrm>
            <a:prstGeom prst="rect">
              <a:avLst/>
            </a:prstGeom>
            <a:noFill/>
            <a:ln w="19050" cap="flat" cmpd="sng" algn="ctr">
              <a:noFill/>
              <a:prstDash val="solid"/>
              <a:headEnd type="arrow"/>
              <a:tailEnd type="arrow"/>
            </a:ln>
            <a:effectLst/>
          </p:spPr>
          <p:txBody>
            <a:bodyPr wrap="none" lIns="182871" tIns="146297" rIns="182871" bIns="146297" rtlCol="0">
              <a:spAutoFit/>
            </a:bodyPr>
            <a:lstStyle/>
            <a:p>
              <a:pPr lvl="0" defTabSz="932654">
                <a:lnSpc>
                  <a:spcPct val="90000"/>
                </a:lnSpc>
                <a:spcAft>
                  <a:spcPts val="600"/>
                </a:spcAft>
                <a:defRPr/>
              </a:pPr>
              <a:r>
                <a:rPr kumimoji="0" lang="en-US" sz="1400" b="0" i="0" u="none" strike="noStrike" kern="1200" cap="none" spc="0" normalizeH="0" baseline="0" noProof="0" dirty="0">
                  <a:ln>
                    <a:noFill/>
                  </a:ln>
                  <a:effectLst/>
                  <a:uLnTx/>
                  <a:uFillTx/>
                  <a:latin typeface="Segoe UI"/>
                  <a:ea typeface="+mn-ea"/>
                  <a:cs typeface="+mn-cs"/>
                </a:rPr>
                <a:t>My company </a:t>
              </a:r>
              <a:r>
                <a:rPr lang="en-US" sz="1400" dirty="0">
                  <a:solidFill>
                    <a:srgbClr val="0078D7"/>
                  </a:solidFill>
                  <a:latin typeface="Segoe UI Semibold" panose="020B0702040204020203" pitchFamily="34" charset="0"/>
                  <a:cs typeface="Segoe UI Semibold" panose="020B0702040204020203" pitchFamily="34" charset="0"/>
                </a:rPr>
                <a:t>In the future </a:t>
              </a:r>
              <a:r>
                <a:rPr kumimoji="0" lang="en-US" sz="1400" b="0" i="0" u="none" strike="noStrike" kern="1200" cap="none" spc="0" normalizeH="0" baseline="0" noProof="0" dirty="0">
                  <a:ln>
                    <a:noFill/>
                  </a:ln>
                  <a:effectLst/>
                  <a:uLnTx/>
                  <a:uFillTx/>
                  <a:latin typeface="Segoe UI"/>
                  <a:ea typeface="+mn-ea"/>
                  <a:cs typeface="+mn-cs"/>
                </a:rPr>
                <a:t>(24-36 months)</a:t>
              </a:r>
              <a:r>
                <a:rPr lang="en-US" sz="1400" dirty="0">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effectLst/>
                <a:uLnTx/>
                <a:uFillTx/>
                <a:latin typeface="Segoe UI"/>
              </a:endParaRPr>
            </a:p>
          </p:txBody>
        </p:sp>
      </p:grpSp>
      <p:grpSp>
        <p:nvGrpSpPr>
          <p:cNvPr id="12" name="Group 11">
            <a:extLst>
              <a:ext uri="{FF2B5EF4-FFF2-40B4-BE49-F238E27FC236}">
                <a16:creationId xmlns:a16="http://schemas.microsoft.com/office/drawing/2014/main" id="{3A1D5AB5-E075-479E-A5C1-BF66991B1495}"/>
              </a:ext>
            </a:extLst>
          </p:cNvPr>
          <p:cNvGrpSpPr/>
          <p:nvPr/>
        </p:nvGrpSpPr>
        <p:grpSpPr>
          <a:xfrm>
            <a:off x="451563" y="4248490"/>
            <a:ext cx="11262290" cy="489351"/>
            <a:chOff x="321640" y="6034844"/>
            <a:chExt cx="11521524" cy="500615"/>
          </a:xfrm>
        </p:grpSpPr>
        <p:cxnSp>
          <p:nvCxnSpPr>
            <p:cNvPr id="209" name="Straight Arrow Connector 208">
              <a:extLst>
                <a:ext uri="{FF2B5EF4-FFF2-40B4-BE49-F238E27FC236}">
                  <a16:creationId xmlns:a16="http://schemas.microsoft.com/office/drawing/2014/main" id="{E6EECD92-A8E4-476D-9B44-2D9CF4CF264A}"/>
                </a:ext>
              </a:extLst>
            </p:cNvPr>
            <p:cNvCxnSpPr/>
            <p:nvPr/>
          </p:nvCxnSpPr>
          <p:spPr>
            <a:xfrm>
              <a:off x="321640" y="6116273"/>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256" name="TextBox 255">
              <a:extLst>
                <a:ext uri="{FF2B5EF4-FFF2-40B4-BE49-F238E27FC236}">
                  <a16:creationId xmlns:a16="http://schemas.microsoft.com/office/drawing/2014/main" id="{36533348-CD98-4A31-B175-323F184269C0}"/>
                </a:ext>
              </a:extLst>
            </p:cNvPr>
            <p:cNvSpPr txBox="1"/>
            <p:nvPr/>
          </p:nvSpPr>
          <p:spPr>
            <a:xfrm>
              <a:off x="4857396" y="6034844"/>
              <a:ext cx="2516245" cy="500615"/>
            </a:xfrm>
            <a:prstGeom prst="rect">
              <a:avLst/>
            </a:prstGeom>
            <a:noFill/>
          </p:spPr>
          <p:txBody>
            <a:bodyPr wrap="none" lIns="182871" tIns="146297" rIns="182871" bIns="146297" rtlCol="0">
              <a:spAutoFit/>
            </a:bodyPr>
            <a:lstStyle/>
            <a:p>
              <a:pPr lvl="0" defTabSz="932654">
                <a:lnSpc>
                  <a:spcPct val="90000"/>
                </a:lnSpc>
                <a:spcAft>
                  <a:spcPts val="600"/>
                </a:spcAft>
                <a:defRPr/>
              </a:pPr>
              <a:r>
                <a:rPr kumimoji="0" lang="en-US" sz="1400" b="0" i="0" u="none" strike="noStrike" kern="1200" cap="none" spc="0" normalizeH="0" baseline="0" noProof="0" dirty="0">
                  <a:ln>
                    <a:noFill/>
                  </a:ln>
                  <a:effectLst/>
                  <a:uLnTx/>
                  <a:uFillTx/>
                  <a:latin typeface="Segoe UI"/>
                  <a:ea typeface="+mn-ea"/>
                  <a:cs typeface="+mn-cs"/>
                </a:rPr>
                <a:t>My top competitors </a:t>
              </a:r>
              <a:r>
                <a:rPr lang="en-US" sz="1400" dirty="0">
                  <a:solidFill>
                    <a:srgbClr val="0078D7"/>
                  </a:solidFill>
                  <a:latin typeface="Segoe UI Semibold" panose="020B0702040204020203" pitchFamily="34" charset="0"/>
                  <a:cs typeface="Segoe UI Semibold" panose="020B0702040204020203" pitchFamily="34" charset="0"/>
                </a:rPr>
                <a:t>Now</a:t>
              </a:r>
              <a:r>
                <a:rPr lang="en-US" sz="1400" dirty="0">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211" name="Group 210">
            <a:extLst>
              <a:ext uri="{FF2B5EF4-FFF2-40B4-BE49-F238E27FC236}">
                <a16:creationId xmlns:a16="http://schemas.microsoft.com/office/drawing/2014/main" id="{1C52B294-B348-4B32-B083-27668E4A8D0F}"/>
              </a:ext>
            </a:extLst>
          </p:cNvPr>
          <p:cNvGrpSpPr/>
          <p:nvPr/>
        </p:nvGrpSpPr>
        <p:grpSpPr>
          <a:xfrm>
            <a:off x="137160" y="1082156"/>
            <a:ext cx="11917680" cy="1049189"/>
            <a:chOff x="0" y="1588690"/>
            <a:chExt cx="12192000" cy="1298740"/>
          </a:xfrm>
        </p:grpSpPr>
        <p:sp>
          <p:nvSpPr>
            <p:cNvPr id="212" name="Rectangle 211">
              <a:extLst>
                <a:ext uri="{FF2B5EF4-FFF2-40B4-BE49-F238E27FC236}">
                  <a16:creationId xmlns:a16="http://schemas.microsoft.com/office/drawing/2014/main" id="{794E616C-6E7D-404D-B9F7-CB72EC7E8DB6}"/>
                </a:ext>
              </a:extLst>
            </p:cNvPr>
            <p:cNvSpPr/>
            <p:nvPr/>
          </p:nvSpPr>
          <p:spPr bwMode="auto">
            <a:xfrm>
              <a:off x="0" y="1588690"/>
              <a:ext cx="12192000" cy="1298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B8C5A740-74CB-4F10-868C-FAB7BC63CA31}"/>
                </a:ext>
              </a:extLst>
            </p:cNvPr>
            <p:cNvSpPr/>
            <p:nvPr/>
          </p:nvSpPr>
          <p:spPr>
            <a:xfrm>
              <a:off x="4678342" y="1770761"/>
              <a:ext cx="2835323" cy="4952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dirty="0">
                  <a:ln>
                    <a:noFill/>
                  </a:ln>
                  <a:effectLst/>
                  <a:uLnTx/>
                  <a:uFillTx/>
                  <a:latin typeface="+mj-lt"/>
                  <a:cs typeface="Segoe UI" panose="020B0502040204020203" pitchFamily="34" charset="0"/>
                </a:rPr>
                <a:t>Analytics </a:t>
              </a:r>
              <a:r>
                <a:rPr lang="en-US" sz="2000" dirty="0">
                  <a:latin typeface="+mj-lt"/>
                  <a:cs typeface="Segoe UI" panose="020B0502040204020203" pitchFamily="34" charset="0"/>
                </a:rPr>
                <a:t>c</a:t>
              </a:r>
              <a:r>
                <a:rPr kumimoji="0" lang="en-US" sz="2000" i="0" u="none" strike="noStrike" kern="1200" cap="none" spc="0" normalizeH="0" baseline="0" noProof="0" dirty="0" err="1">
                  <a:ln>
                    <a:noFill/>
                  </a:ln>
                  <a:effectLst/>
                  <a:uLnTx/>
                  <a:uFillTx/>
                  <a:latin typeface="+mj-lt"/>
                  <a:cs typeface="Segoe UI" panose="020B0502040204020203" pitchFamily="34" charset="0"/>
                </a:rPr>
                <a:t>apabilities</a:t>
              </a:r>
              <a:r>
                <a:rPr kumimoji="0" lang="en-US" sz="2000" i="0" u="none" strike="noStrike" kern="1200" cap="none" spc="0" normalizeH="0" baseline="0" noProof="0" dirty="0">
                  <a:ln>
                    <a:noFill/>
                  </a:ln>
                  <a:effectLst/>
                  <a:uLnTx/>
                  <a:uFillTx/>
                  <a:latin typeface="+mj-lt"/>
                  <a:cs typeface="Segoe UI" panose="020B0502040204020203" pitchFamily="34" charset="0"/>
                </a:rPr>
                <a:t> </a:t>
              </a:r>
            </a:p>
          </p:txBody>
        </p:sp>
        <p:cxnSp>
          <p:nvCxnSpPr>
            <p:cNvPr id="218" name="Straight Arrow Connector 217">
              <a:extLst>
                <a:ext uri="{FF2B5EF4-FFF2-40B4-BE49-F238E27FC236}">
                  <a16:creationId xmlns:a16="http://schemas.microsoft.com/office/drawing/2014/main" id="{D39A3561-C2EF-4502-ABD1-FCFC55A0A412}"/>
                </a:ext>
              </a:extLst>
            </p:cNvPr>
            <p:cNvCxnSpPr/>
            <p:nvPr/>
          </p:nvCxnSpPr>
          <p:spPr>
            <a:xfrm>
              <a:off x="309038" y="2481537"/>
              <a:ext cx="11573924"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01D90EEB-B83E-4E9C-836A-9167BFC95C29}"/>
                </a:ext>
              </a:extLst>
            </p:cNvPr>
            <p:cNvSpPr/>
            <p:nvPr/>
          </p:nvSpPr>
          <p:spPr>
            <a:xfrm>
              <a:off x="732735" y="2271868"/>
              <a:ext cx="667768"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asic</a:t>
              </a:r>
            </a:p>
          </p:txBody>
        </p:sp>
        <p:sp>
          <p:nvSpPr>
            <p:cNvPr id="224" name="Rectangle 223">
              <a:extLst>
                <a:ext uri="{FF2B5EF4-FFF2-40B4-BE49-F238E27FC236}">
                  <a16:creationId xmlns:a16="http://schemas.microsoft.com/office/drawing/2014/main" id="{6FE9DED3-5CC4-4DA8-BE87-107B4ABE66B9}"/>
                </a:ext>
              </a:extLst>
            </p:cNvPr>
            <p:cNvSpPr/>
            <p:nvPr/>
          </p:nvSpPr>
          <p:spPr>
            <a:xfrm>
              <a:off x="10271590" y="2271868"/>
              <a:ext cx="1128383"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dvanced</a:t>
              </a:r>
            </a:p>
          </p:txBody>
        </p:sp>
        <p:cxnSp>
          <p:nvCxnSpPr>
            <p:cNvPr id="225" name="Straight Connector 224">
              <a:extLst>
                <a:ext uri="{FF2B5EF4-FFF2-40B4-BE49-F238E27FC236}">
                  <a16:creationId xmlns:a16="http://schemas.microsoft.com/office/drawing/2014/main" id="{FE735D70-40E7-4B63-BFD8-7A5F2E37D943}"/>
                </a:ext>
              </a:extLst>
            </p:cNvPr>
            <p:cNvCxnSpPr>
              <a:cxnSpLocks/>
            </p:cNvCxnSpPr>
            <p:nvPr/>
          </p:nvCxnSpPr>
          <p:spPr>
            <a:xfrm>
              <a:off x="6096000" y="2337884"/>
              <a:ext cx="0" cy="287306"/>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3" name="TextBox 872">
            <a:extLst>
              <a:ext uri="{FF2B5EF4-FFF2-40B4-BE49-F238E27FC236}">
                <a16:creationId xmlns:a16="http://schemas.microsoft.com/office/drawing/2014/main" id="{365509D8-8D4C-458A-AF3A-B82841C1B726}"/>
              </a:ext>
            </a:extLst>
          </p:cNvPr>
          <p:cNvSpPr txBox="1"/>
          <p:nvPr/>
        </p:nvSpPr>
        <p:spPr>
          <a:xfrm>
            <a:off x="1659385" y="6362460"/>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505050"/>
                </a:solidFill>
                <a:latin typeface="Segoe UI"/>
              </a:rPr>
              <a:t>*Based on independent market research in the form of focus groups and in-depth-interviews</a:t>
            </a:r>
          </a:p>
        </p:txBody>
      </p:sp>
      <p:grpSp>
        <p:nvGrpSpPr>
          <p:cNvPr id="5" name="Group 4">
            <a:extLst>
              <a:ext uri="{FF2B5EF4-FFF2-40B4-BE49-F238E27FC236}">
                <a16:creationId xmlns:a16="http://schemas.microsoft.com/office/drawing/2014/main" id="{7FAF5BEB-DB03-4357-896C-015F7551248C}"/>
              </a:ext>
            </a:extLst>
          </p:cNvPr>
          <p:cNvGrpSpPr/>
          <p:nvPr/>
        </p:nvGrpSpPr>
        <p:grpSpPr>
          <a:xfrm>
            <a:off x="6894709" y="4925001"/>
            <a:ext cx="4713867" cy="491144"/>
            <a:chOff x="6894709" y="3733294"/>
            <a:chExt cx="4713867" cy="491144"/>
          </a:xfrm>
        </p:grpSpPr>
        <p:sp>
          <p:nvSpPr>
            <p:cNvPr id="922" name="Oval 921">
              <a:extLst>
                <a:ext uri="{FF2B5EF4-FFF2-40B4-BE49-F238E27FC236}">
                  <a16:creationId xmlns:a16="http://schemas.microsoft.com/office/drawing/2014/main" id="{46C46D16-7E2E-42C0-A19D-C5CD995BE856}"/>
                </a:ext>
              </a:extLst>
            </p:cNvPr>
            <p:cNvSpPr/>
            <p:nvPr/>
          </p:nvSpPr>
          <p:spPr bwMode="auto">
            <a:xfrm>
              <a:off x="6894709"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3" name="Oval 922">
              <a:extLst>
                <a:ext uri="{FF2B5EF4-FFF2-40B4-BE49-F238E27FC236}">
                  <a16:creationId xmlns:a16="http://schemas.microsoft.com/office/drawing/2014/main" id="{9B8CAD94-21AC-455C-8F78-42F23F38CD43}"/>
                </a:ext>
              </a:extLst>
            </p:cNvPr>
            <p:cNvSpPr/>
            <p:nvPr/>
          </p:nvSpPr>
          <p:spPr bwMode="auto">
            <a:xfrm>
              <a:off x="7295499"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4" name="Oval 923">
              <a:extLst>
                <a:ext uri="{FF2B5EF4-FFF2-40B4-BE49-F238E27FC236}">
                  <a16:creationId xmlns:a16="http://schemas.microsoft.com/office/drawing/2014/main" id="{0F89C83B-A2B7-4495-BD97-535F71F7BB25}"/>
                </a:ext>
              </a:extLst>
            </p:cNvPr>
            <p:cNvSpPr/>
            <p:nvPr/>
          </p:nvSpPr>
          <p:spPr bwMode="auto">
            <a:xfrm>
              <a:off x="757862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5" name="Oval 924">
              <a:extLst>
                <a:ext uri="{FF2B5EF4-FFF2-40B4-BE49-F238E27FC236}">
                  <a16:creationId xmlns:a16="http://schemas.microsoft.com/office/drawing/2014/main" id="{5E7FFD4C-2BD1-4E29-923D-B4FE707A1895}"/>
                </a:ext>
              </a:extLst>
            </p:cNvPr>
            <p:cNvSpPr/>
            <p:nvPr/>
          </p:nvSpPr>
          <p:spPr bwMode="auto">
            <a:xfrm>
              <a:off x="771630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6" name="Oval 925">
              <a:extLst>
                <a:ext uri="{FF2B5EF4-FFF2-40B4-BE49-F238E27FC236}">
                  <a16:creationId xmlns:a16="http://schemas.microsoft.com/office/drawing/2014/main" id="{C63ACACE-D21B-4E82-A30B-F6D382CF7BD5}"/>
                </a:ext>
              </a:extLst>
            </p:cNvPr>
            <p:cNvSpPr/>
            <p:nvPr/>
          </p:nvSpPr>
          <p:spPr bwMode="auto">
            <a:xfrm>
              <a:off x="785053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7" name="Oval 926">
              <a:extLst>
                <a:ext uri="{FF2B5EF4-FFF2-40B4-BE49-F238E27FC236}">
                  <a16:creationId xmlns:a16="http://schemas.microsoft.com/office/drawing/2014/main" id="{E5926E61-CDA3-4DD1-ACE1-606794EE293F}"/>
                </a:ext>
              </a:extLst>
            </p:cNvPr>
            <p:cNvSpPr/>
            <p:nvPr/>
          </p:nvSpPr>
          <p:spPr bwMode="auto">
            <a:xfrm>
              <a:off x="7980846"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8" name="Oval 927">
              <a:extLst>
                <a:ext uri="{FF2B5EF4-FFF2-40B4-BE49-F238E27FC236}">
                  <a16:creationId xmlns:a16="http://schemas.microsoft.com/office/drawing/2014/main" id="{76681B00-62DC-4717-99E5-F8DED5CEB919}"/>
                </a:ext>
              </a:extLst>
            </p:cNvPr>
            <p:cNvSpPr/>
            <p:nvPr/>
          </p:nvSpPr>
          <p:spPr bwMode="auto">
            <a:xfrm>
              <a:off x="8114921"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9" name="Oval 928">
              <a:extLst>
                <a:ext uri="{FF2B5EF4-FFF2-40B4-BE49-F238E27FC236}">
                  <a16:creationId xmlns:a16="http://schemas.microsoft.com/office/drawing/2014/main" id="{B0139453-C0FE-4FB1-840F-7C06B6759C18}"/>
                </a:ext>
              </a:extLst>
            </p:cNvPr>
            <p:cNvSpPr/>
            <p:nvPr/>
          </p:nvSpPr>
          <p:spPr bwMode="auto">
            <a:xfrm>
              <a:off x="8248995"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0" name="Oval 929">
              <a:extLst>
                <a:ext uri="{FF2B5EF4-FFF2-40B4-BE49-F238E27FC236}">
                  <a16:creationId xmlns:a16="http://schemas.microsoft.com/office/drawing/2014/main" id="{2147DF56-BD64-44E0-AFE0-2A9C07786115}"/>
                </a:ext>
              </a:extLst>
            </p:cNvPr>
            <p:cNvSpPr/>
            <p:nvPr/>
          </p:nvSpPr>
          <p:spPr bwMode="auto">
            <a:xfrm>
              <a:off x="7784037"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1" name="Oval 930">
              <a:extLst>
                <a:ext uri="{FF2B5EF4-FFF2-40B4-BE49-F238E27FC236}">
                  <a16:creationId xmlns:a16="http://schemas.microsoft.com/office/drawing/2014/main" id="{CEF256B9-3ED4-4012-BCA7-B20103ED12D0}"/>
                </a:ext>
              </a:extLst>
            </p:cNvPr>
            <p:cNvSpPr/>
            <p:nvPr/>
          </p:nvSpPr>
          <p:spPr bwMode="auto">
            <a:xfrm>
              <a:off x="7875518" y="384550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2" name="Oval 931">
              <a:extLst>
                <a:ext uri="{FF2B5EF4-FFF2-40B4-BE49-F238E27FC236}">
                  <a16:creationId xmlns:a16="http://schemas.microsoft.com/office/drawing/2014/main" id="{71C34D22-A32B-4F13-9D68-B0CFC8A1F7CC}"/>
                </a:ext>
              </a:extLst>
            </p:cNvPr>
            <p:cNvSpPr/>
            <p:nvPr/>
          </p:nvSpPr>
          <p:spPr bwMode="auto">
            <a:xfrm>
              <a:off x="7950742" y="396005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3" name="Oval 932">
              <a:extLst>
                <a:ext uri="{FF2B5EF4-FFF2-40B4-BE49-F238E27FC236}">
                  <a16:creationId xmlns:a16="http://schemas.microsoft.com/office/drawing/2014/main" id="{32B9CAD9-7125-45F7-B75A-234BDEC12179}"/>
                </a:ext>
              </a:extLst>
            </p:cNvPr>
            <p:cNvSpPr/>
            <p:nvPr/>
          </p:nvSpPr>
          <p:spPr bwMode="auto">
            <a:xfrm>
              <a:off x="8409382"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4" name="Oval 933">
              <a:extLst>
                <a:ext uri="{FF2B5EF4-FFF2-40B4-BE49-F238E27FC236}">
                  <a16:creationId xmlns:a16="http://schemas.microsoft.com/office/drawing/2014/main" id="{9A6C8955-B91A-4BC5-BCB2-77FC9B683897}"/>
                </a:ext>
              </a:extLst>
            </p:cNvPr>
            <p:cNvSpPr/>
            <p:nvPr/>
          </p:nvSpPr>
          <p:spPr bwMode="auto">
            <a:xfrm>
              <a:off x="862920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5" name="Oval 934">
              <a:extLst>
                <a:ext uri="{FF2B5EF4-FFF2-40B4-BE49-F238E27FC236}">
                  <a16:creationId xmlns:a16="http://schemas.microsoft.com/office/drawing/2014/main" id="{47631F58-9F06-4163-B938-44274CD3209D}"/>
                </a:ext>
              </a:extLst>
            </p:cNvPr>
            <p:cNvSpPr/>
            <p:nvPr/>
          </p:nvSpPr>
          <p:spPr bwMode="auto">
            <a:xfrm>
              <a:off x="8658057"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6" name="Oval 935">
              <a:extLst>
                <a:ext uri="{FF2B5EF4-FFF2-40B4-BE49-F238E27FC236}">
                  <a16:creationId xmlns:a16="http://schemas.microsoft.com/office/drawing/2014/main" id="{112BB7B9-86F7-46F2-9C7E-0F9C8CF5B076}"/>
                </a:ext>
              </a:extLst>
            </p:cNvPr>
            <p:cNvSpPr/>
            <p:nvPr/>
          </p:nvSpPr>
          <p:spPr bwMode="auto">
            <a:xfrm>
              <a:off x="876328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7" name="Oval 936">
              <a:extLst>
                <a:ext uri="{FF2B5EF4-FFF2-40B4-BE49-F238E27FC236}">
                  <a16:creationId xmlns:a16="http://schemas.microsoft.com/office/drawing/2014/main" id="{45BD3A6E-9359-43A1-80D3-9298950489EB}"/>
                </a:ext>
              </a:extLst>
            </p:cNvPr>
            <p:cNvSpPr/>
            <p:nvPr/>
          </p:nvSpPr>
          <p:spPr bwMode="auto">
            <a:xfrm>
              <a:off x="889735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8" name="Oval 937">
              <a:extLst>
                <a:ext uri="{FF2B5EF4-FFF2-40B4-BE49-F238E27FC236}">
                  <a16:creationId xmlns:a16="http://schemas.microsoft.com/office/drawing/2014/main" id="{288510A7-50C5-46C8-A49A-28D6F8E2FC9D}"/>
                </a:ext>
              </a:extLst>
            </p:cNvPr>
            <p:cNvSpPr/>
            <p:nvPr/>
          </p:nvSpPr>
          <p:spPr bwMode="auto">
            <a:xfrm>
              <a:off x="903143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9" name="Oval 938">
              <a:extLst>
                <a:ext uri="{FF2B5EF4-FFF2-40B4-BE49-F238E27FC236}">
                  <a16:creationId xmlns:a16="http://schemas.microsoft.com/office/drawing/2014/main" id="{22EB5A93-EFE5-448C-9CF8-874724214CD6}"/>
                </a:ext>
              </a:extLst>
            </p:cNvPr>
            <p:cNvSpPr/>
            <p:nvPr/>
          </p:nvSpPr>
          <p:spPr bwMode="auto">
            <a:xfrm>
              <a:off x="916550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0" name="Oval 939">
              <a:extLst>
                <a:ext uri="{FF2B5EF4-FFF2-40B4-BE49-F238E27FC236}">
                  <a16:creationId xmlns:a16="http://schemas.microsoft.com/office/drawing/2014/main" id="{5BC82031-807F-4ACB-8220-A021FE312619}"/>
                </a:ext>
              </a:extLst>
            </p:cNvPr>
            <p:cNvSpPr/>
            <p:nvPr/>
          </p:nvSpPr>
          <p:spPr bwMode="auto">
            <a:xfrm>
              <a:off x="9031434"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1" name="Oval 940">
              <a:extLst>
                <a:ext uri="{FF2B5EF4-FFF2-40B4-BE49-F238E27FC236}">
                  <a16:creationId xmlns:a16="http://schemas.microsoft.com/office/drawing/2014/main" id="{12310913-DCA4-4B7A-98DD-2D3DBC13AD27}"/>
                </a:ext>
              </a:extLst>
            </p:cNvPr>
            <p:cNvSpPr/>
            <p:nvPr/>
          </p:nvSpPr>
          <p:spPr bwMode="auto">
            <a:xfrm>
              <a:off x="8976298" y="38220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2" name="Oval 941">
              <a:extLst>
                <a:ext uri="{FF2B5EF4-FFF2-40B4-BE49-F238E27FC236}">
                  <a16:creationId xmlns:a16="http://schemas.microsoft.com/office/drawing/2014/main" id="{C7F52B47-BC91-48B9-9C13-F0B9D84D245B}"/>
                </a:ext>
              </a:extLst>
            </p:cNvPr>
            <p:cNvSpPr/>
            <p:nvPr/>
          </p:nvSpPr>
          <p:spPr bwMode="auto">
            <a:xfrm>
              <a:off x="8897359" y="39581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3" name="Oval 942">
              <a:extLst>
                <a:ext uri="{FF2B5EF4-FFF2-40B4-BE49-F238E27FC236}">
                  <a16:creationId xmlns:a16="http://schemas.microsoft.com/office/drawing/2014/main" id="{EB62D1ED-4458-48A7-AE9B-61EE507FC416}"/>
                </a:ext>
              </a:extLst>
            </p:cNvPr>
            <p:cNvSpPr/>
            <p:nvPr/>
          </p:nvSpPr>
          <p:spPr bwMode="auto">
            <a:xfrm>
              <a:off x="9185173"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4" name="Oval 943">
              <a:extLst>
                <a:ext uri="{FF2B5EF4-FFF2-40B4-BE49-F238E27FC236}">
                  <a16:creationId xmlns:a16="http://schemas.microsoft.com/office/drawing/2014/main" id="{3CAB6425-0E92-4D80-8E3F-AC68811DF28B}"/>
                </a:ext>
              </a:extLst>
            </p:cNvPr>
            <p:cNvSpPr/>
            <p:nvPr/>
          </p:nvSpPr>
          <p:spPr bwMode="auto">
            <a:xfrm>
              <a:off x="9218654" y="38220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5" name="Oval 944">
              <a:extLst>
                <a:ext uri="{FF2B5EF4-FFF2-40B4-BE49-F238E27FC236}">
                  <a16:creationId xmlns:a16="http://schemas.microsoft.com/office/drawing/2014/main" id="{D6394E01-3D5E-4261-947C-BE90EB04ADBF}"/>
                </a:ext>
              </a:extLst>
            </p:cNvPr>
            <p:cNvSpPr/>
            <p:nvPr/>
          </p:nvSpPr>
          <p:spPr bwMode="auto">
            <a:xfrm>
              <a:off x="932338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6" name="Oval 945">
              <a:extLst>
                <a:ext uri="{FF2B5EF4-FFF2-40B4-BE49-F238E27FC236}">
                  <a16:creationId xmlns:a16="http://schemas.microsoft.com/office/drawing/2014/main" id="{D801890F-7F0E-4D51-B516-9F7539A7A81B}"/>
                </a:ext>
              </a:extLst>
            </p:cNvPr>
            <p:cNvSpPr/>
            <p:nvPr/>
          </p:nvSpPr>
          <p:spPr bwMode="auto">
            <a:xfrm>
              <a:off x="9358713"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7" name="Oval 946">
              <a:extLst>
                <a:ext uri="{FF2B5EF4-FFF2-40B4-BE49-F238E27FC236}">
                  <a16:creationId xmlns:a16="http://schemas.microsoft.com/office/drawing/2014/main" id="{981D1BE7-F50C-4C67-B01D-65BE44A419E5}"/>
                </a:ext>
              </a:extLst>
            </p:cNvPr>
            <p:cNvSpPr/>
            <p:nvPr/>
          </p:nvSpPr>
          <p:spPr bwMode="auto">
            <a:xfrm>
              <a:off x="945746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8" name="Oval 947">
              <a:extLst>
                <a:ext uri="{FF2B5EF4-FFF2-40B4-BE49-F238E27FC236}">
                  <a16:creationId xmlns:a16="http://schemas.microsoft.com/office/drawing/2014/main" id="{D2297717-311A-4D53-A700-65459C2DABB6}"/>
                </a:ext>
              </a:extLst>
            </p:cNvPr>
            <p:cNvSpPr/>
            <p:nvPr/>
          </p:nvSpPr>
          <p:spPr bwMode="auto">
            <a:xfrm>
              <a:off x="9510608" y="395615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9" name="Oval 948">
              <a:extLst>
                <a:ext uri="{FF2B5EF4-FFF2-40B4-BE49-F238E27FC236}">
                  <a16:creationId xmlns:a16="http://schemas.microsoft.com/office/drawing/2014/main" id="{79459AF3-A4D6-4A82-9874-CA3B9BEABD7B}"/>
                </a:ext>
              </a:extLst>
            </p:cNvPr>
            <p:cNvSpPr/>
            <p:nvPr/>
          </p:nvSpPr>
          <p:spPr bwMode="auto">
            <a:xfrm>
              <a:off x="9377080" y="381831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0" name="Oval 949">
              <a:extLst>
                <a:ext uri="{FF2B5EF4-FFF2-40B4-BE49-F238E27FC236}">
                  <a16:creationId xmlns:a16="http://schemas.microsoft.com/office/drawing/2014/main" id="{452C4967-85FB-4A91-8405-C95A92F94A5B}"/>
                </a:ext>
              </a:extLst>
            </p:cNvPr>
            <p:cNvSpPr/>
            <p:nvPr/>
          </p:nvSpPr>
          <p:spPr bwMode="auto">
            <a:xfrm>
              <a:off x="9502619" y="37332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1" name="Oval 950">
              <a:extLst>
                <a:ext uri="{FF2B5EF4-FFF2-40B4-BE49-F238E27FC236}">
                  <a16:creationId xmlns:a16="http://schemas.microsoft.com/office/drawing/2014/main" id="{2FA97893-3DCE-49A5-8235-706B2B69E700}"/>
                </a:ext>
              </a:extLst>
            </p:cNvPr>
            <p:cNvSpPr/>
            <p:nvPr/>
          </p:nvSpPr>
          <p:spPr bwMode="auto">
            <a:xfrm>
              <a:off x="9591538"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2" name="Oval 951">
              <a:extLst>
                <a:ext uri="{FF2B5EF4-FFF2-40B4-BE49-F238E27FC236}">
                  <a16:creationId xmlns:a16="http://schemas.microsoft.com/office/drawing/2014/main" id="{3293F9E6-785C-4A42-9794-B8C3D3A7CBF7}"/>
                </a:ext>
              </a:extLst>
            </p:cNvPr>
            <p:cNvSpPr/>
            <p:nvPr/>
          </p:nvSpPr>
          <p:spPr bwMode="auto">
            <a:xfrm>
              <a:off x="972561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3" name="Oval 952">
              <a:extLst>
                <a:ext uri="{FF2B5EF4-FFF2-40B4-BE49-F238E27FC236}">
                  <a16:creationId xmlns:a16="http://schemas.microsoft.com/office/drawing/2014/main" id="{B8DBC039-E2C4-4828-93D9-8F2F9CA68DC5}"/>
                </a:ext>
              </a:extLst>
            </p:cNvPr>
            <p:cNvSpPr/>
            <p:nvPr/>
          </p:nvSpPr>
          <p:spPr bwMode="auto">
            <a:xfrm>
              <a:off x="9679064"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4" name="Oval 953">
              <a:extLst>
                <a:ext uri="{FF2B5EF4-FFF2-40B4-BE49-F238E27FC236}">
                  <a16:creationId xmlns:a16="http://schemas.microsoft.com/office/drawing/2014/main" id="{5673BAAF-AF68-4EF2-A6DA-B064A0E1EAEE}"/>
                </a:ext>
              </a:extLst>
            </p:cNvPr>
            <p:cNvSpPr/>
            <p:nvPr/>
          </p:nvSpPr>
          <p:spPr bwMode="auto">
            <a:xfrm>
              <a:off x="9821498"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5" name="Oval 954">
              <a:extLst>
                <a:ext uri="{FF2B5EF4-FFF2-40B4-BE49-F238E27FC236}">
                  <a16:creationId xmlns:a16="http://schemas.microsoft.com/office/drawing/2014/main" id="{FF29CE96-7A3D-4580-AB55-32DC11FEAAA0}"/>
                </a:ext>
              </a:extLst>
            </p:cNvPr>
            <p:cNvSpPr/>
            <p:nvPr/>
          </p:nvSpPr>
          <p:spPr bwMode="auto">
            <a:xfrm>
              <a:off x="9589688" y="384140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6" name="Oval 955">
              <a:extLst>
                <a:ext uri="{FF2B5EF4-FFF2-40B4-BE49-F238E27FC236}">
                  <a16:creationId xmlns:a16="http://schemas.microsoft.com/office/drawing/2014/main" id="{43E26A0F-F1DA-4A6A-88A8-72C00329A543}"/>
                </a:ext>
              </a:extLst>
            </p:cNvPr>
            <p:cNvSpPr/>
            <p:nvPr/>
          </p:nvSpPr>
          <p:spPr bwMode="auto">
            <a:xfrm>
              <a:off x="9859688"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7" name="Oval 956">
              <a:extLst>
                <a:ext uri="{FF2B5EF4-FFF2-40B4-BE49-F238E27FC236}">
                  <a16:creationId xmlns:a16="http://schemas.microsoft.com/office/drawing/2014/main" id="{C339FAE0-74E1-46C3-9693-7D95D97D878C}"/>
                </a:ext>
              </a:extLst>
            </p:cNvPr>
            <p:cNvSpPr/>
            <p:nvPr/>
          </p:nvSpPr>
          <p:spPr bwMode="auto">
            <a:xfrm>
              <a:off x="9993763"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8" name="Oval 957">
              <a:extLst>
                <a:ext uri="{FF2B5EF4-FFF2-40B4-BE49-F238E27FC236}">
                  <a16:creationId xmlns:a16="http://schemas.microsoft.com/office/drawing/2014/main" id="{DB8987CD-E969-4E94-80DD-371440663964}"/>
                </a:ext>
              </a:extLst>
            </p:cNvPr>
            <p:cNvSpPr/>
            <p:nvPr/>
          </p:nvSpPr>
          <p:spPr bwMode="auto">
            <a:xfrm>
              <a:off x="10127838"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9" name="Oval 958">
              <a:extLst>
                <a:ext uri="{FF2B5EF4-FFF2-40B4-BE49-F238E27FC236}">
                  <a16:creationId xmlns:a16="http://schemas.microsoft.com/office/drawing/2014/main" id="{48B29ADE-CA60-4408-9B04-56C42CB11BEF}"/>
                </a:ext>
              </a:extLst>
            </p:cNvPr>
            <p:cNvSpPr/>
            <p:nvPr/>
          </p:nvSpPr>
          <p:spPr bwMode="auto">
            <a:xfrm>
              <a:off x="10261913"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0" name="Oval 959">
              <a:extLst>
                <a:ext uri="{FF2B5EF4-FFF2-40B4-BE49-F238E27FC236}">
                  <a16:creationId xmlns:a16="http://schemas.microsoft.com/office/drawing/2014/main" id="{A0E19862-EF50-4443-8370-AF8114EA9E7A}"/>
                </a:ext>
              </a:extLst>
            </p:cNvPr>
            <p:cNvSpPr/>
            <p:nvPr/>
          </p:nvSpPr>
          <p:spPr bwMode="auto">
            <a:xfrm>
              <a:off x="10060800" y="396137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1" name="Oval 960">
              <a:extLst>
                <a:ext uri="{FF2B5EF4-FFF2-40B4-BE49-F238E27FC236}">
                  <a16:creationId xmlns:a16="http://schemas.microsoft.com/office/drawing/2014/main" id="{E395ABCF-595E-4EF2-82CF-CE1ED2272B55}"/>
                </a:ext>
              </a:extLst>
            </p:cNvPr>
            <p:cNvSpPr/>
            <p:nvPr/>
          </p:nvSpPr>
          <p:spPr bwMode="auto">
            <a:xfrm>
              <a:off x="1040190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2" name="Oval 961">
              <a:extLst>
                <a:ext uri="{FF2B5EF4-FFF2-40B4-BE49-F238E27FC236}">
                  <a16:creationId xmlns:a16="http://schemas.microsoft.com/office/drawing/2014/main" id="{B1F59C2D-B4C3-4BD7-9E22-CC131E266467}"/>
                </a:ext>
              </a:extLst>
            </p:cNvPr>
            <p:cNvSpPr/>
            <p:nvPr/>
          </p:nvSpPr>
          <p:spPr bwMode="auto">
            <a:xfrm>
              <a:off x="10254004"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3" name="Oval 962">
              <a:extLst>
                <a:ext uri="{FF2B5EF4-FFF2-40B4-BE49-F238E27FC236}">
                  <a16:creationId xmlns:a16="http://schemas.microsoft.com/office/drawing/2014/main" id="{C85D2480-67CC-47F6-9481-25380B008064}"/>
                </a:ext>
              </a:extLst>
            </p:cNvPr>
            <p:cNvSpPr/>
            <p:nvPr/>
          </p:nvSpPr>
          <p:spPr bwMode="auto">
            <a:xfrm>
              <a:off x="1067005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4" name="Oval 963">
              <a:extLst>
                <a:ext uri="{FF2B5EF4-FFF2-40B4-BE49-F238E27FC236}">
                  <a16:creationId xmlns:a16="http://schemas.microsoft.com/office/drawing/2014/main" id="{71474D91-9C07-4E01-884E-0741CB123D59}"/>
                </a:ext>
              </a:extLst>
            </p:cNvPr>
            <p:cNvSpPr/>
            <p:nvPr/>
          </p:nvSpPr>
          <p:spPr bwMode="auto">
            <a:xfrm>
              <a:off x="1093820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5" name="Oval 964">
              <a:extLst>
                <a:ext uri="{FF2B5EF4-FFF2-40B4-BE49-F238E27FC236}">
                  <a16:creationId xmlns:a16="http://schemas.microsoft.com/office/drawing/2014/main" id="{2DA76AB5-0A1B-4DFE-BCC2-FE67BE019E79}"/>
                </a:ext>
              </a:extLst>
            </p:cNvPr>
            <p:cNvSpPr/>
            <p:nvPr/>
          </p:nvSpPr>
          <p:spPr bwMode="auto">
            <a:xfrm>
              <a:off x="1147450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6" name="Oval 965">
              <a:extLst>
                <a:ext uri="{FF2B5EF4-FFF2-40B4-BE49-F238E27FC236}">
                  <a16:creationId xmlns:a16="http://schemas.microsoft.com/office/drawing/2014/main" id="{61A7D2B0-2799-4CB1-8C30-F8F82EC24EFE}"/>
                </a:ext>
              </a:extLst>
            </p:cNvPr>
            <p:cNvSpPr/>
            <p:nvPr/>
          </p:nvSpPr>
          <p:spPr bwMode="auto">
            <a:xfrm>
              <a:off x="1120635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7" name="Oval 966">
              <a:extLst>
                <a:ext uri="{FF2B5EF4-FFF2-40B4-BE49-F238E27FC236}">
                  <a16:creationId xmlns:a16="http://schemas.microsoft.com/office/drawing/2014/main" id="{34A396F3-F8D3-4061-BD89-DED6261BD9C4}"/>
                </a:ext>
              </a:extLst>
            </p:cNvPr>
            <p:cNvSpPr/>
            <p:nvPr/>
          </p:nvSpPr>
          <p:spPr bwMode="auto">
            <a:xfrm>
              <a:off x="10804127"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071E352A-B5EE-41CF-AC33-568232996192}"/>
              </a:ext>
            </a:extLst>
          </p:cNvPr>
          <p:cNvGrpSpPr/>
          <p:nvPr/>
        </p:nvGrpSpPr>
        <p:grpSpPr>
          <a:xfrm>
            <a:off x="3719408" y="2588974"/>
            <a:ext cx="4757473" cy="402225"/>
            <a:chOff x="3719408" y="2588974"/>
            <a:chExt cx="4757473" cy="402225"/>
          </a:xfrm>
        </p:grpSpPr>
        <p:sp>
          <p:nvSpPr>
            <p:cNvPr id="875" name="Oval 874">
              <a:extLst>
                <a:ext uri="{FF2B5EF4-FFF2-40B4-BE49-F238E27FC236}">
                  <a16:creationId xmlns:a16="http://schemas.microsoft.com/office/drawing/2014/main" id="{AEA5024A-8659-48FB-8EFB-364487A45652}"/>
                </a:ext>
              </a:extLst>
            </p:cNvPr>
            <p:cNvSpPr/>
            <p:nvPr/>
          </p:nvSpPr>
          <p:spPr bwMode="auto">
            <a:xfrm>
              <a:off x="371940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6" name="Oval 875">
              <a:extLst>
                <a:ext uri="{FF2B5EF4-FFF2-40B4-BE49-F238E27FC236}">
                  <a16:creationId xmlns:a16="http://schemas.microsoft.com/office/drawing/2014/main" id="{B2565F66-D523-44F0-98A3-1BE298B4DB86}"/>
                </a:ext>
              </a:extLst>
            </p:cNvPr>
            <p:cNvSpPr/>
            <p:nvPr/>
          </p:nvSpPr>
          <p:spPr bwMode="auto">
            <a:xfrm>
              <a:off x="3796997" y="272701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7" name="Oval 876">
              <a:extLst>
                <a:ext uri="{FF2B5EF4-FFF2-40B4-BE49-F238E27FC236}">
                  <a16:creationId xmlns:a16="http://schemas.microsoft.com/office/drawing/2014/main" id="{B987516C-D12F-4780-9D86-A3FA78A4DBA1}"/>
                </a:ext>
              </a:extLst>
            </p:cNvPr>
            <p:cNvSpPr/>
            <p:nvPr/>
          </p:nvSpPr>
          <p:spPr bwMode="auto">
            <a:xfrm>
              <a:off x="3863889"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8" name="Oval 877">
              <a:extLst>
                <a:ext uri="{FF2B5EF4-FFF2-40B4-BE49-F238E27FC236}">
                  <a16:creationId xmlns:a16="http://schemas.microsoft.com/office/drawing/2014/main" id="{464410BF-33EB-4C89-8C37-79A0AF21D261}"/>
                </a:ext>
              </a:extLst>
            </p:cNvPr>
            <p:cNvSpPr/>
            <p:nvPr/>
          </p:nvSpPr>
          <p:spPr bwMode="auto">
            <a:xfrm>
              <a:off x="4218696" y="273653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9" name="Oval 878">
              <a:extLst>
                <a:ext uri="{FF2B5EF4-FFF2-40B4-BE49-F238E27FC236}">
                  <a16:creationId xmlns:a16="http://schemas.microsoft.com/office/drawing/2014/main" id="{035F4F1B-97FA-4C3B-AAED-45692BA211FE}"/>
                </a:ext>
              </a:extLst>
            </p:cNvPr>
            <p:cNvSpPr/>
            <p:nvPr/>
          </p:nvSpPr>
          <p:spPr bwMode="auto">
            <a:xfrm>
              <a:off x="400837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0" name="Oval 879">
              <a:extLst>
                <a:ext uri="{FF2B5EF4-FFF2-40B4-BE49-F238E27FC236}">
                  <a16:creationId xmlns:a16="http://schemas.microsoft.com/office/drawing/2014/main" id="{23F9F7D9-E4AD-42AA-B483-C10442905060}"/>
                </a:ext>
              </a:extLst>
            </p:cNvPr>
            <p:cNvSpPr/>
            <p:nvPr/>
          </p:nvSpPr>
          <p:spPr bwMode="auto">
            <a:xfrm>
              <a:off x="4152851"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1" name="Oval 880">
              <a:extLst>
                <a:ext uri="{FF2B5EF4-FFF2-40B4-BE49-F238E27FC236}">
                  <a16:creationId xmlns:a16="http://schemas.microsoft.com/office/drawing/2014/main" id="{EF0CE09C-0D65-48E5-8406-F3E2480ED301}"/>
                </a:ext>
              </a:extLst>
            </p:cNvPr>
            <p:cNvSpPr/>
            <p:nvPr/>
          </p:nvSpPr>
          <p:spPr bwMode="auto">
            <a:xfrm>
              <a:off x="4297332"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2" name="Oval 881">
              <a:extLst>
                <a:ext uri="{FF2B5EF4-FFF2-40B4-BE49-F238E27FC236}">
                  <a16:creationId xmlns:a16="http://schemas.microsoft.com/office/drawing/2014/main" id="{DD7F576F-8652-48EA-AB59-DE9A21121F5B}"/>
                </a:ext>
              </a:extLst>
            </p:cNvPr>
            <p:cNvSpPr/>
            <p:nvPr/>
          </p:nvSpPr>
          <p:spPr bwMode="auto">
            <a:xfrm>
              <a:off x="4441813"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3" name="Oval 882">
              <a:extLst>
                <a:ext uri="{FF2B5EF4-FFF2-40B4-BE49-F238E27FC236}">
                  <a16:creationId xmlns:a16="http://schemas.microsoft.com/office/drawing/2014/main" id="{C33D280F-9ADB-4A2D-95C8-525651773D15}"/>
                </a:ext>
              </a:extLst>
            </p:cNvPr>
            <p:cNvSpPr/>
            <p:nvPr/>
          </p:nvSpPr>
          <p:spPr bwMode="auto">
            <a:xfrm>
              <a:off x="4586294"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5" name="Oval 884">
              <a:extLst>
                <a:ext uri="{FF2B5EF4-FFF2-40B4-BE49-F238E27FC236}">
                  <a16:creationId xmlns:a16="http://schemas.microsoft.com/office/drawing/2014/main" id="{DF2B4C43-9514-45B6-A855-7EF9517879F8}"/>
                </a:ext>
              </a:extLst>
            </p:cNvPr>
            <p:cNvSpPr/>
            <p:nvPr/>
          </p:nvSpPr>
          <p:spPr bwMode="auto">
            <a:xfrm>
              <a:off x="4875256"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6" name="Oval 885">
              <a:extLst>
                <a:ext uri="{FF2B5EF4-FFF2-40B4-BE49-F238E27FC236}">
                  <a16:creationId xmlns:a16="http://schemas.microsoft.com/office/drawing/2014/main" id="{36F5DF50-BC35-4FFB-B8C2-11A4FB7CC081}"/>
                </a:ext>
              </a:extLst>
            </p:cNvPr>
            <p:cNvSpPr/>
            <p:nvPr/>
          </p:nvSpPr>
          <p:spPr bwMode="auto">
            <a:xfrm>
              <a:off x="5019737"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7" name="Oval 886">
              <a:extLst>
                <a:ext uri="{FF2B5EF4-FFF2-40B4-BE49-F238E27FC236}">
                  <a16:creationId xmlns:a16="http://schemas.microsoft.com/office/drawing/2014/main" id="{55306628-0C23-4D63-98BA-1E2896B7F9D8}"/>
                </a:ext>
              </a:extLst>
            </p:cNvPr>
            <p:cNvSpPr/>
            <p:nvPr/>
          </p:nvSpPr>
          <p:spPr bwMode="auto">
            <a:xfrm>
              <a:off x="5164218"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4" name="Oval 883">
              <a:extLst>
                <a:ext uri="{FF2B5EF4-FFF2-40B4-BE49-F238E27FC236}">
                  <a16:creationId xmlns:a16="http://schemas.microsoft.com/office/drawing/2014/main" id="{5EC86D88-E1FA-4B4B-9CE6-F22A42B85073}"/>
                </a:ext>
              </a:extLst>
            </p:cNvPr>
            <p:cNvSpPr/>
            <p:nvPr/>
          </p:nvSpPr>
          <p:spPr bwMode="auto">
            <a:xfrm>
              <a:off x="5522935" y="272696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8" name="Oval 887">
              <a:extLst>
                <a:ext uri="{FF2B5EF4-FFF2-40B4-BE49-F238E27FC236}">
                  <a16:creationId xmlns:a16="http://schemas.microsoft.com/office/drawing/2014/main" id="{62133AF2-9763-4678-8D5F-71AD3AA219AD}"/>
                </a:ext>
              </a:extLst>
            </p:cNvPr>
            <p:cNvSpPr/>
            <p:nvPr/>
          </p:nvSpPr>
          <p:spPr bwMode="auto">
            <a:xfrm>
              <a:off x="4948681"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9" name="Oval 888">
              <a:extLst>
                <a:ext uri="{FF2B5EF4-FFF2-40B4-BE49-F238E27FC236}">
                  <a16:creationId xmlns:a16="http://schemas.microsoft.com/office/drawing/2014/main" id="{C1A592B8-7D95-4260-BEEC-A49FBD4AAF13}"/>
                </a:ext>
              </a:extLst>
            </p:cNvPr>
            <p:cNvSpPr/>
            <p:nvPr/>
          </p:nvSpPr>
          <p:spPr bwMode="auto">
            <a:xfrm>
              <a:off x="5308699"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0" name="Oval 889">
              <a:extLst>
                <a:ext uri="{FF2B5EF4-FFF2-40B4-BE49-F238E27FC236}">
                  <a16:creationId xmlns:a16="http://schemas.microsoft.com/office/drawing/2014/main" id="{F2748B20-E3D4-4481-99E8-54A0C600124D}"/>
                </a:ext>
              </a:extLst>
            </p:cNvPr>
            <p:cNvSpPr/>
            <p:nvPr/>
          </p:nvSpPr>
          <p:spPr bwMode="auto">
            <a:xfrm>
              <a:off x="545318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2" name="Oval 891">
              <a:extLst>
                <a:ext uri="{FF2B5EF4-FFF2-40B4-BE49-F238E27FC236}">
                  <a16:creationId xmlns:a16="http://schemas.microsoft.com/office/drawing/2014/main" id="{F694C9E2-0DA2-48DC-A438-C5AA99BBC0F2}"/>
                </a:ext>
              </a:extLst>
            </p:cNvPr>
            <p:cNvSpPr/>
            <p:nvPr/>
          </p:nvSpPr>
          <p:spPr bwMode="auto">
            <a:xfrm>
              <a:off x="5742142"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3" name="Oval 892">
              <a:extLst>
                <a:ext uri="{FF2B5EF4-FFF2-40B4-BE49-F238E27FC236}">
                  <a16:creationId xmlns:a16="http://schemas.microsoft.com/office/drawing/2014/main" id="{18152778-DF61-463E-BF0A-F0BF6BBA680D}"/>
                </a:ext>
              </a:extLst>
            </p:cNvPr>
            <p:cNvSpPr/>
            <p:nvPr/>
          </p:nvSpPr>
          <p:spPr bwMode="auto">
            <a:xfrm>
              <a:off x="5886623"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1" name="Oval 890">
              <a:extLst>
                <a:ext uri="{FF2B5EF4-FFF2-40B4-BE49-F238E27FC236}">
                  <a16:creationId xmlns:a16="http://schemas.microsoft.com/office/drawing/2014/main" id="{13AD3F91-51BD-4E48-945B-A36F78BF2E11}"/>
                </a:ext>
              </a:extLst>
            </p:cNvPr>
            <p:cNvSpPr/>
            <p:nvPr/>
          </p:nvSpPr>
          <p:spPr bwMode="auto">
            <a:xfrm>
              <a:off x="5597661"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4" name="Oval 893">
              <a:extLst>
                <a:ext uri="{FF2B5EF4-FFF2-40B4-BE49-F238E27FC236}">
                  <a16:creationId xmlns:a16="http://schemas.microsoft.com/office/drawing/2014/main" id="{72D7E10E-29E5-4501-8683-89E768EC845D}"/>
                </a:ext>
              </a:extLst>
            </p:cNvPr>
            <p:cNvSpPr/>
            <p:nvPr/>
          </p:nvSpPr>
          <p:spPr bwMode="auto">
            <a:xfrm>
              <a:off x="5659276" y="27231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5" name="Oval 894">
              <a:extLst>
                <a:ext uri="{FF2B5EF4-FFF2-40B4-BE49-F238E27FC236}">
                  <a16:creationId xmlns:a16="http://schemas.microsoft.com/office/drawing/2014/main" id="{0C4FAE12-0564-4247-B175-CAB1D025DDBA}"/>
                </a:ext>
              </a:extLst>
            </p:cNvPr>
            <p:cNvSpPr/>
            <p:nvPr/>
          </p:nvSpPr>
          <p:spPr bwMode="auto">
            <a:xfrm>
              <a:off x="5380042"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6" name="Oval 895">
              <a:extLst>
                <a:ext uri="{FF2B5EF4-FFF2-40B4-BE49-F238E27FC236}">
                  <a16:creationId xmlns:a16="http://schemas.microsoft.com/office/drawing/2014/main" id="{427FC6D7-48DE-455E-AA76-3114F1247D12}"/>
                </a:ext>
              </a:extLst>
            </p:cNvPr>
            <p:cNvSpPr/>
            <p:nvPr/>
          </p:nvSpPr>
          <p:spPr bwMode="auto">
            <a:xfrm>
              <a:off x="6031104"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7" name="Oval 896">
              <a:extLst>
                <a:ext uri="{FF2B5EF4-FFF2-40B4-BE49-F238E27FC236}">
                  <a16:creationId xmlns:a16="http://schemas.microsoft.com/office/drawing/2014/main" id="{C0267117-940F-4F01-BC52-1F44D43C2E61}"/>
                </a:ext>
              </a:extLst>
            </p:cNvPr>
            <p:cNvSpPr/>
            <p:nvPr/>
          </p:nvSpPr>
          <p:spPr bwMode="auto">
            <a:xfrm>
              <a:off x="6175585"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8" name="Oval 897">
              <a:extLst>
                <a:ext uri="{FF2B5EF4-FFF2-40B4-BE49-F238E27FC236}">
                  <a16:creationId xmlns:a16="http://schemas.microsoft.com/office/drawing/2014/main" id="{72D24498-7054-4C2E-BAF8-DC0EA229406F}"/>
                </a:ext>
              </a:extLst>
            </p:cNvPr>
            <p:cNvSpPr/>
            <p:nvPr/>
          </p:nvSpPr>
          <p:spPr bwMode="auto">
            <a:xfrm>
              <a:off x="6121177"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1" name="Oval 900">
              <a:extLst>
                <a:ext uri="{FF2B5EF4-FFF2-40B4-BE49-F238E27FC236}">
                  <a16:creationId xmlns:a16="http://schemas.microsoft.com/office/drawing/2014/main" id="{BE03EF0B-BC84-43C6-9732-64D0C8B90037}"/>
                </a:ext>
              </a:extLst>
            </p:cNvPr>
            <p:cNvSpPr/>
            <p:nvPr/>
          </p:nvSpPr>
          <p:spPr bwMode="auto">
            <a:xfrm>
              <a:off x="660902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9" name="Oval 898">
              <a:extLst>
                <a:ext uri="{FF2B5EF4-FFF2-40B4-BE49-F238E27FC236}">
                  <a16:creationId xmlns:a16="http://schemas.microsoft.com/office/drawing/2014/main" id="{F73CCB9D-B0EA-433E-B1CB-C6859240A461}"/>
                </a:ext>
              </a:extLst>
            </p:cNvPr>
            <p:cNvSpPr/>
            <p:nvPr/>
          </p:nvSpPr>
          <p:spPr bwMode="auto">
            <a:xfrm>
              <a:off x="632006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2" name="Oval 901">
              <a:extLst>
                <a:ext uri="{FF2B5EF4-FFF2-40B4-BE49-F238E27FC236}">
                  <a16:creationId xmlns:a16="http://schemas.microsoft.com/office/drawing/2014/main" id="{273DCEC4-32A4-4408-B4B3-E03247FA03B2}"/>
                </a:ext>
              </a:extLst>
            </p:cNvPr>
            <p:cNvSpPr/>
            <p:nvPr/>
          </p:nvSpPr>
          <p:spPr bwMode="auto">
            <a:xfrm>
              <a:off x="6320066" y="272304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0" name="Oval 899">
              <a:extLst>
                <a:ext uri="{FF2B5EF4-FFF2-40B4-BE49-F238E27FC236}">
                  <a16:creationId xmlns:a16="http://schemas.microsoft.com/office/drawing/2014/main" id="{BC9EE2E4-6F38-4096-AE9A-ACBD58E7D922}"/>
                </a:ext>
              </a:extLst>
            </p:cNvPr>
            <p:cNvSpPr/>
            <p:nvPr/>
          </p:nvSpPr>
          <p:spPr bwMode="auto">
            <a:xfrm>
              <a:off x="6464547"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3" name="Oval 902">
              <a:extLst>
                <a:ext uri="{FF2B5EF4-FFF2-40B4-BE49-F238E27FC236}">
                  <a16:creationId xmlns:a16="http://schemas.microsoft.com/office/drawing/2014/main" id="{760C98C7-C8FF-4440-8181-1DB9FF3DE270}"/>
                </a:ext>
              </a:extLst>
            </p:cNvPr>
            <p:cNvSpPr/>
            <p:nvPr/>
          </p:nvSpPr>
          <p:spPr bwMode="auto">
            <a:xfrm>
              <a:off x="6464547" y="272304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4" name="Oval 903">
              <a:extLst>
                <a:ext uri="{FF2B5EF4-FFF2-40B4-BE49-F238E27FC236}">
                  <a16:creationId xmlns:a16="http://schemas.microsoft.com/office/drawing/2014/main" id="{ACCB262A-96D6-43E9-9661-4CB7BA01615B}"/>
                </a:ext>
              </a:extLst>
            </p:cNvPr>
            <p:cNvSpPr/>
            <p:nvPr/>
          </p:nvSpPr>
          <p:spPr bwMode="auto">
            <a:xfrm>
              <a:off x="6464547" y="25889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5" name="Oval 904">
              <a:extLst>
                <a:ext uri="{FF2B5EF4-FFF2-40B4-BE49-F238E27FC236}">
                  <a16:creationId xmlns:a16="http://schemas.microsoft.com/office/drawing/2014/main" id="{C1B09603-842A-47F9-82DC-359322D8E9EF}"/>
                </a:ext>
              </a:extLst>
            </p:cNvPr>
            <p:cNvSpPr/>
            <p:nvPr/>
          </p:nvSpPr>
          <p:spPr bwMode="auto">
            <a:xfrm>
              <a:off x="6753509"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6" name="Oval 905">
              <a:extLst>
                <a:ext uri="{FF2B5EF4-FFF2-40B4-BE49-F238E27FC236}">
                  <a16:creationId xmlns:a16="http://schemas.microsoft.com/office/drawing/2014/main" id="{AD95128C-BC44-4D1F-AA69-4F4307676044}"/>
                </a:ext>
              </a:extLst>
            </p:cNvPr>
            <p:cNvSpPr/>
            <p:nvPr/>
          </p:nvSpPr>
          <p:spPr bwMode="auto">
            <a:xfrm>
              <a:off x="689799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7" name="Oval 906">
              <a:extLst>
                <a:ext uri="{FF2B5EF4-FFF2-40B4-BE49-F238E27FC236}">
                  <a16:creationId xmlns:a16="http://schemas.microsoft.com/office/drawing/2014/main" id="{603F513F-C534-4E27-8906-F88DA692E9B8}"/>
                </a:ext>
              </a:extLst>
            </p:cNvPr>
            <p:cNvSpPr/>
            <p:nvPr/>
          </p:nvSpPr>
          <p:spPr bwMode="auto">
            <a:xfrm>
              <a:off x="6965027"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9" name="Oval 908">
              <a:extLst>
                <a:ext uri="{FF2B5EF4-FFF2-40B4-BE49-F238E27FC236}">
                  <a16:creationId xmlns:a16="http://schemas.microsoft.com/office/drawing/2014/main" id="{15C1D35B-29CA-473B-9061-2CE485761161}"/>
                </a:ext>
              </a:extLst>
            </p:cNvPr>
            <p:cNvSpPr/>
            <p:nvPr/>
          </p:nvSpPr>
          <p:spPr bwMode="auto">
            <a:xfrm>
              <a:off x="7186952"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0" name="Oval 909">
              <a:extLst>
                <a:ext uri="{FF2B5EF4-FFF2-40B4-BE49-F238E27FC236}">
                  <a16:creationId xmlns:a16="http://schemas.microsoft.com/office/drawing/2014/main" id="{4DA2317C-7FFC-4F48-A6ED-5D0104EB950C}"/>
                </a:ext>
              </a:extLst>
            </p:cNvPr>
            <p:cNvSpPr/>
            <p:nvPr/>
          </p:nvSpPr>
          <p:spPr bwMode="auto">
            <a:xfrm>
              <a:off x="7331433"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8" name="Oval 907">
              <a:extLst>
                <a:ext uri="{FF2B5EF4-FFF2-40B4-BE49-F238E27FC236}">
                  <a16:creationId xmlns:a16="http://schemas.microsoft.com/office/drawing/2014/main" id="{D503593D-4222-432E-9B5F-223BE8D1FBEC}"/>
                </a:ext>
              </a:extLst>
            </p:cNvPr>
            <p:cNvSpPr/>
            <p:nvPr/>
          </p:nvSpPr>
          <p:spPr bwMode="auto">
            <a:xfrm>
              <a:off x="7042471"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1" name="Oval 910">
              <a:extLst>
                <a:ext uri="{FF2B5EF4-FFF2-40B4-BE49-F238E27FC236}">
                  <a16:creationId xmlns:a16="http://schemas.microsoft.com/office/drawing/2014/main" id="{FA34B78D-D630-42FA-87BA-C4E866EF4BF5}"/>
                </a:ext>
              </a:extLst>
            </p:cNvPr>
            <p:cNvSpPr/>
            <p:nvPr/>
          </p:nvSpPr>
          <p:spPr bwMode="auto">
            <a:xfrm>
              <a:off x="7117691"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2" name="Oval 911">
              <a:extLst>
                <a:ext uri="{FF2B5EF4-FFF2-40B4-BE49-F238E27FC236}">
                  <a16:creationId xmlns:a16="http://schemas.microsoft.com/office/drawing/2014/main" id="{368ADD85-1AF4-48B0-A3C8-2AF56FEB4E35}"/>
                </a:ext>
              </a:extLst>
            </p:cNvPr>
            <p:cNvSpPr/>
            <p:nvPr/>
          </p:nvSpPr>
          <p:spPr bwMode="auto">
            <a:xfrm>
              <a:off x="7620395"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4" name="Oval 913">
              <a:extLst>
                <a:ext uri="{FF2B5EF4-FFF2-40B4-BE49-F238E27FC236}">
                  <a16:creationId xmlns:a16="http://schemas.microsoft.com/office/drawing/2014/main" id="{EFFA6580-4A97-4A69-A31D-4FE0A28E92F9}"/>
                </a:ext>
              </a:extLst>
            </p:cNvPr>
            <p:cNvSpPr/>
            <p:nvPr/>
          </p:nvSpPr>
          <p:spPr bwMode="auto">
            <a:xfrm>
              <a:off x="7463932" y="259547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3" name="Oval 912">
              <a:extLst>
                <a:ext uri="{FF2B5EF4-FFF2-40B4-BE49-F238E27FC236}">
                  <a16:creationId xmlns:a16="http://schemas.microsoft.com/office/drawing/2014/main" id="{2D61AE37-1E52-48FA-916A-32F10B4B86A7}"/>
                </a:ext>
              </a:extLst>
            </p:cNvPr>
            <p:cNvSpPr/>
            <p:nvPr/>
          </p:nvSpPr>
          <p:spPr bwMode="auto">
            <a:xfrm>
              <a:off x="776487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5" name="Oval 914">
              <a:extLst>
                <a:ext uri="{FF2B5EF4-FFF2-40B4-BE49-F238E27FC236}">
                  <a16:creationId xmlns:a16="http://schemas.microsoft.com/office/drawing/2014/main" id="{2298E048-5844-4386-8BE9-DF096B3E8A6D}"/>
                </a:ext>
              </a:extLst>
            </p:cNvPr>
            <p:cNvSpPr/>
            <p:nvPr/>
          </p:nvSpPr>
          <p:spPr bwMode="auto">
            <a:xfrm>
              <a:off x="7544875" y="271832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6" name="Oval 915">
              <a:extLst>
                <a:ext uri="{FF2B5EF4-FFF2-40B4-BE49-F238E27FC236}">
                  <a16:creationId xmlns:a16="http://schemas.microsoft.com/office/drawing/2014/main" id="{754874A4-D55A-4A84-A13C-F7A29E7D60E3}"/>
                </a:ext>
              </a:extLst>
            </p:cNvPr>
            <p:cNvSpPr/>
            <p:nvPr/>
          </p:nvSpPr>
          <p:spPr bwMode="auto">
            <a:xfrm>
              <a:off x="805383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7" name="Oval 916">
              <a:extLst>
                <a:ext uri="{FF2B5EF4-FFF2-40B4-BE49-F238E27FC236}">
                  <a16:creationId xmlns:a16="http://schemas.microsoft.com/office/drawing/2014/main" id="{8FD2DF66-325D-45FC-B511-74F4C5FDB5E4}"/>
                </a:ext>
              </a:extLst>
            </p:cNvPr>
            <p:cNvSpPr/>
            <p:nvPr/>
          </p:nvSpPr>
          <p:spPr bwMode="auto">
            <a:xfrm>
              <a:off x="7383463" y="271849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8" name="Oval 917">
              <a:extLst>
                <a:ext uri="{FF2B5EF4-FFF2-40B4-BE49-F238E27FC236}">
                  <a16:creationId xmlns:a16="http://schemas.microsoft.com/office/drawing/2014/main" id="{39E855C6-4F4D-4D14-8838-8DA0F11BF181}"/>
                </a:ext>
              </a:extLst>
            </p:cNvPr>
            <p:cNvSpPr/>
            <p:nvPr/>
          </p:nvSpPr>
          <p:spPr bwMode="auto">
            <a:xfrm>
              <a:off x="8198319"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9" name="Oval 918">
              <a:extLst>
                <a:ext uri="{FF2B5EF4-FFF2-40B4-BE49-F238E27FC236}">
                  <a16:creationId xmlns:a16="http://schemas.microsoft.com/office/drawing/2014/main" id="{703C51EE-C56A-4C2F-9128-F0BE449FA06C}"/>
                </a:ext>
              </a:extLst>
            </p:cNvPr>
            <p:cNvSpPr/>
            <p:nvPr/>
          </p:nvSpPr>
          <p:spPr bwMode="auto">
            <a:xfrm>
              <a:off x="8125640"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0" name="Oval 919">
              <a:extLst>
                <a:ext uri="{FF2B5EF4-FFF2-40B4-BE49-F238E27FC236}">
                  <a16:creationId xmlns:a16="http://schemas.microsoft.com/office/drawing/2014/main" id="{297F5615-C088-42B7-B78A-F9F186059C5C}"/>
                </a:ext>
              </a:extLst>
            </p:cNvPr>
            <p:cNvSpPr/>
            <p:nvPr/>
          </p:nvSpPr>
          <p:spPr bwMode="auto">
            <a:xfrm>
              <a:off x="834280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2" name="Oval 1021">
              <a:extLst>
                <a:ext uri="{FF2B5EF4-FFF2-40B4-BE49-F238E27FC236}">
                  <a16:creationId xmlns:a16="http://schemas.microsoft.com/office/drawing/2014/main" id="{9A87C8E2-86A8-4F60-8C7B-2164A509EA91}"/>
                </a:ext>
              </a:extLst>
            </p:cNvPr>
            <p:cNvSpPr/>
            <p:nvPr/>
          </p:nvSpPr>
          <p:spPr bwMode="auto">
            <a:xfrm>
              <a:off x="7475914" y="285695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EFEB6835-79F1-4776-AD5F-CC99CC01A72D}"/>
              </a:ext>
            </a:extLst>
          </p:cNvPr>
          <p:cNvGrpSpPr/>
          <p:nvPr/>
        </p:nvGrpSpPr>
        <p:grpSpPr>
          <a:xfrm>
            <a:off x="4853989" y="3856832"/>
            <a:ext cx="6372096" cy="385706"/>
            <a:chOff x="4853989" y="5066006"/>
            <a:chExt cx="6372096" cy="385706"/>
          </a:xfrm>
        </p:grpSpPr>
        <p:sp>
          <p:nvSpPr>
            <p:cNvPr id="171" name="Oval 170">
              <a:extLst>
                <a:ext uri="{FF2B5EF4-FFF2-40B4-BE49-F238E27FC236}">
                  <a16:creationId xmlns:a16="http://schemas.microsoft.com/office/drawing/2014/main" id="{537549DA-49C2-447A-9E98-F15F71E3A753}"/>
                </a:ext>
              </a:extLst>
            </p:cNvPr>
            <p:cNvSpPr/>
            <p:nvPr/>
          </p:nvSpPr>
          <p:spPr bwMode="auto">
            <a:xfrm>
              <a:off x="651221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2" name="Oval 171">
              <a:extLst>
                <a:ext uri="{FF2B5EF4-FFF2-40B4-BE49-F238E27FC236}">
                  <a16:creationId xmlns:a16="http://schemas.microsoft.com/office/drawing/2014/main" id="{D697AB94-F7CE-42A7-B7DE-3BA87A650013}"/>
                </a:ext>
              </a:extLst>
            </p:cNvPr>
            <p:cNvSpPr/>
            <p:nvPr/>
          </p:nvSpPr>
          <p:spPr bwMode="auto">
            <a:xfrm>
              <a:off x="691300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Oval 172">
              <a:extLst>
                <a:ext uri="{FF2B5EF4-FFF2-40B4-BE49-F238E27FC236}">
                  <a16:creationId xmlns:a16="http://schemas.microsoft.com/office/drawing/2014/main" id="{8D34893F-C993-4C3F-A211-B04AE21DF459}"/>
                </a:ext>
              </a:extLst>
            </p:cNvPr>
            <p:cNvSpPr/>
            <p:nvPr/>
          </p:nvSpPr>
          <p:spPr bwMode="auto">
            <a:xfrm>
              <a:off x="719613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FD2A3A3E-5015-4AD8-98D9-FFCF086474B2}"/>
                </a:ext>
              </a:extLst>
            </p:cNvPr>
            <p:cNvSpPr/>
            <p:nvPr/>
          </p:nvSpPr>
          <p:spPr bwMode="auto">
            <a:xfrm>
              <a:off x="733381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454809BA-ADEB-4B4A-942E-72AF92425675}"/>
                </a:ext>
              </a:extLst>
            </p:cNvPr>
            <p:cNvSpPr/>
            <p:nvPr/>
          </p:nvSpPr>
          <p:spPr bwMode="auto">
            <a:xfrm>
              <a:off x="7468043"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Oval 175">
              <a:extLst>
                <a:ext uri="{FF2B5EF4-FFF2-40B4-BE49-F238E27FC236}">
                  <a16:creationId xmlns:a16="http://schemas.microsoft.com/office/drawing/2014/main" id="{40DACA60-2A80-467D-9D7E-EED0042BF36D}"/>
                </a:ext>
              </a:extLst>
            </p:cNvPr>
            <p:cNvSpPr/>
            <p:nvPr/>
          </p:nvSpPr>
          <p:spPr bwMode="auto">
            <a:xfrm>
              <a:off x="7602689"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2E7F057F-ED28-4B9B-9BB2-8C51C4F75722}"/>
                </a:ext>
              </a:extLst>
            </p:cNvPr>
            <p:cNvSpPr/>
            <p:nvPr/>
          </p:nvSpPr>
          <p:spPr bwMode="auto">
            <a:xfrm>
              <a:off x="77367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Oval 177">
              <a:extLst>
                <a:ext uri="{FF2B5EF4-FFF2-40B4-BE49-F238E27FC236}">
                  <a16:creationId xmlns:a16="http://schemas.microsoft.com/office/drawing/2014/main" id="{9E0F0F80-4733-4E6E-9F58-8013C6089318}"/>
                </a:ext>
              </a:extLst>
            </p:cNvPr>
            <p:cNvSpPr/>
            <p:nvPr/>
          </p:nvSpPr>
          <p:spPr bwMode="auto">
            <a:xfrm>
              <a:off x="787083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Oval 178">
              <a:extLst>
                <a:ext uri="{FF2B5EF4-FFF2-40B4-BE49-F238E27FC236}">
                  <a16:creationId xmlns:a16="http://schemas.microsoft.com/office/drawing/2014/main" id="{ED506099-F6B0-4376-BB05-F982C9D71079}"/>
                </a:ext>
              </a:extLst>
            </p:cNvPr>
            <p:cNvSpPr/>
            <p:nvPr/>
          </p:nvSpPr>
          <p:spPr bwMode="auto">
            <a:xfrm>
              <a:off x="7401546" y="518356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97AD7FCA-F8BB-4490-880A-BE3E5880937D}"/>
                </a:ext>
              </a:extLst>
            </p:cNvPr>
            <p:cNvSpPr/>
            <p:nvPr/>
          </p:nvSpPr>
          <p:spPr bwMode="auto">
            <a:xfrm>
              <a:off x="11027806" y="51949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Oval 180">
              <a:extLst>
                <a:ext uri="{FF2B5EF4-FFF2-40B4-BE49-F238E27FC236}">
                  <a16:creationId xmlns:a16="http://schemas.microsoft.com/office/drawing/2014/main" id="{7A98A0D3-D2B2-4BA2-80EC-097A95B50D8D}"/>
                </a:ext>
              </a:extLst>
            </p:cNvPr>
            <p:cNvSpPr/>
            <p:nvPr/>
          </p:nvSpPr>
          <p:spPr bwMode="auto">
            <a:xfrm>
              <a:off x="10350344" y="518864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Oval 181">
              <a:extLst>
                <a:ext uri="{FF2B5EF4-FFF2-40B4-BE49-F238E27FC236}">
                  <a16:creationId xmlns:a16="http://schemas.microsoft.com/office/drawing/2014/main" id="{D1A90415-A965-4C42-A5AC-E272F7A22564}"/>
                </a:ext>
              </a:extLst>
            </p:cNvPr>
            <p:cNvSpPr/>
            <p:nvPr/>
          </p:nvSpPr>
          <p:spPr bwMode="auto">
            <a:xfrm>
              <a:off x="8026891"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Oval 182">
              <a:extLst>
                <a:ext uri="{FF2B5EF4-FFF2-40B4-BE49-F238E27FC236}">
                  <a16:creationId xmlns:a16="http://schemas.microsoft.com/office/drawing/2014/main" id="{0328FC87-E470-4CC2-B205-83E1CE166B28}"/>
                </a:ext>
              </a:extLst>
            </p:cNvPr>
            <p:cNvSpPr/>
            <p:nvPr/>
          </p:nvSpPr>
          <p:spPr bwMode="auto">
            <a:xfrm>
              <a:off x="4853989"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a:extLst>
                <a:ext uri="{FF2B5EF4-FFF2-40B4-BE49-F238E27FC236}">
                  <a16:creationId xmlns:a16="http://schemas.microsoft.com/office/drawing/2014/main" id="{3B9C9BD2-3852-4311-864A-9CE277C4573A}"/>
                </a:ext>
              </a:extLst>
            </p:cNvPr>
            <p:cNvSpPr/>
            <p:nvPr/>
          </p:nvSpPr>
          <p:spPr bwMode="auto">
            <a:xfrm>
              <a:off x="8577925"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Oval 184">
              <a:extLst>
                <a:ext uri="{FF2B5EF4-FFF2-40B4-BE49-F238E27FC236}">
                  <a16:creationId xmlns:a16="http://schemas.microsoft.com/office/drawing/2014/main" id="{4A1EA7E6-3AC1-41B4-86E7-309C94E237F4}"/>
                </a:ext>
              </a:extLst>
            </p:cNvPr>
            <p:cNvSpPr/>
            <p:nvPr/>
          </p:nvSpPr>
          <p:spPr bwMode="auto">
            <a:xfrm>
              <a:off x="49880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6" name="Oval 185">
              <a:extLst>
                <a:ext uri="{FF2B5EF4-FFF2-40B4-BE49-F238E27FC236}">
                  <a16:creationId xmlns:a16="http://schemas.microsoft.com/office/drawing/2014/main" id="{DBB04500-441A-4DCB-9225-AFA6579AD21B}"/>
                </a:ext>
              </a:extLst>
            </p:cNvPr>
            <p:cNvSpPr/>
            <p:nvPr/>
          </p:nvSpPr>
          <p:spPr bwMode="auto">
            <a:xfrm>
              <a:off x="8514868"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Oval 186">
              <a:extLst>
                <a:ext uri="{FF2B5EF4-FFF2-40B4-BE49-F238E27FC236}">
                  <a16:creationId xmlns:a16="http://schemas.microsoft.com/office/drawing/2014/main" id="{AB19BAEF-32BB-4E31-B51A-1002FE985B8B}"/>
                </a:ext>
              </a:extLst>
            </p:cNvPr>
            <p:cNvSpPr/>
            <p:nvPr/>
          </p:nvSpPr>
          <p:spPr bwMode="auto">
            <a:xfrm>
              <a:off x="8648943"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Oval 187">
              <a:extLst>
                <a:ext uri="{FF2B5EF4-FFF2-40B4-BE49-F238E27FC236}">
                  <a16:creationId xmlns:a16="http://schemas.microsoft.com/office/drawing/2014/main" id="{6BB57399-C3D6-405A-A59F-7B8D79612BE7}"/>
                </a:ext>
              </a:extLst>
            </p:cNvPr>
            <p:cNvSpPr/>
            <p:nvPr/>
          </p:nvSpPr>
          <p:spPr bwMode="auto">
            <a:xfrm>
              <a:off x="878735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0701CCA0-9E74-4234-AAC4-C6276128BA15}"/>
                </a:ext>
              </a:extLst>
            </p:cNvPr>
            <p:cNvSpPr/>
            <p:nvPr/>
          </p:nvSpPr>
          <p:spPr bwMode="auto">
            <a:xfrm>
              <a:off x="8714154"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C6353544-13B7-4B0E-9BE1-1D3261744AFD}"/>
                </a:ext>
              </a:extLst>
            </p:cNvPr>
            <p:cNvSpPr/>
            <p:nvPr/>
          </p:nvSpPr>
          <p:spPr bwMode="auto">
            <a:xfrm>
              <a:off x="10888426" y="51949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Oval 190">
              <a:extLst>
                <a:ext uri="{FF2B5EF4-FFF2-40B4-BE49-F238E27FC236}">
                  <a16:creationId xmlns:a16="http://schemas.microsoft.com/office/drawing/2014/main" id="{54F54CB8-3456-4E0D-985A-FCF4337E7419}"/>
                </a:ext>
              </a:extLst>
            </p:cNvPr>
            <p:cNvSpPr/>
            <p:nvPr/>
          </p:nvSpPr>
          <p:spPr bwMode="auto">
            <a:xfrm>
              <a:off x="8275281" y="531461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Oval 191">
              <a:extLst>
                <a:ext uri="{FF2B5EF4-FFF2-40B4-BE49-F238E27FC236}">
                  <a16:creationId xmlns:a16="http://schemas.microsoft.com/office/drawing/2014/main" id="{44C62858-D222-46B3-B1AD-AD06F7A27A7A}"/>
                </a:ext>
              </a:extLst>
            </p:cNvPr>
            <p:cNvSpPr/>
            <p:nvPr/>
          </p:nvSpPr>
          <p:spPr bwMode="auto">
            <a:xfrm>
              <a:off x="67225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Oval 192">
              <a:extLst>
                <a:ext uri="{FF2B5EF4-FFF2-40B4-BE49-F238E27FC236}">
                  <a16:creationId xmlns:a16="http://schemas.microsoft.com/office/drawing/2014/main" id="{EC8660A4-2074-4156-B9D9-1EEAAD2780CD}"/>
                </a:ext>
              </a:extLst>
            </p:cNvPr>
            <p:cNvSpPr/>
            <p:nvPr/>
          </p:nvSpPr>
          <p:spPr bwMode="auto">
            <a:xfrm>
              <a:off x="9821013" y="518406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Oval 193">
              <a:extLst>
                <a:ext uri="{FF2B5EF4-FFF2-40B4-BE49-F238E27FC236}">
                  <a16:creationId xmlns:a16="http://schemas.microsoft.com/office/drawing/2014/main" id="{B11F4FEA-E927-4567-8113-68125B912686}"/>
                </a:ext>
              </a:extLst>
            </p:cNvPr>
            <p:cNvSpPr/>
            <p:nvPr/>
          </p:nvSpPr>
          <p:spPr bwMode="auto">
            <a:xfrm>
              <a:off x="8940898"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5" name="Oval 194">
              <a:extLst>
                <a:ext uri="{FF2B5EF4-FFF2-40B4-BE49-F238E27FC236}">
                  <a16:creationId xmlns:a16="http://schemas.microsoft.com/office/drawing/2014/main" id="{A62F8914-83AD-4C2F-B4A5-C42A3AF84216}"/>
                </a:ext>
              </a:extLst>
            </p:cNvPr>
            <p:cNvSpPr/>
            <p:nvPr/>
          </p:nvSpPr>
          <p:spPr bwMode="auto">
            <a:xfrm>
              <a:off x="7677254" y="51769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6" name="Oval 195">
              <a:extLst>
                <a:ext uri="{FF2B5EF4-FFF2-40B4-BE49-F238E27FC236}">
                  <a16:creationId xmlns:a16="http://schemas.microsoft.com/office/drawing/2014/main" id="{955D4EF2-4EAC-460C-96D8-BC3006F89FE5}"/>
                </a:ext>
              </a:extLst>
            </p:cNvPr>
            <p:cNvSpPr/>
            <p:nvPr/>
          </p:nvSpPr>
          <p:spPr bwMode="auto">
            <a:xfrm>
              <a:off x="907497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489C5EB2-7A63-4C3B-8F7E-2D4A4D2F7FAA}"/>
                </a:ext>
              </a:extLst>
            </p:cNvPr>
            <p:cNvSpPr/>
            <p:nvPr/>
          </p:nvSpPr>
          <p:spPr bwMode="auto">
            <a:xfrm>
              <a:off x="9128117" y="51834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Oval 197">
              <a:extLst>
                <a:ext uri="{FF2B5EF4-FFF2-40B4-BE49-F238E27FC236}">
                  <a16:creationId xmlns:a16="http://schemas.microsoft.com/office/drawing/2014/main" id="{683FCFC9-4D2F-4ADD-BCB6-BD77A3A3366D}"/>
                </a:ext>
              </a:extLst>
            </p:cNvPr>
            <p:cNvSpPr/>
            <p:nvPr/>
          </p:nvSpPr>
          <p:spPr bwMode="auto">
            <a:xfrm>
              <a:off x="10936978" y="506600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Oval 198">
              <a:extLst>
                <a:ext uri="{FF2B5EF4-FFF2-40B4-BE49-F238E27FC236}">
                  <a16:creationId xmlns:a16="http://schemas.microsoft.com/office/drawing/2014/main" id="{C818E556-3138-4C00-A15D-F8A1D5AA0ED5}"/>
                </a:ext>
              </a:extLst>
            </p:cNvPr>
            <p:cNvSpPr/>
            <p:nvPr/>
          </p:nvSpPr>
          <p:spPr bwMode="auto">
            <a:xfrm>
              <a:off x="10689097"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Oval 199">
              <a:extLst>
                <a:ext uri="{FF2B5EF4-FFF2-40B4-BE49-F238E27FC236}">
                  <a16:creationId xmlns:a16="http://schemas.microsoft.com/office/drawing/2014/main" id="{50DF2A17-EE44-4C61-BDE1-4E168CC3A9E6}"/>
                </a:ext>
              </a:extLst>
            </p:cNvPr>
            <p:cNvSpPr/>
            <p:nvPr/>
          </p:nvSpPr>
          <p:spPr bwMode="auto">
            <a:xfrm>
              <a:off x="9209047"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Oval 200">
              <a:extLst>
                <a:ext uri="{FF2B5EF4-FFF2-40B4-BE49-F238E27FC236}">
                  <a16:creationId xmlns:a16="http://schemas.microsoft.com/office/drawing/2014/main" id="{6546D906-0682-483D-99C2-6919C7C061ED}"/>
                </a:ext>
              </a:extLst>
            </p:cNvPr>
            <p:cNvSpPr/>
            <p:nvPr/>
          </p:nvSpPr>
          <p:spPr bwMode="auto">
            <a:xfrm>
              <a:off x="934312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a:extLst>
                <a:ext uri="{FF2B5EF4-FFF2-40B4-BE49-F238E27FC236}">
                  <a16:creationId xmlns:a16="http://schemas.microsoft.com/office/drawing/2014/main" id="{7D1F6F74-3D44-4C42-8FED-A26B1D44F037}"/>
                </a:ext>
              </a:extLst>
            </p:cNvPr>
            <p:cNvSpPr/>
            <p:nvPr/>
          </p:nvSpPr>
          <p:spPr bwMode="auto">
            <a:xfrm>
              <a:off x="9296573"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a:extLst>
                <a:ext uri="{FF2B5EF4-FFF2-40B4-BE49-F238E27FC236}">
                  <a16:creationId xmlns:a16="http://schemas.microsoft.com/office/drawing/2014/main" id="{30FFBBA2-4D8E-4CD3-B13D-941E5CA4933D}"/>
                </a:ext>
              </a:extLst>
            </p:cNvPr>
            <p:cNvSpPr/>
            <p:nvPr/>
          </p:nvSpPr>
          <p:spPr bwMode="auto">
            <a:xfrm>
              <a:off x="9439007"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Oval 203">
              <a:extLst>
                <a:ext uri="{FF2B5EF4-FFF2-40B4-BE49-F238E27FC236}">
                  <a16:creationId xmlns:a16="http://schemas.microsoft.com/office/drawing/2014/main" id="{C300C1CD-24C2-4D77-BFD4-469E5FFEF93B}"/>
                </a:ext>
              </a:extLst>
            </p:cNvPr>
            <p:cNvSpPr/>
            <p:nvPr/>
          </p:nvSpPr>
          <p:spPr bwMode="auto">
            <a:xfrm>
              <a:off x="9207197" y="506867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BD7A86FE-EAE3-4169-911A-F48C3179ED07}"/>
                </a:ext>
              </a:extLst>
            </p:cNvPr>
            <p:cNvSpPr/>
            <p:nvPr/>
          </p:nvSpPr>
          <p:spPr bwMode="auto">
            <a:xfrm>
              <a:off x="9477197"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205">
              <a:extLst>
                <a:ext uri="{FF2B5EF4-FFF2-40B4-BE49-F238E27FC236}">
                  <a16:creationId xmlns:a16="http://schemas.microsoft.com/office/drawing/2014/main" id="{CF74E35A-DEF3-4FC1-9C01-9F223C2E5D89}"/>
                </a:ext>
              </a:extLst>
            </p:cNvPr>
            <p:cNvSpPr/>
            <p:nvPr/>
          </p:nvSpPr>
          <p:spPr bwMode="auto">
            <a:xfrm>
              <a:off x="9611272"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Oval 206">
              <a:extLst>
                <a:ext uri="{FF2B5EF4-FFF2-40B4-BE49-F238E27FC236}">
                  <a16:creationId xmlns:a16="http://schemas.microsoft.com/office/drawing/2014/main" id="{6C5D0535-62DC-4B75-A262-DA5AEF705EE8}"/>
                </a:ext>
              </a:extLst>
            </p:cNvPr>
            <p:cNvSpPr/>
            <p:nvPr/>
          </p:nvSpPr>
          <p:spPr bwMode="auto">
            <a:xfrm>
              <a:off x="9745347"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Oval 213">
              <a:extLst>
                <a:ext uri="{FF2B5EF4-FFF2-40B4-BE49-F238E27FC236}">
                  <a16:creationId xmlns:a16="http://schemas.microsoft.com/office/drawing/2014/main" id="{169854A9-F2A0-45D1-8E33-974AE2386F29}"/>
                </a:ext>
              </a:extLst>
            </p:cNvPr>
            <p:cNvSpPr/>
            <p:nvPr/>
          </p:nvSpPr>
          <p:spPr bwMode="auto">
            <a:xfrm>
              <a:off x="9879422"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a:extLst>
                <a:ext uri="{FF2B5EF4-FFF2-40B4-BE49-F238E27FC236}">
                  <a16:creationId xmlns:a16="http://schemas.microsoft.com/office/drawing/2014/main" id="{6F1A4663-29A2-4928-B670-131FC8DD0770}"/>
                </a:ext>
              </a:extLst>
            </p:cNvPr>
            <p:cNvSpPr/>
            <p:nvPr/>
          </p:nvSpPr>
          <p:spPr bwMode="auto">
            <a:xfrm>
              <a:off x="9678309" y="518864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Oval 215">
              <a:extLst>
                <a:ext uri="{FF2B5EF4-FFF2-40B4-BE49-F238E27FC236}">
                  <a16:creationId xmlns:a16="http://schemas.microsoft.com/office/drawing/2014/main" id="{CAA60C3C-75F0-4154-AF13-25FB59EA27F1}"/>
                </a:ext>
              </a:extLst>
            </p:cNvPr>
            <p:cNvSpPr/>
            <p:nvPr/>
          </p:nvSpPr>
          <p:spPr bwMode="auto">
            <a:xfrm>
              <a:off x="1001941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Oval 216">
              <a:extLst>
                <a:ext uri="{FF2B5EF4-FFF2-40B4-BE49-F238E27FC236}">
                  <a16:creationId xmlns:a16="http://schemas.microsoft.com/office/drawing/2014/main" id="{1B48A711-AFDB-4C2A-9930-5A3A84ED7C14}"/>
                </a:ext>
              </a:extLst>
            </p:cNvPr>
            <p:cNvSpPr/>
            <p:nvPr/>
          </p:nvSpPr>
          <p:spPr bwMode="auto">
            <a:xfrm>
              <a:off x="10963161"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Oval 219">
              <a:extLst>
                <a:ext uri="{FF2B5EF4-FFF2-40B4-BE49-F238E27FC236}">
                  <a16:creationId xmlns:a16="http://schemas.microsoft.com/office/drawing/2014/main" id="{1E83B9E8-1C1D-4BC9-9AE7-CC9629D526E0}"/>
                </a:ext>
              </a:extLst>
            </p:cNvPr>
            <p:cNvSpPr/>
            <p:nvPr/>
          </p:nvSpPr>
          <p:spPr bwMode="auto">
            <a:xfrm>
              <a:off x="1028756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Oval 220">
              <a:extLst>
                <a:ext uri="{FF2B5EF4-FFF2-40B4-BE49-F238E27FC236}">
                  <a16:creationId xmlns:a16="http://schemas.microsoft.com/office/drawing/2014/main" id="{64962A06-ACFC-4BCF-A326-2B8E8780749C}"/>
                </a:ext>
              </a:extLst>
            </p:cNvPr>
            <p:cNvSpPr/>
            <p:nvPr/>
          </p:nvSpPr>
          <p:spPr bwMode="auto">
            <a:xfrm>
              <a:off x="1055571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Oval 221">
              <a:extLst>
                <a:ext uri="{FF2B5EF4-FFF2-40B4-BE49-F238E27FC236}">
                  <a16:creationId xmlns:a16="http://schemas.microsoft.com/office/drawing/2014/main" id="{0306F81A-F553-40AF-83B8-7A60C3897CA5}"/>
                </a:ext>
              </a:extLst>
            </p:cNvPr>
            <p:cNvSpPr/>
            <p:nvPr/>
          </p:nvSpPr>
          <p:spPr bwMode="auto">
            <a:xfrm>
              <a:off x="1109201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14A8299B-2A32-467E-B27E-F00DC9DDF166}"/>
                </a:ext>
              </a:extLst>
            </p:cNvPr>
            <p:cNvSpPr/>
            <p:nvPr/>
          </p:nvSpPr>
          <p:spPr bwMode="auto">
            <a:xfrm>
              <a:off x="1082386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6" name="Oval 225">
              <a:extLst>
                <a:ext uri="{FF2B5EF4-FFF2-40B4-BE49-F238E27FC236}">
                  <a16:creationId xmlns:a16="http://schemas.microsoft.com/office/drawing/2014/main" id="{71321A7F-216F-45B2-8FDB-39F2C0574A71}"/>
                </a:ext>
              </a:extLst>
            </p:cNvPr>
            <p:cNvSpPr/>
            <p:nvPr/>
          </p:nvSpPr>
          <p:spPr bwMode="auto">
            <a:xfrm>
              <a:off x="10421636"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Oval 226">
              <a:extLst>
                <a:ext uri="{FF2B5EF4-FFF2-40B4-BE49-F238E27FC236}">
                  <a16:creationId xmlns:a16="http://schemas.microsoft.com/office/drawing/2014/main" id="{343CBA1C-7BAF-4CE7-BA67-02CD97E5B820}"/>
                </a:ext>
              </a:extLst>
            </p:cNvPr>
            <p:cNvSpPr/>
            <p:nvPr/>
          </p:nvSpPr>
          <p:spPr bwMode="auto">
            <a:xfrm>
              <a:off x="572604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9672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strVal val="#ppt_w*0.70"/>
                                          </p:val>
                                        </p:tav>
                                        <p:tav tm="100000">
                                          <p:val>
                                            <p:strVal val="#ppt_w"/>
                                          </p:val>
                                        </p:tav>
                                      </p:tavLst>
                                    </p:anim>
                                    <p:anim calcmode="lin" valueType="num">
                                      <p:cBhvr>
                                        <p:cTn id="8" dur="500" fill="hold"/>
                                        <p:tgtEl>
                                          <p:spTgt spid="10"/>
                                        </p:tgtEl>
                                        <p:attrNameLst>
                                          <p:attrName>ppt_h</p:attrName>
                                        </p:attrNameLst>
                                      </p:cBhvr>
                                      <p:tavLst>
                                        <p:tav tm="0">
                                          <p:val>
                                            <p:strVal val="#ppt_h"/>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55"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500" fill="hold"/>
                                        <p:tgtEl>
                                          <p:spTgt spid="12"/>
                                        </p:tgtEl>
                                        <p:attrNameLst>
                                          <p:attrName>ppt_w</p:attrName>
                                        </p:attrNameLst>
                                      </p:cBhvr>
                                      <p:tavLst>
                                        <p:tav tm="0">
                                          <p:val>
                                            <p:strVal val="#ppt_w*0.70"/>
                                          </p:val>
                                        </p:tav>
                                        <p:tav tm="100000">
                                          <p:val>
                                            <p:strVal val="#ppt_w"/>
                                          </p:val>
                                        </p:tav>
                                      </p:tavLst>
                                    </p:anim>
                                    <p:anim calcmode="lin" valueType="num">
                                      <p:cBhvr>
                                        <p:cTn id="19" dur="500" fill="hold"/>
                                        <p:tgtEl>
                                          <p:spTgt spid="12"/>
                                        </p:tgtEl>
                                        <p:attrNameLst>
                                          <p:attrName>ppt_h</p:attrName>
                                        </p:attrNameLst>
                                      </p:cBhvr>
                                      <p:tavLst>
                                        <p:tav tm="0">
                                          <p:val>
                                            <p:strVal val="#ppt_h"/>
                                          </p:val>
                                        </p:tav>
                                        <p:tav tm="100000">
                                          <p:val>
                                            <p:strVal val="#ppt_h"/>
                                          </p:val>
                                        </p:tav>
                                      </p:tavLst>
                                    </p:anim>
                                    <p:animEffect transition="in" filter="fade">
                                      <p:cBhvr>
                                        <p:cTn id="20" dur="500"/>
                                        <p:tgtEl>
                                          <p:spTgt spid="12"/>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55"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500" fill="hold"/>
                                        <p:tgtEl>
                                          <p:spTgt spid="11"/>
                                        </p:tgtEl>
                                        <p:attrNameLst>
                                          <p:attrName>ppt_w</p:attrName>
                                        </p:attrNameLst>
                                      </p:cBhvr>
                                      <p:tavLst>
                                        <p:tav tm="0">
                                          <p:val>
                                            <p:strVal val="#ppt_w*0.70"/>
                                          </p:val>
                                        </p:tav>
                                        <p:tav tm="100000">
                                          <p:val>
                                            <p:strVal val="#ppt_w"/>
                                          </p:val>
                                        </p:tav>
                                      </p:tavLst>
                                    </p:anim>
                                    <p:anim calcmode="lin" valueType="num">
                                      <p:cBhvr>
                                        <p:cTn id="30" dur="500" fill="hold"/>
                                        <p:tgtEl>
                                          <p:spTgt spid="11"/>
                                        </p:tgtEl>
                                        <p:attrNameLst>
                                          <p:attrName>ppt_h</p:attrName>
                                        </p:attrNameLst>
                                      </p:cBhvr>
                                      <p:tavLst>
                                        <p:tav tm="0">
                                          <p:val>
                                            <p:strVal val="#ppt_h"/>
                                          </p:val>
                                        </p:tav>
                                        <p:tav tm="100000">
                                          <p:val>
                                            <p:strVal val="#ppt_h"/>
                                          </p:val>
                                        </p:tav>
                                      </p:tavLst>
                                    </p:anim>
                                    <p:animEffect transition="in" filter="fade">
                                      <p:cBhvr>
                                        <p:cTn id="31" dur="500"/>
                                        <p:tgtEl>
                                          <p:spTgt spid="11"/>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Oval 105">
            <a:extLst>
              <a:ext uri="{FF2B5EF4-FFF2-40B4-BE49-F238E27FC236}">
                <a16:creationId xmlns:a16="http://schemas.microsoft.com/office/drawing/2014/main" id="{9C272C58-CD4D-4E49-A78D-9BEAA7AB3035}"/>
              </a:ext>
            </a:extLst>
          </p:cNvPr>
          <p:cNvSpPr/>
          <p:nvPr/>
        </p:nvSpPr>
        <p:spPr bwMode="auto">
          <a:xfrm>
            <a:off x="882926"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6" name="Oval 225">
            <a:extLst>
              <a:ext uri="{FF2B5EF4-FFF2-40B4-BE49-F238E27FC236}">
                <a16:creationId xmlns:a16="http://schemas.microsoft.com/office/drawing/2014/main" id="{AB5B8D28-1F9C-4FBD-A6E2-D594384EDA6D}"/>
              </a:ext>
            </a:extLst>
          </p:cNvPr>
          <p:cNvSpPr/>
          <p:nvPr/>
        </p:nvSpPr>
        <p:spPr bwMode="auto">
          <a:xfrm>
            <a:off x="2775112"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Oval 226">
            <a:extLst>
              <a:ext uri="{FF2B5EF4-FFF2-40B4-BE49-F238E27FC236}">
                <a16:creationId xmlns:a16="http://schemas.microsoft.com/office/drawing/2014/main" id="{E2A14EE9-83EC-40D1-A81D-CF0AE4E4862E}"/>
              </a:ext>
            </a:extLst>
          </p:cNvPr>
          <p:cNvSpPr/>
          <p:nvPr/>
        </p:nvSpPr>
        <p:spPr bwMode="auto">
          <a:xfrm>
            <a:off x="4644312"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8" name="Oval 227">
            <a:extLst>
              <a:ext uri="{FF2B5EF4-FFF2-40B4-BE49-F238E27FC236}">
                <a16:creationId xmlns:a16="http://schemas.microsoft.com/office/drawing/2014/main" id="{8ACE71E9-2F8E-43F0-BED1-97FD6E94E6EE}"/>
              </a:ext>
            </a:extLst>
          </p:cNvPr>
          <p:cNvSpPr/>
          <p:nvPr/>
        </p:nvSpPr>
        <p:spPr bwMode="auto">
          <a:xfrm>
            <a:off x="6547210"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Oval 228">
            <a:extLst>
              <a:ext uri="{FF2B5EF4-FFF2-40B4-BE49-F238E27FC236}">
                <a16:creationId xmlns:a16="http://schemas.microsoft.com/office/drawing/2014/main" id="{73CD2D3C-87FD-494D-BC9B-522DBA4A5698}"/>
              </a:ext>
            </a:extLst>
          </p:cNvPr>
          <p:cNvSpPr/>
          <p:nvPr/>
        </p:nvSpPr>
        <p:spPr bwMode="auto">
          <a:xfrm>
            <a:off x="8417118"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Oval 229">
            <a:extLst>
              <a:ext uri="{FF2B5EF4-FFF2-40B4-BE49-F238E27FC236}">
                <a16:creationId xmlns:a16="http://schemas.microsoft.com/office/drawing/2014/main" id="{234D9BBF-CED9-4013-AA8D-179707CB085A}"/>
              </a:ext>
            </a:extLst>
          </p:cNvPr>
          <p:cNvSpPr/>
          <p:nvPr/>
        </p:nvSpPr>
        <p:spPr bwMode="auto">
          <a:xfrm>
            <a:off x="10383193"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19147020-BDE6-49D7-9306-9DAC1FF5723A}"/>
              </a:ext>
            </a:extLst>
          </p:cNvPr>
          <p:cNvSpPr>
            <a:spLocks noGrp="1"/>
          </p:cNvSpPr>
          <p:nvPr>
            <p:ph type="title"/>
          </p:nvPr>
        </p:nvSpPr>
        <p:spPr/>
        <p:txBody>
          <a:bodyPr vert="horz" wrap="square" lIns="0" tIns="164592" rIns="0" bIns="0" rtlCol="0" anchor="t">
            <a:noAutofit/>
          </a:bodyPr>
          <a:lstStyle/>
          <a:p>
            <a:r>
              <a:rPr lang="en-US" spc="-150" dirty="0"/>
              <a:t>Helping you innovate across your business</a:t>
            </a:r>
          </a:p>
        </p:txBody>
      </p:sp>
      <p:grpSp>
        <p:nvGrpSpPr>
          <p:cNvPr id="23" name="Group 22">
            <a:extLst>
              <a:ext uri="{FF2B5EF4-FFF2-40B4-BE49-F238E27FC236}">
                <a16:creationId xmlns:a16="http://schemas.microsoft.com/office/drawing/2014/main" id="{1C10A770-4F14-4007-AFFD-6F191F0827BC}"/>
              </a:ext>
            </a:extLst>
          </p:cNvPr>
          <p:cNvGrpSpPr/>
          <p:nvPr/>
        </p:nvGrpSpPr>
        <p:grpSpPr>
          <a:xfrm>
            <a:off x="2987913" y="2203413"/>
            <a:ext cx="513650" cy="513650"/>
            <a:chOff x="3010389" y="2218304"/>
            <a:chExt cx="513650" cy="513650"/>
          </a:xfrm>
        </p:grpSpPr>
        <p:sp>
          <p:nvSpPr>
            <p:cNvPr id="13" name="Partial Circle 12">
              <a:extLst>
                <a:ext uri="{FF2B5EF4-FFF2-40B4-BE49-F238E27FC236}">
                  <a16:creationId xmlns:a16="http://schemas.microsoft.com/office/drawing/2014/main" id="{9A175851-8468-4AEB-9FEF-F2823DAE5056}"/>
                </a:ext>
              </a:extLst>
            </p:cNvPr>
            <p:cNvSpPr/>
            <p:nvPr/>
          </p:nvSpPr>
          <p:spPr bwMode="auto">
            <a:xfrm>
              <a:off x="3010389" y="2218304"/>
              <a:ext cx="513650" cy="513650"/>
            </a:xfrm>
            <a:prstGeom prst="pi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D58FDE72-2D82-4F21-861C-7FC824514093}"/>
                </a:ext>
              </a:extLst>
            </p:cNvPr>
            <p:cNvCxnSpPr/>
            <p:nvPr/>
          </p:nvCxnSpPr>
          <p:spPr>
            <a:xfrm>
              <a:off x="3301365" y="2220209"/>
              <a:ext cx="0" cy="22962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03C97D1-F5B8-47EF-AFCA-9D137E18B3A2}"/>
                </a:ext>
              </a:extLst>
            </p:cNvPr>
            <p:cNvCxnSpPr>
              <a:cxnSpLocks/>
            </p:cNvCxnSpPr>
            <p:nvPr/>
          </p:nvCxnSpPr>
          <p:spPr>
            <a:xfrm>
              <a:off x="3333750" y="2303145"/>
              <a:ext cx="0" cy="14668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12452EA-B25F-4290-A497-0C9D2FAD38D3}"/>
                </a:ext>
              </a:extLst>
            </p:cNvPr>
            <p:cNvCxnSpPr>
              <a:cxnSpLocks/>
            </p:cNvCxnSpPr>
            <p:nvPr/>
          </p:nvCxnSpPr>
          <p:spPr>
            <a:xfrm>
              <a:off x="3366135" y="2333114"/>
              <a:ext cx="0" cy="11671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366F324-8350-48E8-A160-2EC926370CB3}"/>
                </a:ext>
              </a:extLst>
            </p:cNvPr>
            <p:cNvCxnSpPr>
              <a:cxnSpLocks/>
            </p:cNvCxnSpPr>
            <p:nvPr/>
          </p:nvCxnSpPr>
          <p:spPr>
            <a:xfrm>
              <a:off x="3398520" y="2268855"/>
              <a:ext cx="0" cy="18097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BC6107-3F01-4C46-B6B9-8CFED6534462}"/>
                </a:ext>
              </a:extLst>
            </p:cNvPr>
            <p:cNvCxnSpPr>
              <a:cxnSpLocks/>
            </p:cNvCxnSpPr>
            <p:nvPr/>
          </p:nvCxnSpPr>
          <p:spPr>
            <a:xfrm>
              <a:off x="3430905" y="2268855"/>
              <a:ext cx="0" cy="18097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0098423-2BEF-4BB5-BD86-489E2520C282}"/>
                </a:ext>
              </a:extLst>
            </p:cNvPr>
            <p:cNvCxnSpPr>
              <a:cxnSpLocks/>
            </p:cNvCxnSpPr>
            <p:nvPr/>
          </p:nvCxnSpPr>
          <p:spPr>
            <a:xfrm>
              <a:off x="3467100" y="2318385"/>
              <a:ext cx="0" cy="13144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3CD1AE6-EF12-499F-A01A-332C0E45A3AB}"/>
                </a:ext>
              </a:extLst>
            </p:cNvPr>
            <p:cNvCxnSpPr>
              <a:cxnSpLocks/>
            </p:cNvCxnSpPr>
            <p:nvPr/>
          </p:nvCxnSpPr>
          <p:spPr>
            <a:xfrm>
              <a:off x="3503295" y="2284095"/>
              <a:ext cx="0" cy="1657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DDC625FC-405A-4FFD-B870-6456949D093D}"/>
              </a:ext>
            </a:extLst>
          </p:cNvPr>
          <p:cNvGrpSpPr/>
          <p:nvPr/>
        </p:nvGrpSpPr>
        <p:grpSpPr>
          <a:xfrm>
            <a:off x="4851971" y="2218733"/>
            <a:ext cx="547454" cy="489564"/>
            <a:chOff x="5973127" y="2543175"/>
            <a:chExt cx="431483" cy="385857"/>
          </a:xfrm>
        </p:grpSpPr>
        <p:sp>
          <p:nvSpPr>
            <p:cNvPr id="27" name="Freeform: Shape 26">
              <a:extLst>
                <a:ext uri="{FF2B5EF4-FFF2-40B4-BE49-F238E27FC236}">
                  <a16:creationId xmlns:a16="http://schemas.microsoft.com/office/drawing/2014/main" id="{B9A5A93D-7521-4711-9594-909A90AFE7D0}"/>
                </a:ext>
              </a:extLst>
            </p:cNvPr>
            <p:cNvSpPr/>
            <p:nvPr/>
          </p:nvSpPr>
          <p:spPr>
            <a:xfrm>
              <a:off x="5973127" y="2681382"/>
              <a:ext cx="200025" cy="247650"/>
            </a:xfrm>
            <a:custGeom>
              <a:avLst/>
              <a:gdLst>
                <a:gd name="connsiteX0" fmla="*/ 7348 w 200025"/>
                <a:gd name="connsiteY0" fmla="*/ 242616 h 247650"/>
                <a:gd name="connsiteX1" fmla="*/ 104503 w 200025"/>
                <a:gd name="connsiteY1" fmla="*/ 144508 h 247650"/>
                <a:gd name="connsiteX2" fmla="*/ 201658 w 200025"/>
                <a:gd name="connsiteY2" fmla="*/ 243568 h 247650"/>
                <a:gd name="connsiteX3" fmla="*/ 52116 w 200025"/>
                <a:gd name="connsiteY3" fmla="*/ 114028 h 247650"/>
                <a:gd name="connsiteX4" fmla="*/ 52116 w 200025"/>
                <a:gd name="connsiteY4" fmla="*/ 53068 h 247650"/>
                <a:gd name="connsiteX5" fmla="*/ 36876 w 200025"/>
                <a:gd name="connsiteY5" fmla="*/ 37828 h 247650"/>
                <a:gd name="connsiteX6" fmla="*/ 21636 w 200025"/>
                <a:gd name="connsiteY6" fmla="*/ 53068 h 247650"/>
                <a:gd name="connsiteX7" fmla="*/ 21636 w 200025"/>
                <a:gd name="connsiteY7" fmla="*/ 98788 h 247650"/>
                <a:gd name="connsiteX8" fmla="*/ 36876 w 200025"/>
                <a:gd name="connsiteY8" fmla="*/ 114028 h 247650"/>
                <a:gd name="connsiteX9" fmla="*/ 96883 w 200025"/>
                <a:gd name="connsiteY9" fmla="*/ 114028 h 247650"/>
                <a:gd name="connsiteX10" fmla="*/ 48306 w 200025"/>
                <a:gd name="connsiteY10" fmla="*/ 114028 h 247650"/>
                <a:gd name="connsiteX11" fmla="*/ 103551 w 200025"/>
                <a:gd name="connsiteY11" fmla="*/ 144508 h 247650"/>
                <a:gd name="connsiteX12" fmla="*/ 170226 w 200025"/>
                <a:gd name="connsiteY12" fmla="*/ 75928 h 247650"/>
                <a:gd name="connsiteX13" fmla="*/ 103551 w 200025"/>
                <a:gd name="connsiteY13" fmla="*/ 7348 h 247650"/>
                <a:gd name="connsiteX14" fmla="*/ 47353 w 200025"/>
                <a:gd name="connsiteY14" fmla="*/ 3782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025" h="247650">
                  <a:moveTo>
                    <a:pt x="7348" y="242616"/>
                  </a:moveTo>
                  <a:cubicBezTo>
                    <a:pt x="7348" y="188323"/>
                    <a:pt x="51163" y="144508"/>
                    <a:pt x="104503" y="144508"/>
                  </a:cubicBezTo>
                  <a:cubicBezTo>
                    <a:pt x="157843" y="144508"/>
                    <a:pt x="201658" y="188323"/>
                    <a:pt x="201658" y="243568"/>
                  </a:cubicBezTo>
                  <a:moveTo>
                    <a:pt x="52116" y="114028"/>
                  </a:moveTo>
                  <a:cubicBezTo>
                    <a:pt x="52116" y="53068"/>
                    <a:pt x="52116" y="53068"/>
                    <a:pt x="52116" y="53068"/>
                  </a:cubicBezTo>
                  <a:cubicBezTo>
                    <a:pt x="52116" y="44496"/>
                    <a:pt x="45448" y="37828"/>
                    <a:pt x="36876" y="37828"/>
                  </a:cubicBezTo>
                  <a:cubicBezTo>
                    <a:pt x="28303" y="37828"/>
                    <a:pt x="21636" y="44496"/>
                    <a:pt x="21636" y="53068"/>
                  </a:cubicBezTo>
                  <a:cubicBezTo>
                    <a:pt x="21636" y="98788"/>
                    <a:pt x="21636" y="98788"/>
                    <a:pt x="21636" y="98788"/>
                  </a:cubicBezTo>
                  <a:cubicBezTo>
                    <a:pt x="21636" y="107361"/>
                    <a:pt x="28303" y="114028"/>
                    <a:pt x="36876" y="114028"/>
                  </a:cubicBezTo>
                  <a:cubicBezTo>
                    <a:pt x="96883" y="114028"/>
                    <a:pt x="96883" y="114028"/>
                    <a:pt x="96883" y="114028"/>
                  </a:cubicBezTo>
                  <a:moveTo>
                    <a:pt x="48306" y="114028"/>
                  </a:moveTo>
                  <a:cubicBezTo>
                    <a:pt x="60688" y="132126"/>
                    <a:pt x="80691" y="144508"/>
                    <a:pt x="103551" y="144508"/>
                  </a:cubicBezTo>
                  <a:cubicBezTo>
                    <a:pt x="140698" y="144508"/>
                    <a:pt x="170226" y="114028"/>
                    <a:pt x="170226" y="75928"/>
                  </a:cubicBezTo>
                  <a:cubicBezTo>
                    <a:pt x="170226" y="37828"/>
                    <a:pt x="139746" y="7348"/>
                    <a:pt x="103551" y="7348"/>
                  </a:cubicBezTo>
                  <a:cubicBezTo>
                    <a:pt x="80691" y="7348"/>
                    <a:pt x="59736" y="19731"/>
                    <a:pt x="47353" y="37828"/>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DE0F31F3-80E6-484B-8EC3-1244E919FC81}"/>
                </a:ext>
              </a:extLst>
            </p:cNvPr>
            <p:cNvSpPr/>
            <p:nvPr/>
          </p:nvSpPr>
          <p:spPr bwMode="auto">
            <a:xfrm>
              <a:off x="6075045" y="2543175"/>
              <a:ext cx="329565" cy="243840"/>
            </a:xfrm>
            <a:custGeom>
              <a:avLst/>
              <a:gdLst>
                <a:gd name="connsiteX0" fmla="*/ 0 w 329565"/>
                <a:gd name="connsiteY0" fmla="*/ 123825 h 243840"/>
                <a:gd name="connsiteX1" fmla="*/ 0 w 329565"/>
                <a:gd name="connsiteY1" fmla="*/ 0 h 243840"/>
                <a:gd name="connsiteX2" fmla="*/ 329565 w 329565"/>
                <a:gd name="connsiteY2" fmla="*/ 0 h 243840"/>
                <a:gd name="connsiteX3" fmla="*/ 329565 w 329565"/>
                <a:gd name="connsiteY3" fmla="*/ 200025 h 243840"/>
                <a:gd name="connsiteX4" fmla="*/ 272415 w 329565"/>
                <a:gd name="connsiteY4" fmla="*/ 200025 h 243840"/>
                <a:gd name="connsiteX5" fmla="*/ 228600 w 329565"/>
                <a:gd name="connsiteY5" fmla="*/ 243840 h 243840"/>
                <a:gd name="connsiteX6" fmla="*/ 228600 w 329565"/>
                <a:gd name="connsiteY6" fmla="*/ 192405 h 243840"/>
                <a:gd name="connsiteX7" fmla="*/ 85725 w 329565"/>
                <a:gd name="connsiteY7" fmla="*/ 192405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565" h="243840">
                  <a:moveTo>
                    <a:pt x="0" y="123825"/>
                  </a:moveTo>
                  <a:lnTo>
                    <a:pt x="0" y="0"/>
                  </a:lnTo>
                  <a:lnTo>
                    <a:pt x="329565" y="0"/>
                  </a:lnTo>
                  <a:lnTo>
                    <a:pt x="329565" y="200025"/>
                  </a:lnTo>
                  <a:lnTo>
                    <a:pt x="272415" y="200025"/>
                  </a:lnTo>
                  <a:lnTo>
                    <a:pt x="228600" y="243840"/>
                  </a:lnTo>
                  <a:lnTo>
                    <a:pt x="228600" y="192405"/>
                  </a:lnTo>
                  <a:lnTo>
                    <a:pt x="85725" y="192405"/>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4099" name="Group 4098">
            <a:extLst>
              <a:ext uri="{FF2B5EF4-FFF2-40B4-BE49-F238E27FC236}">
                <a16:creationId xmlns:a16="http://schemas.microsoft.com/office/drawing/2014/main" id="{61AB9680-2102-4AC0-BE96-974D26AFD102}"/>
              </a:ext>
            </a:extLst>
          </p:cNvPr>
          <p:cNvGrpSpPr/>
          <p:nvPr/>
        </p:nvGrpSpPr>
        <p:grpSpPr>
          <a:xfrm>
            <a:off x="6740855" y="2235400"/>
            <a:ext cx="551962" cy="427653"/>
            <a:chOff x="6759716" y="2185986"/>
            <a:chExt cx="551962" cy="427653"/>
          </a:xfrm>
        </p:grpSpPr>
        <p:sp>
          <p:nvSpPr>
            <p:cNvPr id="42" name="PaymentCard_E8C7" title="Icon of a credit card">
              <a:extLst>
                <a:ext uri="{FF2B5EF4-FFF2-40B4-BE49-F238E27FC236}">
                  <a16:creationId xmlns:a16="http://schemas.microsoft.com/office/drawing/2014/main" id="{AFDD67BD-595A-40A8-92CF-B27A65F8F218}"/>
                </a:ext>
              </a:extLst>
            </p:cNvPr>
            <p:cNvSpPr>
              <a:spLocks noChangeAspect="1" noEditPoints="1"/>
            </p:cNvSpPr>
            <p:nvPr/>
          </p:nvSpPr>
          <p:spPr bwMode="auto">
            <a:xfrm>
              <a:off x="6898141" y="2337694"/>
              <a:ext cx="413537" cy="275945"/>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3CA728F7-6B86-4D02-9E17-6EAFA817951F}"/>
                </a:ext>
              </a:extLst>
            </p:cNvPr>
            <p:cNvSpPr/>
            <p:nvPr/>
          </p:nvSpPr>
          <p:spPr bwMode="auto">
            <a:xfrm rot="20700000">
              <a:off x="6845033" y="2278567"/>
              <a:ext cx="419894" cy="21930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80441"/>
                <a:gd name="connsiteY0" fmla="*/ 54047 h 781474"/>
                <a:gd name="connsiteX1" fmla="*/ 54047 w 1180441"/>
                <a:gd name="connsiteY1" fmla="*/ 0 h 781474"/>
                <a:gd name="connsiteX2" fmla="*/ 1117089 w 1180441"/>
                <a:gd name="connsiteY2" fmla="*/ 0 h 781474"/>
                <a:gd name="connsiteX3" fmla="*/ 1171136 w 1180441"/>
                <a:gd name="connsiteY3" fmla="*/ 54047 h 781474"/>
                <a:gd name="connsiteX4" fmla="*/ 1180441 w 1180441"/>
                <a:gd name="connsiteY4" fmla="*/ 236840 h 781474"/>
                <a:gd name="connsiteX5" fmla="*/ 1171136 w 1180441"/>
                <a:gd name="connsiteY5" fmla="*/ 727427 h 781474"/>
                <a:gd name="connsiteX6" fmla="*/ 1117089 w 1180441"/>
                <a:gd name="connsiteY6" fmla="*/ 781474 h 781474"/>
                <a:gd name="connsiteX7" fmla="*/ 54047 w 1180441"/>
                <a:gd name="connsiteY7" fmla="*/ 781474 h 781474"/>
                <a:gd name="connsiteX8" fmla="*/ 0 w 1180441"/>
                <a:gd name="connsiteY8" fmla="*/ 727427 h 781474"/>
                <a:gd name="connsiteX9" fmla="*/ 0 w 1180441"/>
                <a:gd name="connsiteY9" fmla="*/ 54047 h 781474"/>
                <a:gd name="connsiteX0" fmla="*/ 5906 w 1186347"/>
                <a:gd name="connsiteY0" fmla="*/ 54047 h 781474"/>
                <a:gd name="connsiteX1" fmla="*/ 59953 w 1186347"/>
                <a:gd name="connsiteY1" fmla="*/ 0 h 781474"/>
                <a:gd name="connsiteX2" fmla="*/ 1122995 w 1186347"/>
                <a:gd name="connsiteY2" fmla="*/ 0 h 781474"/>
                <a:gd name="connsiteX3" fmla="*/ 1177042 w 1186347"/>
                <a:gd name="connsiteY3" fmla="*/ 54047 h 781474"/>
                <a:gd name="connsiteX4" fmla="*/ 1186347 w 1186347"/>
                <a:gd name="connsiteY4" fmla="*/ 236840 h 781474"/>
                <a:gd name="connsiteX5" fmla="*/ 1177042 w 1186347"/>
                <a:gd name="connsiteY5" fmla="*/ 727427 h 781474"/>
                <a:gd name="connsiteX6" fmla="*/ 1122995 w 1186347"/>
                <a:gd name="connsiteY6" fmla="*/ 781474 h 781474"/>
                <a:gd name="connsiteX7" fmla="*/ 59953 w 1186347"/>
                <a:gd name="connsiteY7" fmla="*/ 781474 h 781474"/>
                <a:gd name="connsiteX8" fmla="*/ 5906 w 1186347"/>
                <a:gd name="connsiteY8" fmla="*/ 727427 h 781474"/>
                <a:gd name="connsiteX9" fmla="*/ 0 w 1186347"/>
                <a:gd name="connsiteY9" fmla="*/ 621062 h 781474"/>
                <a:gd name="connsiteX10" fmla="*/ 5906 w 1186347"/>
                <a:gd name="connsiteY10" fmla="*/ 54047 h 781474"/>
                <a:gd name="connsiteX0" fmla="*/ 1177042 w 1268482"/>
                <a:gd name="connsiteY0" fmla="*/ 727427 h 818867"/>
                <a:gd name="connsiteX1" fmla="*/ 1122995 w 1268482"/>
                <a:gd name="connsiteY1" fmla="*/ 781474 h 818867"/>
                <a:gd name="connsiteX2" fmla="*/ 59953 w 1268482"/>
                <a:gd name="connsiteY2" fmla="*/ 781474 h 818867"/>
                <a:gd name="connsiteX3" fmla="*/ 5906 w 1268482"/>
                <a:gd name="connsiteY3" fmla="*/ 727427 h 818867"/>
                <a:gd name="connsiteX4" fmla="*/ 0 w 1268482"/>
                <a:gd name="connsiteY4" fmla="*/ 621062 h 818867"/>
                <a:gd name="connsiteX5" fmla="*/ 5906 w 1268482"/>
                <a:gd name="connsiteY5" fmla="*/ 54047 h 818867"/>
                <a:gd name="connsiteX6" fmla="*/ 59953 w 1268482"/>
                <a:gd name="connsiteY6" fmla="*/ 0 h 818867"/>
                <a:gd name="connsiteX7" fmla="*/ 1122995 w 1268482"/>
                <a:gd name="connsiteY7" fmla="*/ 0 h 818867"/>
                <a:gd name="connsiteX8" fmla="*/ 1177042 w 1268482"/>
                <a:gd name="connsiteY8" fmla="*/ 54047 h 818867"/>
                <a:gd name="connsiteX9" fmla="*/ 1186347 w 1268482"/>
                <a:gd name="connsiteY9" fmla="*/ 236840 h 818867"/>
                <a:gd name="connsiteX10" fmla="*/ 1268482 w 1268482"/>
                <a:gd name="connsiteY10" fmla="*/ 818867 h 818867"/>
                <a:gd name="connsiteX0" fmla="*/ 1177042 w 1186347"/>
                <a:gd name="connsiteY0" fmla="*/ 727427 h 781474"/>
                <a:gd name="connsiteX1" fmla="*/ 1122995 w 1186347"/>
                <a:gd name="connsiteY1" fmla="*/ 781474 h 781474"/>
                <a:gd name="connsiteX2" fmla="*/ 59953 w 1186347"/>
                <a:gd name="connsiteY2" fmla="*/ 781474 h 781474"/>
                <a:gd name="connsiteX3" fmla="*/ 5906 w 1186347"/>
                <a:gd name="connsiteY3" fmla="*/ 727427 h 781474"/>
                <a:gd name="connsiteX4" fmla="*/ 0 w 1186347"/>
                <a:gd name="connsiteY4" fmla="*/ 621062 h 781474"/>
                <a:gd name="connsiteX5" fmla="*/ 5906 w 1186347"/>
                <a:gd name="connsiteY5" fmla="*/ 54047 h 781474"/>
                <a:gd name="connsiteX6" fmla="*/ 59953 w 1186347"/>
                <a:gd name="connsiteY6" fmla="*/ 0 h 781474"/>
                <a:gd name="connsiteX7" fmla="*/ 1122995 w 1186347"/>
                <a:gd name="connsiteY7" fmla="*/ 0 h 781474"/>
                <a:gd name="connsiteX8" fmla="*/ 1177042 w 1186347"/>
                <a:gd name="connsiteY8" fmla="*/ 54047 h 781474"/>
                <a:gd name="connsiteX9" fmla="*/ 1186347 w 1186347"/>
                <a:gd name="connsiteY9" fmla="*/ 236840 h 781474"/>
                <a:gd name="connsiteX0" fmla="*/ 1122995 w 1186347"/>
                <a:gd name="connsiteY0" fmla="*/ 781474 h 781474"/>
                <a:gd name="connsiteX1" fmla="*/ 59953 w 1186347"/>
                <a:gd name="connsiteY1" fmla="*/ 781474 h 781474"/>
                <a:gd name="connsiteX2" fmla="*/ 5906 w 1186347"/>
                <a:gd name="connsiteY2" fmla="*/ 727427 h 781474"/>
                <a:gd name="connsiteX3" fmla="*/ 0 w 1186347"/>
                <a:gd name="connsiteY3" fmla="*/ 621062 h 781474"/>
                <a:gd name="connsiteX4" fmla="*/ 5906 w 1186347"/>
                <a:gd name="connsiteY4" fmla="*/ 54047 h 781474"/>
                <a:gd name="connsiteX5" fmla="*/ 59953 w 1186347"/>
                <a:gd name="connsiteY5" fmla="*/ 0 h 781474"/>
                <a:gd name="connsiteX6" fmla="*/ 1122995 w 1186347"/>
                <a:gd name="connsiteY6" fmla="*/ 0 h 781474"/>
                <a:gd name="connsiteX7" fmla="*/ 1177042 w 1186347"/>
                <a:gd name="connsiteY7" fmla="*/ 54047 h 781474"/>
                <a:gd name="connsiteX8" fmla="*/ 1186347 w 1186347"/>
                <a:gd name="connsiteY8" fmla="*/ 236840 h 781474"/>
                <a:gd name="connsiteX0" fmla="*/ 59953 w 1186347"/>
                <a:gd name="connsiteY0" fmla="*/ 781474 h 781474"/>
                <a:gd name="connsiteX1" fmla="*/ 5906 w 1186347"/>
                <a:gd name="connsiteY1" fmla="*/ 727427 h 781474"/>
                <a:gd name="connsiteX2" fmla="*/ 0 w 1186347"/>
                <a:gd name="connsiteY2" fmla="*/ 621062 h 781474"/>
                <a:gd name="connsiteX3" fmla="*/ 5906 w 1186347"/>
                <a:gd name="connsiteY3" fmla="*/ 54047 h 781474"/>
                <a:gd name="connsiteX4" fmla="*/ 59953 w 1186347"/>
                <a:gd name="connsiteY4" fmla="*/ 0 h 781474"/>
                <a:gd name="connsiteX5" fmla="*/ 1122995 w 1186347"/>
                <a:gd name="connsiteY5" fmla="*/ 0 h 781474"/>
                <a:gd name="connsiteX6" fmla="*/ 1177042 w 1186347"/>
                <a:gd name="connsiteY6" fmla="*/ 54047 h 781474"/>
                <a:gd name="connsiteX7" fmla="*/ 1186347 w 1186347"/>
                <a:gd name="connsiteY7" fmla="*/ 236840 h 781474"/>
                <a:gd name="connsiteX0" fmla="*/ 5906 w 1186347"/>
                <a:gd name="connsiteY0" fmla="*/ 727427 h 727427"/>
                <a:gd name="connsiteX1" fmla="*/ 0 w 1186347"/>
                <a:gd name="connsiteY1" fmla="*/ 621062 h 727427"/>
                <a:gd name="connsiteX2" fmla="*/ 5906 w 1186347"/>
                <a:gd name="connsiteY2" fmla="*/ 54047 h 727427"/>
                <a:gd name="connsiteX3" fmla="*/ 59953 w 1186347"/>
                <a:gd name="connsiteY3" fmla="*/ 0 h 727427"/>
                <a:gd name="connsiteX4" fmla="*/ 1122995 w 1186347"/>
                <a:gd name="connsiteY4" fmla="*/ 0 h 727427"/>
                <a:gd name="connsiteX5" fmla="*/ 1177042 w 1186347"/>
                <a:gd name="connsiteY5" fmla="*/ 54047 h 727427"/>
                <a:gd name="connsiteX6" fmla="*/ 1186347 w 1186347"/>
                <a:gd name="connsiteY6" fmla="*/ 236840 h 727427"/>
                <a:gd name="connsiteX0" fmla="*/ 0 w 1186347"/>
                <a:gd name="connsiteY0" fmla="*/ 621062 h 621062"/>
                <a:gd name="connsiteX1" fmla="*/ 5906 w 1186347"/>
                <a:gd name="connsiteY1" fmla="*/ 54047 h 621062"/>
                <a:gd name="connsiteX2" fmla="*/ 59953 w 1186347"/>
                <a:gd name="connsiteY2" fmla="*/ 0 h 621062"/>
                <a:gd name="connsiteX3" fmla="*/ 1122995 w 1186347"/>
                <a:gd name="connsiteY3" fmla="*/ 0 h 621062"/>
                <a:gd name="connsiteX4" fmla="*/ 1177042 w 1186347"/>
                <a:gd name="connsiteY4" fmla="*/ 54047 h 621062"/>
                <a:gd name="connsiteX5" fmla="*/ 1186347 w 1186347"/>
                <a:gd name="connsiteY5" fmla="*/ 236840 h 621062"/>
                <a:gd name="connsiteX0" fmla="*/ 0 w 1189138"/>
                <a:gd name="connsiteY0" fmla="*/ 621062 h 621062"/>
                <a:gd name="connsiteX1" fmla="*/ 5906 w 1189138"/>
                <a:gd name="connsiteY1" fmla="*/ 54047 h 621062"/>
                <a:gd name="connsiteX2" fmla="*/ 59953 w 1189138"/>
                <a:gd name="connsiteY2" fmla="*/ 0 h 621062"/>
                <a:gd name="connsiteX3" fmla="*/ 1122995 w 1189138"/>
                <a:gd name="connsiteY3" fmla="*/ 0 h 621062"/>
                <a:gd name="connsiteX4" fmla="*/ 1177042 w 1189138"/>
                <a:gd name="connsiteY4" fmla="*/ 54047 h 621062"/>
                <a:gd name="connsiteX5" fmla="*/ 1189138 w 1189138"/>
                <a:gd name="connsiteY5" fmla="*/ 263226 h 6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138" h="621062">
                  <a:moveTo>
                    <a:pt x="0" y="621062"/>
                  </a:moveTo>
                  <a:cubicBezTo>
                    <a:pt x="1969" y="432057"/>
                    <a:pt x="3937" y="243052"/>
                    <a:pt x="5906" y="54047"/>
                  </a:cubicBezTo>
                  <a:cubicBezTo>
                    <a:pt x="5906" y="24198"/>
                    <a:pt x="30104" y="0"/>
                    <a:pt x="59953" y="0"/>
                  </a:cubicBezTo>
                  <a:lnTo>
                    <a:pt x="1122995" y="0"/>
                  </a:lnTo>
                  <a:cubicBezTo>
                    <a:pt x="1152844" y="0"/>
                    <a:pt x="1177042" y="24198"/>
                    <a:pt x="1177042" y="54047"/>
                  </a:cubicBezTo>
                  <a:lnTo>
                    <a:pt x="1189138" y="263226"/>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Rounded Corners 91">
              <a:extLst>
                <a:ext uri="{FF2B5EF4-FFF2-40B4-BE49-F238E27FC236}">
                  <a16:creationId xmlns:a16="http://schemas.microsoft.com/office/drawing/2014/main" id="{DA5AA732-1DF0-4846-89BF-43A3F37B2F09}"/>
                </a:ext>
              </a:extLst>
            </p:cNvPr>
            <p:cNvSpPr/>
            <p:nvPr/>
          </p:nvSpPr>
          <p:spPr bwMode="auto">
            <a:xfrm rot="19573740">
              <a:off x="6759716" y="2225060"/>
              <a:ext cx="418569" cy="22531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73200"/>
                <a:gd name="connsiteY0" fmla="*/ 54047 h 781474"/>
                <a:gd name="connsiteX1" fmla="*/ 54047 w 1173200"/>
                <a:gd name="connsiteY1" fmla="*/ 0 h 781474"/>
                <a:gd name="connsiteX2" fmla="*/ 1117089 w 1173200"/>
                <a:gd name="connsiteY2" fmla="*/ 0 h 781474"/>
                <a:gd name="connsiteX3" fmla="*/ 1171136 w 1173200"/>
                <a:gd name="connsiteY3" fmla="*/ 54047 h 781474"/>
                <a:gd name="connsiteX4" fmla="*/ 1173200 w 1173200"/>
                <a:gd name="connsiteY4" fmla="*/ 187963 h 781474"/>
                <a:gd name="connsiteX5" fmla="*/ 1171136 w 1173200"/>
                <a:gd name="connsiteY5" fmla="*/ 727427 h 781474"/>
                <a:gd name="connsiteX6" fmla="*/ 1117089 w 1173200"/>
                <a:gd name="connsiteY6" fmla="*/ 781474 h 781474"/>
                <a:gd name="connsiteX7" fmla="*/ 54047 w 1173200"/>
                <a:gd name="connsiteY7" fmla="*/ 781474 h 781474"/>
                <a:gd name="connsiteX8" fmla="*/ 0 w 1173200"/>
                <a:gd name="connsiteY8" fmla="*/ 727427 h 781474"/>
                <a:gd name="connsiteX9" fmla="*/ 0 w 1173200"/>
                <a:gd name="connsiteY9" fmla="*/ 54047 h 781474"/>
                <a:gd name="connsiteX0" fmla="*/ 6084 w 1179284"/>
                <a:gd name="connsiteY0" fmla="*/ 54047 h 781474"/>
                <a:gd name="connsiteX1" fmla="*/ 60131 w 1179284"/>
                <a:gd name="connsiteY1" fmla="*/ 0 h 781474"/>
                <a:gd name="connsiteX2" fmla="*/ 1123173 w 1179284"/>
                <a:gd name="connsiteY2" fmla="*/ 0 h 781474"/>
                <a:gd name="connsiteX3" fmla="*/ 1177220 w 1179284"/>
                <a:gd name="connsiteY3" fmla="*/ 54047 h 781474"/>
                <a:gd name="connsiteX4" fmla="*/ 1179284 w 1179284"/>
                <a:gd name="connsiteY4" fmla="*/ 187963 h 781474"/>
                <a:gd name="connsiteX5" fmla="*/ 1177220 w 1179284"/>
                <a:gd name="connsiteY5" fmla="*/ 727427 h 781474"/>
                <a:gd name="connsiteX6" fmla="*/ 1123173 w 1179284"/>
                <a:gd name="connsiteY6" fmla="*/ 781474 h 781474"/>
                <a:gd name="connsiteX7" fmla="*/ 60131 w 1179284"/>
                <a:gd name="connsiteY7" fmla="*/ 781474 h 781474"/>
                <a:gd name="connsiteX8" fmla="*/ 6084 w 1179284"/>
                <a:gd name="connsiteY8" fmla="*/ 727427 h 781474"/>
                <a:gd name="connsiteX9" fmla="*/ 0 w 1179284"/>
                <a:gd name="connsiteY9" fmla="*/ 638082 h 781474"/>
                <a:gd name="connsiteX10" fmla="*/ 6084 w 1179284"/>
                <a:gd name="connsiteY10" fmla="*/ 54047 h 781474"/>
                <a:gd name="connsiteX0" fmla="*/ 1177220 w 1268660"/>
                <a:gd name="connsiteY0" fmla="*/ 727427 h 818867"/>
                <a:gd name="connsiteX1" fmla="*/ 1123173 w 1268660"/>
                <a:gd name="connsiteY1" fmla="*/ 781474 h 818867"/>
                <a:gd name="connsiteX2" fmla="*/ 60131 w 1268660"/>
                <a:gd name="connsiteY2" fmla="*/ 781474 h 818867"/>
                <a:gd name="connsiteX3" fmla="*/ 6084 w 1268660"/>
                <a:gd name="connsiteY3" fmla="*/ 727427 h 818867"/>
                <a:gd name="connsiteX4" fmla="*/ 0 w 1268660"/>
                <a:gd name="connsiteY4" fmla="*/ 638082 h 818867"/>
                <a:gd name="connsiteX5" fmla="*/ 6084 w 1268660"/>
                <a:gd name="connsiteY5" fmla="*/ 54047 h 818867"/>
                <a:gd name="connsiteX6" fmla="*/ 60131 w 1268660"/>
                <a:gd name="connsiteY6" fmla="*/ 0 h 818867"/>
                <a:gd name="connsiteX7" fmla="*/ 1123173 w 1268660"/>
                <a:gd name="connsiteY7" fmla="*/ 0 h 818867"/>
                <a:gd name="connsiteX8" fmla="*/ 1177220 w 1268660"/>
                <a:gd name="connsiteY8" fmla="*/ 54047 h 818867"/>
                <a:gd name="connsiteX9" fmla="*/ 1179284 w 1268660"/>
                <a:gd name="connsiteY9" fmla="*/ 187963 h 818867"/>
                <a:gd name="connsiteX10" fmla="*/ 1268660 w 1268660"/>
                <a:gd name="connsiteY10" fmla="*/ 818867 h 818867"/>
                <a:gd name="connsiteX0" fmla="*/ 1177220 w 1179284"/>
                <a:gd name="connsiteY0" fmla="*/ 727427 h 781474"/>
                <a:gd name="connsiteX1" fmla="*/ 1123173 w 1179284"/>
                <a:gd name="connsiteY1" fmla="*/ 781474 h 781474"/>
                <a:gd name="connsiteX2" fmla="*/ 60131 w 1179284"/>
                <a:gd name="connsiteY2" fmla="*/ 781474 h 781474"/>
                <a:gd name="connsiteX3" fmla="*/ 6084 w 1179284"/>
                <a:gd name="connsiteY3" fmla="*/ 727427 h 781474"/>
                <a:gd name="connsiteX4" fmla="*/ 0 w 1179284"/>
                <a:gd name="connsiteY4" fmla="*/ 638082 h 781474"/>
                <a:gd name="connsiteX5" fmla="*/ 6084 w 1179284"/>
                <a:gd name="connsiteY5" fmla="*/ 54047 h 781474"/>
                <a:gd name="connsiteX6" fmla="*/ 60131 w 1179284"/>
                <a:gd name="connsiteY6" fmla="*/ 0 h 781474"/>
                <a:gd name="connsiteX7" fmla="*/ 1123173 w 1179284"/>
                <a:gd name="connsiteY7" fmla="*/ 0 h 781474"/>
                <a:gd name="connsiteX8" fmla="*/ 1177220 w 1179284"/>
                <a:gd name="connsiteY8" fmla="*/ 54047 h 781474"/>
                <a:gd name="connsiteX9" fmla="*/ 1179284 w 1179284"/>
                <a:gd name="connsiteY9" fmla="*/ 187963 h 781474"/>
                <a:gd name="connsiteX0" fmla="*/ 1123173 w 1179284"/>
                <a:gd name="connsiteY0" fmla="*/ 781474 h 781474"/>
                <a:gd name="connsiteX1" fmla="*/ 60131 w 1179284"/>
                <a:gd name="connsiteY1" fmla="*/ 781474 h 781474"/>
                <a:gd name="connsiteX2" fmla="*/ 6084 w 1179284"/>
                <a:gd name="connsiteY2" fmla="*/ 727427 h 781474"/>
                <a:gd name="connsiteX3" fmla="*/ 0 w 1179284"/>
                <a:gd name="connsiteY3" fmla="*/ 638082 h 781474"/>
                <a:gd name="connsiteX4" fmla="*/ 6084 w 1179284"/>
                <a:gd name="connsiteY4" fmla="*/ 54047 h 781474"/>
                <a:gd name="connsiteX5" fmla="*/ 60131 w 1179284"/>
                <a:gd name="connsiteY5" fmla="*/ 0 h 781474"/>
                <a:gd name="connsiteX6" fmla="*/ 1123173 w 1179284"/>
                <a:gd name="connsiteY6" fmla="*/ 0 h 781474"/>
                <a:gd name="connsiteX7" fmla="*/ 1177220 w 1179284"/>
                <a:gd name="connsiteY7" fmla="*/ 54047 h 781474"/>
                <a:gd name="connsiteX8" fmla="*/ 1179284 w 1179284"/>
                <a:gd name="connsiteY8" fmla="*/ 187963 h 781474"/>
                <a:gd name="connsiteX0" fmla="*/ 60131 w 1179284"/>
                <a:gd name="connsiteY0" fmla="*/ 781474 h 781474"/>
                <a:gd name="connsiteX1" fmla="*/ 6084 w 1179284"/>
                <a:gd name="connsiteY1" fmla="*/ 727427 h 781474"/>
                <a:gd name="connsiteX2" fmla="*/ 0 w 1179284"/>
                <a:gd name="connsiteY2" fmla="*/ 638082 h 781474"/>
                <a:gd name="connsiteX3" fmla="*/ 6084 w 1179284"/>
                <a:gd name="connsiteY3" fmla="*/ 54047 h 781474"/>
                <a:gd name="connsiteX4" fmla="*/ 60131 w 1179284"/>
                <a:gd name="connsiteY4" fmla="*/ 0 h 781474"/>
                <a:gd name="connsiteX5" fmla="*/ 1123173 w 1179284"/>
                <a:gd name="connsiteY5" fmla="*/ 0 h 781474"/>
                <a:gd name="connsiteX6" fmla="*/ 1177220 w 1179284"/>
                <a:gd name="connsiteY6" fmla="*/ 54047 h 781474"/>
                <a:gd name="connsiteX7" fmla="*/ 1179284 w 1179284"/>
                <a:gd name="connsiteY7" fmla="*/ 187963 h 781474"/>
                <a:gd name="connsiteX0" fmla="*/ 6084 w 1179284"/>
                <a:gd name="connsiteY0" fmla="*/ 727427 h 727427"/>
                <a:gd name="connsiteX1" fmla="*/ 0 w 1179284"/>
                <a:gd name="connsiteY1" fmla="*/ 638082 h 727427"/>
                <a:gd name="connsiteX2" fmla="*/ 6084 w 1179284"/>
                <a:gd name="connsiteY2" fmla="*/ 54047 h 727427"/>
                <a:gd name="connsiteX3" fmla="*/ 60131 w 1179284"/>
                <a:gd name="connsiteY3" fmla="*/ 0 h 727427"/>
                <a:gd name="connsiteX4" fmla="*/ 1123173 w 1179284"/>
                <a:gd name="connsiteY4" fmla="*/ 0 h 727427"/>
                <a:gd name="connsiteX5" fmla="*/ 1177220 w 1179284"/>
                <a:gd name="connsiteY5" fmla="*/ 54047 h 727427"/>
                <a:gd name="connsiteX6" fmla="*/ 1179284 w 1179284"/>
                <a:gd name="connsiteY6" fmla="*/ 187963 h 727427"/>
                <a:gd name="connsiteX0" fmla="*/ 0 w 1179284"/>
                <a:gd name="connsiteY0" fmla="*/ 638082 h 638082"/>
                <a:gd name="connsiteX1" fmla="*/ 6084 w 1179284"/>
                <a:gd name="connsiteY1" fmla="*/ 54047 h 638082"/>
                <a:gd name="connsiteX2" fmla="*/ 60131 w 1179284"/>
                <a:gd name="connsiteY2" fmla="*/ 0 h 638082"/>
                <a:gd name="connsiteX3" fmla="*/ 1123173 w 1179284"/>
                <a:gd name="connsiteY3" fmla="*/ 0 h 638082"/>
                <a:gd name="connsiteX4" fmla="*/ 1177220 w 1179284"/>
                <a:gd name="connsiteY4" fmla="*/ 54047 h 638082"/>
                <a:gd name="connsiteX5" fmla="*/ 1179284 w 1179284"/>
                <a:gd name="connsiteY5" fmla="*/ 187963 h 638082"/>
                <a:gd name="connsiteX0" fmla="*/ 0 w 1185385"/>
                <a:gd name="connsiteY0" fmla="*/ 638082 h 638082"/>
                <a:gd name="connsiteX1" fmla="*/ 6084 w 1185385"/>
                <a:gd name="connsiteY1" fmla="*/ 54047 h 638082"/>
                <a:gd name="connsiteX2" fmla="*/ 60131 w 1185385"/>
                <a:gd name="connsiteY2" fmla="*/ 0 h 638082"/>
                <a:gd name="connsiteX3" fmla="*/ 1123173 w 1185385"/>
                <a:gd name="connsiteY3" fmla="*/ 0 h 638082"/>
                <a:gd name="connsiteX4" fmla="*/ 1177220 w 1185385"/>
                <a:gd name="connsiteY4" fmla="*/ 54047 h 638082"/>
                <a:gd name="connsiteX5" fmla="*/ 1185385 w 1185385"/>
                <a:gd name="connsiteY5" fmla="*/ 357044 h 63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5385" h="638082">
                  <a:moveTo>
                    <a:pt x="0" y="638082"/>
                  </a:moveTo>
                  <a:lnTo>
                    <a:pt x="6084" y="54047"/>
                  </a:lnTo>
                  <a:cubicBezTo>
                    <a:pt x="6084" y="24198"/>
                    <a:pt x="30282" y="0"/>
                    <a:pt x="60131" y="0"/>
                  </a:cubicBezTo>
                  <a:lnTo>
                    <a:pt x="1123173" y="0"/>
                  </a:lnTo>
                  <a:cubicBezTo>
                    <a:pt x="1153022" y="0"/>
                    <a:pt x="1177220" y="24198"/>
                    <a:pt x="1177220" y="54047"/>
                  </a:cubicBezTo>
                  <a:lnTo>
                    <a:pt x="1185385" y="357044"/>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12083A77-A2E6-4EA5-8505-4D9E761C04D0}"/>
                </a:ext>
              </a:extLst>
            </p:cNvPr>
            <p:cNvSpPr/>
            <p:nvPr/>
          </p:nvSpPr>
          <p:spPr bwMode="auto">
            <a:xfrm>
              <a:off x="6849285" y="2390618"/>
              <a:ext cx="46414" cy="12781"/>
            </a:xfrm>
            <a:custGeom>
              <a:avLst/>
              <a:gdLst>
                <a:gd name="connsiteX0" fmla="*/ 0 w 131445"/>
                <a:gd name="connsiteY0" fmla="*/ 36195 h 36195"/>
                <a:gd name="connsiteX1" fmla="*/ 131445 w 131445"/>
                <a:gd name="connsiteY1" fmla="*/ 0 h 36195"/>
              </a:gdLst>
              <a:ahLst/>
              <a:cxnLst>
                <a:cxn ang="0">
                  <a:pos x="connsiteX0" y="connsiteY0"/>
                </a:cxn>
                <a:cxn ang="0">
                  <a:pos x="connsiteX1" y="connsiteY1"/>
                </a:cxn>
              </a:cxnLst>
              <a:rect l="l" t="t" r="r" b="b"/>
              <a:pathLst>
                <a:path w="131445" h="36195">
                  <a:moveTo>
                    <a:pt x="0" y="36195"/>
                  </a:moveTo>
                  <a:lnTo>
                    <a:pt x="131445"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73381F75-F54D-4772-8AB7-55F8308EE1E3}"/>
                </a:ext>
              </a:extLst>
            </p:cNvPr>
            <p:cNvSpPr/>
            <p:nvPr/>
          </p:nvSpPr>
          <p:spPr bwMode="auto">
            <a:xfrm>
              <a:off x="6770079" y="2366285"/>
              <a:ext cx="67733" cy="45719"/>
            </a:xfrm>
            <a:custGeom>
              <a:avLst/>
              <a:gdLst>
                <a:gd name="connsiteX0" fmla="*/ 0 w 137160"/>
                <a:gd name="connsiteY0" fmla="*/ 85725 h 85725"/>
                <a:gd name="connsiteX1" fmla="*/ 137160 w 137160"/>
                <a:gd name="connsiteY1" fmla="*/ 0 h 85725"/>
              </a:gdLst>
              <a:ahLst/>
              <a:cxnLst>
                <a:cxn ang="0">
                  <a:pos x="connsiteX0" y="connsiteY0"/>
                </a:cxn>
                <a:cxn ang="0">
                  <a:pos x="connsiteX1" y="connsiteY1"/>
                </a:cxn>
              </a:cxnLst>
              <a:rect l="l" t="t" r="r" b="b"/>
              <a:pathLst>
                <a:path w="137160" h="85725">
                  <a:moveTo>
                    <a:pt x="0" y="85725"/>
                  </a:moveTo>
                  <a:lnTo>
                    <a:pt x="13716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096" name="Freeform: Shape 4095">
              <a:extLst>
                <a:ext uri="{FF2B5EF4-FFF2-40B4-BE49-F238E27FC236}">
                  <a16:creationId xmlns:a16="http://schemas.microsoft.com/office/drawing/2014/main" id="{A074B840-97EE-4C8E-A7A1-D4457133F3B7}"/>
                </a:ext>
              </a:extLst>
            </p:cNvPr>
            <p:cNvSpPr/>
            <p:nvPr/>
          </p:nvSpPr>
          <p:spPr bwMode="auto">
            <a:xfrm>
              <a:off x="6910461" y="2185986"/>
              <a:ext cx="206942" cy="123947"/>
            </a:xfrm>
            <a:custGeom>
              <a:avLst/>
              <a:gdLst>
                <a:gd name="connsiteX0" fmla="*/ 0 w 502920"/>
                <a:gd name="connsiteY0" fmla="*/ 320040 h 320040"/>
                <a:gd name="connsiteX1" fmla="*/ 502920 w 502920"/>
                <a:gd name="connsiteY1" fmla="*/ 0 h 320040"/>
              </a:gdLst>
              <a:ahLst/>
              <a:cxnLst>
                <a:cxn ang="0">
                  <a:pos x="connsiteX0" y="connsiteY0"/>
                </a:cxn>
                <a:cxn ang="0">
                  <a:pos x="connsiteX1" y="connsiteY1"/>
                </a:cxn>
              </a:cxnLst>
              <a:rect l="l" t="t" r="r" b="b"/>
              <a:pathLst>
                <a:path w="502920" h="320040">
                  <a:moveTo>
                    <a:pt x="0" y="320040"/>
                  </a:moveTo>
                  <a:lnTo>
                    <a:pt x="50292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5009123F-3A08-4D06-A414-C5DCE535E316}"/>
              </a:ext>
            </a:extLst>
          </p:cNvPr>
          <p:cNvGrpSpPr/>
          <p:nvPr/>
        </p:nvGrpSpPr>
        <p:grpSpPr>
          <a:xfrm>
            <a:off x="8643790" y="2221559"/>
            <a:ext cx="485908" cy="485908"/>
            <a:chOff x="8091121" y="1854727"/>
            <a:chExt cx="485908" cy="485908"/>
          </a:xfrm>
        </p:grpSpPr>
        <p:grpSp>
          <p:nvGrpSpPr>
            <p:cNvPr id="4" name="Group 3">
              <a:extLst>
                <a:ext uri="{FF2B5EF4-FFF2-40B4-BE49-F238E27FC236}">
                  <a16:creationId xmlns:a16="http://schemas.microsoft.com/office/drawing/2014/main" id="{DDC494E2-1F18-4C73-B8F0-CDA6DCAB9788}"/>
                </a:ext>
              </a:extLst>
            </p:cNvPr>
            <p:cNvGrpSpPr/>
            <p:nvPr/>
          </p:nvGrpSpPr>
          <p:grpSpPr>
            <a:xfrm>
              <a:off x="8091121" y="1854727"/>
              <a:ext cx="485908" cy="485908"/>
              <a:chOff x="8628289" y="2127732"/>
              <a:chExt cx="485908" cy="485908"/>
            </a:xfrm>
          </p:grpSpPr>
          <p:sp>
            <p:nvSpPr>
              <p:cNvPr id="4111" name="Arc 4110">
                <a:extLst>
                  <a:ext uri="{FF2B5EF4-FFF2-40B4-BE49-F238E27FC236}">
                    <a16:creationId xmlns:a16="http://schemas.microsoft.com/office/drawing/2014/main" id="{99B9B66A-0CFE-4A8D-BBFE-C3E830BC2482}"/>
                  </a:ext>
                </a:extLst>
              </p:cNvPr>
              <p:cNvSpPr/>
              <p:nvPr/>
            </p:nvSpPr>
            <p:spPr>
              <a:xfrm>
                <a:off x="8628289" y="2127732"/>
                <a:ext cx="485908" cy="485908"/>
              </a:xfrm>
              <a:prstGeom prst="arc">
                <a:avLst>
                  <a:gd name="adj1" fmla="val 16700078"/>
                  <a:gd name="adj2" fmla="val 0"/>
                </a:avLst>
              </a:prstGeom>
              <a:ln w="19050" cap="rnd">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2" name="Arc 111">
                <a:extLst>
                  <a:ext uri="{FF2B5EF4-FFF2-40B4-BE49-F238E27FC236}">
                    <a16:creationId xmlns:a16="http://schemas.microsoft.com/office/drawing/2014/main" id="{95ED8985-F7C0-4C9D-ACF5-B50A1F37C4D4}"/>
                  </a:ext>
                </a:extLst>
              </p:cNvPr>
              <p:cNvSpPr/>
              <p:nvPr/>
            </p:nvSpPr>
            <p:spPr>
              <a:xfrm flipV="1">
                <a:off x="8628289" y="2127732"/>
                <a:ext cx="485908" cy="485908"/>
              </a:xfrm>
              <a:prstGeom prst="arc">
                <a:avLst>
                  <a:gd name="adj1" fmla="val 16200000"/>
                  <a:gd name="adj2" fmla="val 21094312"/>
                </a:avLst>
              </a:prstGeom>
              <a:ln w="19050" cap="rnd">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3" name="Arc 112">
                <a:extLst>
                  <a:ext uri="{FF2B5EF4-FFF2-40B4-BE49-F238E27FC236}">
                    <a16:creationId xmlns:a16="http://schemas.microsoft.com/office/drawing/2014/main" id="{D9D7FDB2-7E9F-457D-8F6C-55CFAACA1F19}"/>
                  </a:ext>
                </a:extLst>
              </p:cNvPr>
              <p:cNvSpPr/>
              <p:nvPr/>
            </p:nvSpPr>
            <p:spPr>
              <a:xfrm flipH="1">
                <a:off x="8628289" y="2127732"/>
                <a:ext cx="485908" cy="485908"/>
              </a:xfrm>
              <a:prstGeom prst="arc">
                <a:avLst>
                  <a:gd name="adj1" fmla="val 16200000"/>
                  <a:gd name="adj2" fmla="val 21059772"/>
                </a:avLst>
              </a:prstGeom>
              <a:ln w="19050" cap="rnd">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5" name="Arc 114">
                <a:extLst>
                  <a:ext uri="{FF2B5EF4-FFF2-40B4-BE49-F238E27FC236}">
                    <a16:creationId xmlns:a16="http://schemas.microsoft.com/office/drawing/2014/main" id="{79042254-0142-4849-AD73-98B0A9E03804}"/>
                  </a:ext>
                </a:extLst>
              </p:cNvPr>
              <p:cNvSpPr/>
              <p:nvPr/>
            </p:nvSpPr>
            <p:spPr>
              <a:xfrm flipH="1" flipV="1">
                <a:off x="8628289" y="2127732"/>
                <a:ext cx="485908" cy="485908"/>
              </a:xfrm>
              <a:prstGeom prst="arc">
                <a:avLst>
                  <a:gd name="adj1" fmla="val 16684565"/>
                  <a:gd name="adj2" fmla="val 0"/>
                </a:avLst>
              </a:prstGeom>
              <a:ln w="19050" cap="rnd">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74" name="gear_3">
              <a:extLst>
                <a:ext uri="{FF2B5EF4-FFF2-40B4-BE49-F238E27FC236}">
                  <a16:creationId xmlns:a16="http://schemas.microsoft.com/office/drawing/2014/main" id="{B93A458D-34DC-4B8E-99F6-66D2634DC524}"/>
                </a:ext>
              </a:extLst>
            </p:cNvPr>
            <p:cNvSpPr>
              <a:spLocks noChangeAspect="1" noEditPoints="1"/>
            </p:cNvSpPr>
            <p:nvPr/>
          </p:nvSpPr>
          <p:spPr bwMode="auto">
            <a:xfrm>
              <a:off x="8198068" y="1960521"/>
              <a:ext cx="272015" cy="274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82" name="PostUpdateLegacy_E1D7" title="Icon of an article, feed, or social media thread">
            <a:extLst>
              <a:ext uri="{FF2B5EF4-FFF2-40B4-BE49-F238E27FC236}">
                <a16:creationId xmlns:a16="http://schemas.microsoft.com/office/drawing/2014/main" id="{ADA444EA-9D75-4959-9167-A15A6F21A9C0}"/>
              </a:ext>
            </a:extLst>
          </p:cNvPr>
          <p:cNvSpPr>
            <a:spLocks noChangeAspect="1" noEditPoints="1"/>
          </p:cNvSpPr>
          <p:nvPr/>
        </p:nvSpPr>
        <p:spPr bwMode="auto">
          <a:xfrm>
            <a:off x="1031167" y="2299687"/>
            <a:ext cx="608533" cy="312743"/>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4" name="ContactCard_EEBD" title="Icon of a contact card">
            <a:extLst>
              <a:ext uri="{FF2B5EF4-FFF2-40B4-BE49-F238E27FC236}">
                <a16:creationId xmlns:a16="http://schemas.microsoft.com/office/drawing/2014/main" id="{A29E0EBC-EBA4-44F8-8D8C-B5610147D458}"/>
              </a:ext>
            </a:extLst>
          </p:cNvPr>
          <p:cNvSpPr>
            <a:spLocks noChangeAspect="1" noEditPoints="1"/>
          </p:cNvSpPr>
          <p:nvPr/>
        </p:nvSpPr>
        <p:spPr bwMode="auto">
          <a:xfrm>
            <a:off x="10576213" y="2243444"/>
            <a:ext cx="553212" cy="40595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29" name="Rectangle 128">
            <a:extLst>
              <a:ext uri="{FF2B5EF4-FFF2-40B4-BE49-F238E27FC236}">
                <a16:creationId xmlns:a16="http://schemas.microsoft.com/office/drawing/2014/main" id="{86115524-C7F7-4517-A7C5-E78EEAE60578}"/>
              </a:ext>
            </a:extLst>
          </p:cNvPr>
          <p:cNvSpPr/>
          <p:nvPr/>
        </p:nvSpPr>
        <p:spPr bwMode="auto">
          <a:xfrm>
            <a:off x="45719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ustomer insights</a:t>
            </a:r>
          </a:p>
        </p:txBody>
      </p:sp>
      <p:sp>
        <p:nvSpPr>
          <p:cNvPr id="130" name="Rectangle 129">
            <a:extLst>
              <a:ext uri="{FF2B5EF4-FFF2-40B4-BE49-F238E27FC236}">
                <a16:creationId xmlns:a16="http://schemas.microsoft.com/office/drawing/2014/main" id="{FE502D48-4E11-4111-BCD3-56A8B424ABED}"/>
              </a:ext>
            </a:extLst>
          </p:cNvPr>
          <p:cNvSpPr/>
          <p:nvPr/>
        </p:nvSpPr>
        <p:spPr bwMode="auto">
          <a:xfrm>
            <a:off x="235457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ales insights</a:t>
            </a:r>
          </a:p>
        </p:txBody>
      </p:sp>
      <p:sp>
        <p:nvSpPr>
          <p:cNvPr id="131" name="Rectangle 130">
            <a:extLst>
              <a:ext uri="{FF2B5EF4-FFF2-40B4-BE49-F238E27FC236}">
                <a16:creationId xmlns:a16="http://schemas.microsoft.com/office/drawing/2014/main" id="{A9CAABB3-B827-40B4-81C0-1C137F544BEE}"/>
              </a:ext>
            </a:extLst>
          </p:cNvPr>
          <p:cNvSpPr/>
          <p:nvPr/>
        </p:nvSpPr>
        <p:spPr bwMode="auto">
          <a:xfrm>
            <a:off x="4251957"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Virtual assistants</a:t>
            </a:r>
          </a:p>
        </p:txBody>
      </p:sp>
      <p:sp>
        <p:nvSpPr>
          <p:cNvPr id="132" name="Rectangle 131">
            <a:extLst>
              <a:ext uri="{FF2B5EF4-FFF2-40B4-BE49-F238E27FC236}">
                <a16:creationId xmlns:a16="http://schemas.microsoft.com/office/drawing/2014/main" id="{81ECFED9-9A52-4DF7-B6C2-9BFB06293142}"/>
              </a:ext>
            </a:extLst>
          </p:cNvPr>
          <p:cNvSpPr/>
          <p:nvPr/>
        </p:nvSpPr>
        <p:spPr bwMode="auto">
          <a:xfrm>
            <a:off x="614933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ash flow </a:t>
            </a:r>
            <a:r>
              <a:rPr lang="en-US" sz="1100" dirty="0">
                <a:latin typeface="Segoe UI" panose="020B0502040204020203" pitchFamily="34" charset="0"/>
                <a:cs typeface="Segoe UI" panose="020B0502040204020203" pitchFamily="34" charset="0"/>
              </a:rPr>
              <a:t>f</a:t>
            </a: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orecasting</a:t>
            </a:r>
          </a:p>
        </p:txBody>
      </p:sp>
      <p:sp>
        <p:nvSpPr>
          <p:cNvPr id="134" name="Rectangle 133">
            <a:extLst>
              <a:ext uri="{FF2B5EF4-FFF2-40B4-BE49-F238E27FC236}">
                <a16:creationId xmlns:a16="http://schemas.microsoft.com/office/drawing/2014/main" id="{1B02A889-94F8-46E4-845F-082E2ED2A725}"/>
              </a:ext>
            </a:extLst>
          </p:cNvPr>
          <p:cNvSpPr/>
          <p:nvPr/>
        </p:nvSpPr>
        <p:spPr bwMode="auto">
          <a:xfrm>
            <a:off x="994409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HR insights</a:t>
            </a:r>
          </a:p>
        </p:txBody>
      </p:sp>
      <p:sp>
        <p:nvSpPr>
          <p:cNvPr id="136" name="Rectangle 135">
            <a:extLst>
              <a:ext uri="{FF2B5EF4-FFF2-40B4-BE49-F238E27FC236}">
                <a16:creationId xmlns:a16="http://schemas.microsoft.com/office/drawing/2014/main" id="{60844ED7-70CF-4B2D-9DD4-BF2E81E06C6A}"/>
              </a:ext>
            </a:extLst>
          </p:cNvPr>
          <p:cNvSpPr/>
          <p:nvPr/>
        </p:nvSpPr>
        <p:spPr bwMode="auto">
          <a:xfrm>
            <a:off x="45719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hurn analytics</a:t>
            </a:r>
          </a:p>
        </p:txBody>
      </p:sp>
      <p:sp>
        <p:nvSpPr>
          <p:cNvPr id="137" name="Rectangle 136">
            <a:extLst>
              <a:ext uri="{FF2B5EF4-FFF2-40B4-BE49-F238E27FC236}">
                <a16:creationId xmlns:a16="http://schemas.microsoft.com/office/drawing/2014/main" id="{8C97BDA9-5D42-4BF6-B724-3DEB3E0F4DA4}"/>
              </a:ext>
            </a:extLst>
          </p:cNvPr>
          <p:cNvSpPr/>
          <p:nvPr/>
        </p:nvSpPr>
        <p:spPr bwMode="auto">
          <a:xfrm>
            <a:off x="235457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Dynamic pricing</a:t>
            </a:r>
          </a:p>
        </p:txBody>
      </p:sp>
      <p:sp>
        <p:nvSpPr>
          <p:cNvPr id="138" name="Rectangle 137">
            <a:extLst>
              <a:ext uri="{FF2B5EF4-FFF2-40B4-BE49-F238E27FC236}">
                <a16:creationId xmlns:a16="http://schemas.microsoft.com/office/drawing/2014/main" id="{C9431B9E-14F3-4CA7-921C-F1A92F0E55F8}"/>
              </a:ext>
            </a:extLst>
          </p:cNvPr>
          <p:cNvSpPr/>
          <p:nvPr/>
        </p:nvSpPr>
        <p:spPr bwMode="auto">
          <a:xfrm>
            <a:off x="4251957"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Waiting line optimization</a:t>
            </a:r>
          </a:p>
        </p:txBody>
      </p:sp>
      <p:sp>
        <p:nvSpPr>
          <p:cNvPr id="139" name="Rectangle 138">
            <a:extLst>
              <a:ext uri="{FF2B5EF4-FFF2-40B4-BE49-F238E27FC236}">
                <a16:creationId xmlns:a16="http://schemas.microsoft.com/office/drawing/2014/main" id="{466B3ED3-FCFD-41EF-A9ED-EBB3CC4D1899}"/>
              </a:ext>
            </a:extLst>
          </p:cNvPr>
          <p:cNvSpPr/>
          <p:nvPr/>
        </p:nvSpPr>
        <p:spPr bwMode="auto">
          <a:xfrm>
            <a:off x="614933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Risk management </a:t>
            </a:r>
          </a:p>
        </p:txBody>
      </p:sp>
      <p:sp>
        <p:nvSpPr>
          <p:cNvPr id="140" name="Rectangle 139">
            <a:extLst>
              <a:ext uri="{FF2B5EF4-FFF2-40B4-BE49-F238E27FC236}">
                <a16:creationId xmlns:a16="http://schemas.microsoft.com/office/drawing/2014/main" id="{0A4D6DD5-E297-447B-84DD-396F03EABAE4}"/>
              </a:ext>
            </a:extLst>
          </p:cNvPr>
          <p:cNvSpPr/>
          <p:nvPr/>
        </p:nvSpPr>
        <p:spPr bwMode="auto">
          <a:xfrm>
            <a:off x="7991392"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Quality assurance</a:t>
            </a:r>
          </a:p>
        </p:txBody>
      </p:sp>
      <p:sp>
        <p:nvSpPr>
          <p:cNvPr id="141" name="Rectangle 140">
            <a:extLst>
              <a:ext uri="{FF2B5EF4-FFF2-40B4-BE49-F238E27FC236}">
                <a16:creationId xmlns:a16="http://schemas.microsoft.com/office/drawing/2014/main" id="{2ACDFEF3-2950-4D4C-B8D7-18F3E8BB3EF7}"/>
              </a:ext>
            </a:extLst>
          </p:cNvPr>
          <p:cNvSpPr/>
          <p:nvPr/>
        </p:nvSpPr>
        <p:spPr bwMode="auto">
          <a:xfrm>
            <a:off x="994409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Resource planning</a:t>
            </a:r>
          </a:p>
        </p:txBody>
      </p:sp>
      <p:sp>
        <p:nvSpPr>
          <p:cNvPr id="125" name="Rectangle 124">
            <a:extLst>
              <a:ext uri="{FF2B5EF4-FFF2-40B4-BE49-F238E27FC236}">
                <a16:creationId xmlns:a16="http://schemas.microsoft.com/office/drawing/2014/main" id="{E58ECE4E-04FF-4E56-B933-D55FF27F9EFC}"/>
              </a:ext>
            </a:extLst>
          </p:cNvPr>
          <p:cNvSpPr/>
          <p:nvPr/>
        </p:nvSpPr>
        <p:spPr bwMode="auto">
          <a:xfrm>
            <a:off x="2354579"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Lead scoring</a:t>
            </a:r>
          </a:p>
        </p:txBody>
      </p:sp>
      <p:sp>
        <p:nvSpPr>
          <p:cNvPr id="126" name="Rectangle 125">
            <a:extLst>
              <a:ext uri="{FF2B5EF4-FFF2-40B4-BE49-F238E27FC236}">
                <a16:creationId xmlns:a16="http://schemas.microsoft.com/office/drawing/2014/main" id="{E37FA245-3728-4441-889E-06BF2E2C5635}"/>
              </a:ext>
            </a:extLst>
          </p:cNvPr>
          <p:cNvSpPr/>
          <p:nvPr/>
        </p:nvSpPr>
        <p:spPr bwMode="auto">
          <a:xfrm>
            <a:off x="4251957"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lang="en-US" sz="1100" dirty="0">
                <a:latin typeface="Segoe UI" panose="020B0502040204020203" pitchFamily="34" charset="0"/>
                <a:cs typeface="Segoe UI" panose="020B0502040204020203" pitchFamily="34" charset="0"/>
              </a:rPr>
              <a:t>Intelligent c</a:t>
            </a: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hatbots</a:t>
            </a:r>
          </a:p>
        </p:txBody>
      </p:sp>
      <p:sp>
        <p:nvSpPr>
          <p:cNvPr id="127" name="Rectangle 126">
            <a:extLst>
              <a:ext uri="{FF2B5EF4-FFF2-40B4-BE49-F238E27FC236}">
                <a16:creationId xmlns:a16="http://schemas.microsoft.com/office/drawing/2014/main" id="{72A9FBBA-5B99-4010-AD46-34CAA31858E2}"/>
              </a:ext>
            </a:extLst>
          </p:cNvPr>
          <p:cNvSpPr/>
          <p:nvPr/>
        </p:nvSpPr>
        <p:spPr bwMode="auto">
          <a:xfrm>
            <a:off x="614933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Financial forecasting</a:t>
            </a:r>
          </a:p>
        </p:txBody>
      </p:sp>
      <p:sp>
        <p:nvSpPr>
          <p:cNvPr id="142" name="Rectangle 141">
            <a:extLst>
              <a:ext uri="{FF2B5EF4-FFF2-40B4-BE49-F238E27FC236}">
                <a16:creationId xmlns:a16="http://schemas.microsoft.com/office/drawing/2014/main" id="{8A213609-49F4-44C3-91E9-10A22A8FC2F6}"/>
              </a:ext>
            </a:extLst>
          </p:cNvPr>
          <p:cNvSpPr/>
          <p:nvPr/>
        </p:nvSpPr>
        <p:spPr bwMode="auto">
          <a:xfrm>
            <a:off x="994409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mployee insights</a:t>
            </a:r>
          </a:p>
        </p:txBody>
      </p:sp>
      <p:sp>
        <p:nvSpPr>
          <p:cNvPr id="143" name="Rectangle 142">
            <a:extLst>
              <a:ext uri="{FF2B5EF4-FFF2-40B4-BE49-F238E27FC236}">
                <a16:creationId xmlns:a16="http://schemas.microsoft.com/office/drawing/2014/main" id="{2CC41987-102E-457E-936B-35B025EF92B2}"/>
              </a:ext>
            </a:extLst>
          </p:cNvPr>
          <p:cNvSpPr/>
          <p:nvPr/>
        </p:nvSpPr>
        <p:spPr bwMode="auto">
          <a:xfrm>
            <a:off x="457200"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rketing</a:t>
            </a:r>
          </a:p>
        </p:txBody>
      </p:sp>
      <p:sp>
        <p:nvSpPr>
          <p:cNvPr id="144" name="Rectangle 143">
            <a:extLst>
              <a:ext uri="{FF2B5EF4-FFF2-40B4-BE49-F238E27FC236}">
                <a16:creationId xmlns:a16="http://schemas.microsoft.com/office/drawing/2014/main" id="{574F0CDF-11B0-4D2A-B44D-EC6772449747}"/>
              </a:ext>
            </a:extLst>
          </p:cNvPr>
          <p:cNvSpPr/>
          <p:nvPr/>
        </p:nvSpPr>
        <p:spPr bwMode="auto">
          <a:xfrm>
            <a:off x="2354579"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ales</a:t>
            </a:r>
          </a:p>
        </p:txBody>
      </p:sp>
      <p:sp>
        <p:nvSpPr>
          <p:cNvPr id="145" name="Rectangle 144">
            <a:extLst>
              <a:ext uri="{FF2B5EF4-FFF2-40B4-BE49-F238E27FC236}">
                <a16:creationId xmlns:a16="http://schemas.microsoft.com/office/drawing/2014/main" id="{C21D4BB3-7129-47FD-AA66-095F174618EF}"/>
              </a:ext>
            </a:extLst>
          </p:cNvPr>
          <p:cNvSpPr/>
          <p:nvPr/>
        </p:nvSpPr>
        <p:spPr bwMode="auto">
          <a:xfrm>
            <a:off x="4219573"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ervice</a:t>
            </a:r>
          </a:p>
        </p:txBody>
      </p:sp>
      <p:sp>
        <p:nvSpPr>
          <p:cNvPr id="146" name="Rectangle 145">
            <a:extLst>
              <a:ext uri="{FF2B5EF4-FFF2-40B4-BE49-F238E27FC236}">
                <a16:creationId xmlns:a16="http://schemas.microsoft.com/office/drawing/2014/main" id="{C9AEA03E-C55A-43A4-8F72-7225A0D87B58}"/>
              </a:ext>
            </a:extLst>
          </p:cNvPr>
          <p:cNvSpPr/>
          <p:nvPr/>
        </p:nvSpPr>
        <p:spPr bwMode="auto">
          <a:xfrm>
            <a:off x="6119688"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Finance</a:t>
            </a:r>
          </a:p>
        </p:txBody>
      </p:sp>
      <p:sp>
        <p:nvSpPr>
          <p:cNvPr id="147" name="Rectangle 146">
            <a:extLst>
              <a:ext uri="{FF2B5EF4-FFF2-40B4-BE49-F238E27FC236}">
                <a16:creationId xmlns:a16="http://schemas.microsoft.com/office/drawing/2014/main" id="{CAE90C5A-BAA7-475E-9C43-A6AB3AF32E6A}"/>
              </a:ext>
            </a:extLst>
          </p:cNvPr>
          <p:cNvSpPr/>
          <p:nvPr/>
        </p:nvSpPr>
        <p:spPr bwMode="auto">
          <a:xfrm>
            <a:off x="7991392"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s</a:t>
            </a:r>
          </a:p>
        </p:txBody>
      </p:sp>
      <p:sp>
        <p:nvSpPr>
          <p:cNvPr id="148" name="Rectangle 147">
            <a:extLst>
              <a:ext uri="{FF2B5EF4-FFF2-40B4-BE49-F238E27FC236}">
                <a16:creationId xmlns:a16="http://schemas.microsoft.com/office/drawing/2014/main" id="{2D84C740-C54B-43E6-B527-FF8E041362CD}"/>
              </a:ext>
            </a:extLst>
          </p:cNvPr>
          <p:cNvSpPr/>
          <p:nvPr/>
        </p:nvSpPr>
        <p:spPr bwMode="auto">
          <a:xfrm>
            <a:off x="9944095"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Workforce</a:t>
            </a:r>
          </a:p>
        </p:txBody>
      </p:sp>
      <p:grpSp>
        <p:nvGrpSpPr>
          <p:cNvPr id="28" name="Group 27">
            <a:extLst>
              <a:ext uri="{FF2B5EF4-FFF2-40B4-BE49-F238E27FC236}">
                <a16:creationId xmlns:a16="http://schemas.microsoft.com/office/drawing/2014/main" id="{4C8B39B2-811A-432F-8E36-2F518E63AE36}"/>
              </a:ext>
            </a:extLst>
          </p:cNvPr>
          <p:cNvGrpSpPr/>
          <p:nvPr/>
        </p:nvGrpSpPr>
        <p:grpSpPr>
          <a:xfrm>
            <a:off x="1324892" y="4221376"/>
            <a:ext cx="55320" cy="728264"/>
            <a:chOff x="1347750" y="4130517"/>
            <a:chExt cx="55320" cy="728264"/>
          </a:xfrm>
          <a:solidFill>
            <a:schemeClr val="bg1">
              <a:lumMod val="75000"/>
            </a:schemeClr>
          </a:solidFill>
        </p:grpSpPr>
        <p:sp>
          <p:nvSpPr>
            <p:cNvPr id="26" name="Oval 25">
              <a:extLst>
                <a:ext uri="{FF2B5EF4-FFF2-40B4-BE49-F238E27FC236}">
                  <a16:creationId xmlns:a16="http://schemas.microsoft.com/office/drawing/2014/main" id="{A3F62D6A-6B4F-4AFF-BE17-3DD119BD47CC}"/>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3627101A-5F26-468B-9C55-C0E3E56D7E14}"/>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75" name="Group 174">
            <a:extLst>
              <a:ext uri="{FF2B5EF4-FFF2-40B4-BE49-F238E27FC236}">
                <a16:creationId xmlns:a16="http://schemas.microsoft.com/office/drawing/2014/main" id="{39A989B9-6DE6-48A9-B91C-876C4273F6B5}"/>
              </a:ext>
            </a:extLst>
          </p:cNvPr>
          <p:cNvGrpSpPr/>
          <p:nvPr/>
        </p:nvGrpSpPr>
        <p:grpSpPr>
          <a:xfrm>
            <a:off x="3222271" y="4221376"/>
            <a:ext cx="55320" cy="728264"/>
            <a:chOff x="1347750" y="4130517"/>
            <a:chExt cx="55320" cy="728264"/>
          </a:xfrm>
          <a:solidFill>
            <a:schemeClr val="bg1">
              <a:lumMod val="75000"/>
            </a:schemeClr>
          </a:solidFill>
        </p:grpSpPr>
        <p:sp>
          <p:nvSpPr>
            <p:cNvPr id="176" name="Oval 175">
              <a:extLst>
                <a:ext uri="{FF2B5EF4-FFF2-40B4-BE49-F238E27FC236}">
                  <a16:creationId xmlns:a16="http://schemas.microsoft.com/office/drawing/2014/main" id="{73472D48-8694-4D85-97F5-925FE0D9D5B9}"/>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Oval 176">
              <a:extLst>
                <a:ext uri="{FF2B5EF4-FFF2-40B4-BE49-F238E27FC236}">
                  <a16:creationId xmlns:a16="http://schemas.microsoft.com/office/drawing/2014/main" id="{D481D4D0-5752-4FB9-9416-06DC2B8C6D6F}"/>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78" name="Group 177">
            <a:extLst>
              <a:ext uri="{FF2B5EF4-FFF2-40B4-BE49-F238E27FC236}">
                <a16:creationId xmlns:a16="http://schemas.microsoft.com/office/drawing/2014/main" id="{F4098DFA-5C0D-41A7-86AE-FA289AFA8990}"/>
              </a:ext>
            </a:extLst>
          </p:cNvPr>
          <p:cNvGrpSpPr/>
          <p:nvPr/>
        </p:nvGrpSpPr>
        <p:grpSpPr>
          <a:xfrm>
            <a:off x="5119649" y="4221376"/>
            <a:ext cx="55320" cy="728264"/>
            <a:chOff x="1347750" y="4130517"/>
            <a:chExt cx="55320" cy="728264"/>
          </a:xfrm>
          <a:solidFill>
            <a:schemeClr val="bg1">
              <a:lumMod val="75000"/>
            </a:schemeClr>
          </a:solidFill>
        </p:grpSpPr>
        <p:sp>
          <p:nvSpPr>
            <p:cNvPr id="179" name="Oval 178">
              <a:extLst>
                <a:ext uri="{FF2B5EF4-FFF2-40B4-BE49-F238E27FC236}">
                  <a16:creationId xmlns:a16="http://schemas.microsoft.com/office/drawing/2014/main" id="{5EF3B66A-162A-4667-8274-30605930F997}"/>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B63AC941-4D9E-4A84-8492-AB5FAB5FF58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1" name="Group 180">
            <a:extLst>
              <a:ext uri="{FF2B5EF4-FFF2-40B4-BE49-F238E27FC236}">
                <a16:creationId xmlns:a16="http://schemas.microsoft.com/office/drawing/2014/main" id="{A8E996E8-18EA-427E-AC87-10CC95257E10}"/>
              </a:ext>
            </a:extLst>
          </p:cNvPr>
          <p:cNvGrpSpPr/>
          <p:nvPr/>
        </p:nvGrpSpPr>
        <p:grpSpPr>
          <a:xfrm>
            <a:off x="7017027" y="4221376"/>
            <a:ext cx="55320" cy="728264"/>
            <a:chOff x="1347750" y="4130517"/>
            <a:chExt cx="55320" cy="728264"/>
          </a:xfrm>
          <a:solidFill>
            <a:schemeClr val="bg1">
              <a:lumMod val="75000"/>
            </a:schemeClr>
          </a:solidFill>
        </p:grpSpPr>
        <p:sp>
          <p:nvSpPr>
            <p:cNvPr id="182" name="Oval 181">
              <a:extLst>
                <a:ext uri="{FF2B5EF4-FFF2-40B4-BE49-F238E27FC236}">
                  <a16:creationId xmlns:a16="http://schemas.microsoft.com/office/drawing/2014/main" id="{98275A15-5220-4F62-A2ED-640AC8A230CE}"/>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E9674D49-528E-4564-AF59-85FF11906B99}"/>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4" name="Group 183">
            <a:extLst>
              <a:ext uri="{FF2B5EF4-FFF2-40B4-BE49-F238E27FC236}">
                <a16:creationId xmlns:a16="http://schemas.microsoft.com/office/drawing/2014/main" id="{675EA620-F28F-45FB-882E-2C28C496C8C7}"/>
              </a:ext>
            </a:extLst>
          </p:cNvPr>
          <p:cNvGrpSpPr/>
          <p:nvPr/>
        </p:nvGrpSpPr>
        <p:grpSpPr>
          <a:xfrm>
            <a:off x="8859084" y="4221376"/>
            <a:ext cx="55320" cy="728264"/>
            <a:chOff x="1347750" y="4130517"/>
            <a:chExt cx="55320" cy="728264"/>
          </a:xfrm>
          <a:solidFill>
            <a:schemeClr val="bg1">
              <a:lumMod val="75000"/>
            </a:schemeClr>
          </a:solidFill>
        </p:grpSpPr>
        <p:sp>
          <p:nvSpPr>
            <p:cNvPr id="185" name="Oval 184">
              <a:extLst>
                <a:ext uri="{FF2B5EF4-FFF2-40B4-BE49-F238E27FC236}">
                  <a16:creationId xmlns:a16="http://schemas.microsoft.com/office/drawing/2014/main" id="{BA4F8CB6-A740-4CD8-85FC-160753C1FEB3}"/>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Oval 185">
              <a:extLst>
                <a:ext uri="{FF2B5EF4-FFF2-40B4-BE49-F238E27FC236}">
                  <a16:creationId xmlns:a16="http://schemas.microsoft.com/office/drawing/2014/main" id="{5D2B7847-AF63-4B55-8A50-3A719574E83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7" name="Group 186">
            <a:extLst>
              <a:ext uri="{FF2B5EF4-FFF2-40B4-BE49-F238E27FC236}">
                <a16:creationId xmlns:a16="http://schemas.microsoft.com/office/drawing/2014/main" id="{D45664D6-DD9D-45F0-BAD4-8FE25B0448A7}"/>
              </a:ext>
            </a:extLst>
          </p:cNvPr>
          <p:cNvGrpSpPr/>
          <p:nvPr/>
        </p:nvGrpSpPr>
        <p:grpSpPr>
          <a:xfrm>
            <a:off x="10811787" y="4221376"/>
            <a:ext cx="55320" cy="728264"/>
            <a:chOff x="1347750" y="4130517"/>
            <a:chExt cx="55320" cy="728264"/>
          </a:xfrm>
          <a:solidFill>
            <a:schemeClr val="bg1">
              <a:lumMod val="75000"/>
            </a:schemeClr>
          </a:solidFill>
        </p:grpSpPr>
        <p:sp>
          <p:nvSpPr>
            <p:cNvPr id="188" name="Oval 187">
              <a:extLst>
                <a:ext uri="{FF2B5EF4-FFF2-40B4-BE49-F238E27FC236}">
                  <a16:creationId xmlns:a16="http://schemas.microsoft.com/office/drawing/2014/main" id="{EB450892-85F5-4940-99A9-6B0C992E07CF}"/>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FF041638-FD9A-44D9-95C4-63D479DE986E}"/>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85" name="Rectangle 84">
            <a:extLst>
              <a:ext uri="{FF2B5EF4-FFF2-40B4-BE49-F238E27FC236}">
                <a16:creationId xmlns:a16="http://schemas.microsoft.com/office/drawing/2014/main" id="{0C7A553B-3A70-40A6-BB3F-2413FB176AEA}"/>
              </a:ext>
            </a:extLst>
          </p:cNvPr>
          <p:cNvSpPr/>
          <p:nvPr/>
        </p:nvSpPr>
        <p:spPr bwMode="auto">
          <a:xfrm>
            <a:off x="457200"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Product recommendation</a:t>
            </a:r>
          </a:p>
        </p:txBody>
      </p:sp>
      <p:sp>
        <p:nvSpPr>
          <p:cNvPr id="124" name="Rectangle 123">
            <a:extLst>
              <a:ext uri="{FF2B5EF4-FFF2-40B4-BE49-F238E27FC236}">
                <a16:creationId xmlns:a16="http://schemas.microsoft.com/office/drawing/2014/main" id="{0C839D6C-0E76-44F1-B5CA-67BC06D62BF9}"/>
              </a:ext>
            </a:extLst>
          </p:cNvPr>
          <p:cNvSpPr/>
          <p:nvPr/>
        </p:nvSpPr>
        <p:spPr bwMode="auto">
          <a:xfrm>
            <a:off x="457200"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Product recommendation</a:t>
            </a:r>
          </a:p>
        </p:txBody>
      </p:sp>
      <p:sp>
        <p:nvSpPr>
          <p:cNvPr id="93" name="Rectangle 92">
            <a:extLst>
              <a:ext uri="{FF2B5EF4-FFF2-40B4-BE49-F238E27FC236}">
                <a16:creationId xmlns:a16="http://schemas.microsoft.com/office/drawing/2014/main" id="{138895EB-257C-4685-88C9-4E5421B83AF1}"/>
              </a:ext>
            </a:extLst>
          </p:cNvPr>
          <p:cNvSpPr/>
          <p:nvPr/>
        </p:nvSpPr>
        <p:spPr bwMode="auto">
          <a:xfrm>
            <a:off x="7991392"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Predictive maintenance</a:t>
            </a:r>
          </a:p>
        </p:txBody>
      </p:sp>
      <p:sp>
        <p:nvSpPr>
          <p:cNvPr id="128" name="Rectangle 127">
            <a:extLst>
              <a:ext uri="{FF2B5EF4-FFF2-40B4-BE49-F238E27FC236}">
                <a16:creationId xmlns:a16="http://schemas.microsoft.com/office/drawing/2014/main" id="{1D5F0DF6-BC32-4EDF-885A-F7682DE81C11}"/>
              </a:ext>
            </a:extLst>
          </p:cNvPr>
          <p:cNvSpPr/>
          <p:nvPr/>
        </p:nvSpPr>
        <p:spPr bwMode="auto">
          <a:xfrm>
            <a:off x="7991392"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Predictive maintenance</a:t>
            </a:r>
          </a:p>
        </p:txBody>
      </p:sp>
      <p:sp>
        <p:nvSpPr>
          <p:cNvPr id="94" name="Rectangle 93">
            <a:extLst>
              <a:ext uri="{FF2B5EF4-FFF2-40B4-BE49-F238E27FC236}">
                <a16:creationId xmlns:a16="http://schemas.microsoft.com/office/drawing/2014/main" id="{BC521CE1-CC36-4BBE-A262-46AE5771B1CB}"/>
              </a:ext>
            </a:extLst>
          </p:cNvPr>
          <p:cNvSpPr/>
          <p:nvPr/>
        </p:nvSpPr>
        <p:spPr bwMode="auto">
          <a:xfrm>
            <a:off x="7991392"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Demand forecasting</a:t>
            </a:r>
          </a:p>
        </p:txBody>
      </p:sp>
      <p:sp>
        <p:nvSpPr>
          <p:cNvPr id="133" name="Rectangle 132">
            <a:extLst>
              <a:ext uri="{FF2B5EF4-FFF2-40B4-BE49-F238E27FC236}">
                <a16:creationId xmlns:a16="http://schemas.microsoft.com/office/drawing/2014/main" id="{E0E27B1A-B4DF-4BA1-9544-AB4BC2E68926}"/>
              </a:ext>
            </a:extLst>
          </p:cNvPr>
          <p:cNvSpPr/>
          <p:nvPr/>
        </p:nvSpPr>
        <p:spPr bwMode="auto">
          <a:xfrm>
            <a:off x="7991392" y="4393487"/>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Demand forecasting</a:t>
            </a:r>
          </a:p>
        </p:txBody>
      </p:sp>
    </p:spTree>
    <p:extLst>
      <p:ext uri="{BB962C8B-B14F-4D97-AF65-F5344CB8AC3E}">
        <p14:creationId xmlns:p14="http://schemas.microsoft.com/office/powerpoint/2010/main" val="248080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8"/>
                                        </p:tgtEl>
                                        <p:attrNameLst>
                                          <p:attrName>style.visibility</p:attrName>
                                        </p:attrNameLst>
                                      </p:cBhvr>
                                      <p:to>
                                        <p:strVal val="visible"/>
                                      </p:to>
                                    </p:set>
                                    <p:animEffect transition="in" filter="fade">
                                      <p:cBhvr>
                                        <p:cTn id="12" dur="500"/>
                                        <p:tgtEl>
                                          <p:spTgt spid="1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fade">
                                      <p:cBhvr>
                                        <p:cTn id="1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8" grpId="0" animBg="1"/>
      <p:bldP spid="1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A large ship in a body of water&#10;&#10;Description generated with very high confidence">
            <a:extLst>
              <a:ext uri="{FF2B5EF4-FFF2-40B4-BE49-F238E27FC236}">
                <a16:creationId xmlns:a16="http://schemas.microsoft.com/office/drawing/2014/main" id="{4914BBEB-4766-4E2D-9DA4-D3C6C207798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4343954" y="4037076"/>
            <a:ext cx="3474720"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pic>
        <p:nvPicPr>
          <p:cNvPr id="62" name="Picture 61" descr="A person sitting next to a window&#10;&#10;Description generated with high confidence">
            <a:extLst>
              <a:ext uri="{FF2B5EF4-FFF2-40B4-BE49-F238E27FC236}">
                <a16:creationId xmlns:a16="http://schemas.microsoft.com/office/drawing/2014/main" id="{C4665C48-FFA0-4EC6-85F6-1FE71707D7C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60466" y="4037076"/>
            <a:ext cx="3474720" cy="2478024"/>
          </a:xfrm>
          <a:custGeom>
            <a:avLst/>
            <a:gdLst>
              <a:gd name="connsiteX0" fmla="*/ 3474720 w 3474720"/>
              <a:gd name="connsiteY0" fmla="*/ 0 h 2478024"/>
              <a:gd name="connsiteX1" fmla="*/ 0 w 3474720"/>
              <a:gd name="connsiteY1" fmla="*/ 0 h 2478024"/>
              <a:gd name="connsiteX2" fmla="*/ 0 w 3474720"/>
              <a:gd name="connsiteY2" fmla="*/ 2478024 h 2478024"/>
              <a:gd name="connsiteX3" fmla="*/ 347472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3474720" y="0"/>
                </a:moveTo>
                <a:lnTo>
                  <a:pt x="0" y="0"/>
                </a:lnTo>
                <a:lnTo>
                  <a:pt x="0" y="2478024"/>
                </a:lnTo>
                <a:lnTo>
                  <a:pt x="3474720" y="2478024"/>
                </a:lnTo>
                <a:close/>
              </a:path>
            </a:pathLst>
          </a:custGeom>
        </p:spPr>
      </p:pic>
      <p:sp>
        <p:nvSpPr>
          <p:cNvPr id="3" name="Title 2">
            <a:extLst>
              <a:ext uri="{FF2B5EF4-FFF2-40B4-BE49-F238E27FC236}">
                <a16:creationId xmlns:a16="http://schemas.microsoft.com/office/drawing/2014/main" id="{FF0595A4-F95F-4978-85D0-6B381225DB36}"/>
              </a:ext>
            </a:extLst>
          </p:cNvPr>
          <p:cNvSpPr>
            <a:spLocks noGrp="1"/>
          </p:cNvSpPr>
          <p:nvPr>
            <p:ph type="title"/>
          </p:nvPr>
        </p:nvSpPr>
        <p:spPr/>
        <p:txBody>
          <a:bodyPr vert="horz" wrap="square" lIns="0" tIns="164592" rIns="0" bIns="0" rtlCol="0" anchor="t">
            <a:noAutofit/>
          </a:bodyPr>
          <a:lstStyle/>
          <a:p>
            <a:r>
              <a:rPr lang="en-IN" spc="-150" dirty="0"/>
              <a:t>Leading to transformational changes</a:t>
            </a:r>
          </a:p>
        </p:txBody>
      </p:sp>
      <p:sp>
        <p:nvSpPr>
          <p:cNvPr id="104" name="Freeform: Shape 103">
            <a:extLst>
              <a:ext uri="{FF2B5EF4-FFF2-40B4-BE49-F238E27FC236}">
                <a16:creationId xmlns:a16="http://schemas.microsoft.com/office/drawing/2014/main" id="{1E953071-5035-434D-86F4-F68D8DAA2F99}"/>
              </a:ext>
            </a:extLst>
          </p:cNvPr>
          <p:cNvSpPr/>
          <p:nvPr/>
        </p:nvSpPr>
        <p:spPr bwMode="auto">
          <a:xfrm>
            <a:off x="4343954"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buSzPct val="90000"/>
              <a:defRPr/>
            </a:pPr>
            <a:r>
              <a:rPr lang="en-US" sz="1400" dirty="0">
                <a:solidFill>
                  <a:srgbClr val="FFFFFF"/>
                </a:solidFill>
                <a:latin typeface="Segoe UI" panose="020B0502040204020203" pitchFamily="34" charset="0"/>
                <a:cs typeface="Segoe UI" panose="020B0502040204020203" pitchFamily="34" charset="0"/>
              </a:rPr>
              <a:t>Hybrid solution predicts onboard water usage, saving </a:t>
            </a:r>
            <a:r>
              <a:rPr lang="en-US" sz="1400" dirty="0">
                <a:solidFill>
                  <a:srgbClr val="FFFFFF"/>
                </a:solidFill>
                <a:latin typeface="+mj-lt"/>
                <a:cs typeface="Segoe UI" panose="020B0502040204020203" pitchFamily="34" charset="0"/>
              </a:rPr>
              <a:t>$200k/ship/year</a:t>
            </a:r>
          </a:p>
        </p:txBody>
      </p:sp>
      <p:pic>
        <p:nvPicPr>
          <p:cNvPr id="106" name="Picture Placeholder 1">
            <a:extLst>
              <a:ext uri="{FF2B5EF4-FFF2-40B4-BE49-F238E27FC236}">
                <a16:creationId xmlns:a16="http://schemas.microsoft.com/office/drawing/2014/main" id="{59083967-D600-4E29-BA84-DEDEB46218DA}"/>
              </a:ext>
            </a:extLst>
          </p:cNvPr>
          <p:cNvPicPr>
            <a:picLocks noChangeAspect="1"/>
          </p:cNvPicPr>
          <p:nvPr/>
        </p:nvPicPr>
        <p:blipFill rotWithShape="1">
          <a:blip r:embed="rId5" cstate="email">
            <a:extLst>
              <a:ext uri="{28A0092B-C50C-407E-A947-70E740481C1C}">
                <a14:useLocalDpi xmlns:a14="http://schemas.microsoft.com/office/drawing/2010/main"/>
              </a:ext>
            </a:extLst>
          </a:blip>
          <a:stretch/>
        </p:blipFill>
        <p:spPr>
          <a:xfrm>
            <a:off x="4519332" y="5376323"/>
            <a:ext cx="864129" cy="341633"/>
          </a:xfrm>
          <a:prstGeom prst="rect">
            <a:avLst/>
          </a:prstGeom>
        </p:spPr>
      </p:pic>
      <p:sp>
        <p:nvSpPr>
          <p:cNvPr id="109" name="Freeform: Shape 108">
            <a:extLst>
              <a:ext uri="{FF2B5EF4-FFF2-40B4-BE49-F238E27FC236}">
                <a16:creationId xmlns:a16="http://schemas.microsoft.com/office/drawing/2014/main" id="{D60285B8-7D80-4117-A2F4-D1F6A006D556}"/>
              </a:ext>
            </a:extLst>
          </p:cNvPr>
          <p:cNvSpPr/>
          <p:nvPr/>
        </p:nvSpPr>
        <p:spPr bwMode="auto">
          <a:xfrm>
            <a:off x="757373"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5" name="Group 4">
            <a:extLst>
              <a:ext uri="{FF2B5EF4-FFF2-40B4-BE49-F238E27FC236}">
                <a16:creationId xmlns:a16="http://schemas.microsoft.com/office/drawing/2014/main" id="{1C2709E0-5891-41D9-87DA-F1890DF89E25}"/>
              </a:ext>
            </a:extLst>
          </p:cNvPr>
          <p:cNvGrpSpPr/>
          <p:nvPr/>
        </p:nvGrpSpPr>
        <p:grpSpPr>
          <a:xfrm>
            <a:off x="537945" y="2650725"/>
            <a:ext cx="435228" cy="435228"/>
            <a:chOff x="575183" y="2284233"/>
            <a:chExt cx="435228" cy="435228"/>
          </a:xfrm>
        </p:grpSpPr>
        <p:sp>
          <p:nvSpPr>
            <p:cNvPr id="125" name="Oval 124">
              <a:extLst>
                <a:ext uri="{FF2B5EF4-FFF2-40B4-BE49-F238E27FC236}">
                  <a16:creationId xmlns:a16="http://schemas.microsoft.com/office/drawing/2014/main" id="{3DFDCA22-6E2E-4BBC-A97A-704A6BE0A5ED}"/>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1" name="light" title="Icon of a lightbulb">
              <a:extLst>
                <a:ext uri="{FF2B5EF4-FFF2-40B4-BE49-F238E27FC236}">
                  <a16:creationId xmlns:a16="http://schemas.microsoft.com/office/drawing/2014/main" id="{DC01F277-38ED-4BA5-A151-C945433CB02C}"/>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1DAFF505-CD34-4B10-8C9F-B557482263CD}"/>
              </a:ext>
            </a:extLst>
          </p:cNvPr>
          <p:cNvGrpSpPr/>
          <p:nvPr/>
        </p:nvGrpSpPr>
        <p:grpSpPr>
          <a:xfrm>
            <a:off x="537945" y="3381836"/>
            <a:ext cx="435228" cy="435228"/>
            <a:chOff x="575183" y="2928123"/>
            <a:chExt cx="435228" cy="435228"/>
          </a:xfrm>
        </p:grpSpPr>
        <p:sp>
          <p:nvSpPr>
            <p:cNvPr id="135" name="Oval 134">
              <a:extLst>
                <a:ext uri="{FF2B5EF4-FFF2-40B4-BE49-F238E27FC236}">
                  <a16:creationId xmlns:a16="http://schemas.microsoft.com/office/drawing/2014/main" id="{9E8EAF6D-0FB5-4F4D-ADF2-05B734D493B0}"/>
                </a:ext>
              </a:extLst>
            </p:cNvPr>
            <p:cNvSpPr/>
            <p:nvPr/>
          </p:nvSpPr>
          <p:spPr bwMode="auto">
            <a:xfrm>
              <a:off x="575183" y="292812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3" name="ShoppingCart_E7BF" title="Icon of a shopping cart">
              <a:extLst>
                <a:ext uri="{FF2B5EF4-FFF2-40B4-BE49-F238E27FC236}">
                  <a16:creationId xmlns:a16="http://schemas.microsoft.com/office/drawing/2014/main" id="{74640118-5E56-47CD-A5C3-33CD5B839C15}"/>
                </a:ext>
              </a:extLst>
            </p:cNvPr>
            <p:cNvSpPr>
              <a:spLocks noChangeAspect="1" noEditPoints="1"/>
            </p:cNvSpPr>
            <p:nvPr/>
          </p:nvSpPr>
          <p:spPr bwMode="auto">
            <a:xfrm>
              <a:off x="683846" y="3091747"/>
              <a:ext cx="217902" cy="18529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40" name="Rectangle 139">
            <a:extLst>
              <a:ext uri="{FF2B5EF4-FFF2-40B4-BE49-F238E27FC236}">
                <a16:creationId xmlns:a16="http://schemas.microsoft.com/office/drawing/2014/main" id="{E28822F0-6EBC-443E-AF98-17C336109DEF}"/>
              </a:ext>
            </a:extLst>
          </p:cNvPr>
          <p:cNvSpPr/>
          <p:nvPr/>
        </p:nvSpPr>
        <p:spPr>
          <a:xfrm>
            <a:off x="1119016"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he average size of a single</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art has decreased</a:t>
            </a:r>
          </a:p>
        </p:txBody>
      </p:sp>
      <p:sp>
        <p:nvSpPr>
          <p:cNvPr id="141" name="Rectangle 140">
            <a:extLst>
              <a:ext uri="{FF2B5EF4-FFF2-40B4-BE49-F238E27FC236}">
                <a16:creationId xmlns:a16="http://schemas.microsoft.com/office/drawing/2014/main" id="{0AFAD94B-925F-4177-A3D7-FC93E6D878F0}"/>
              </a:ext>
            </a:extLst>
          </p:cNvPr>
          <p:cNvSpPr/>
          <p:nvPr/>
        </p:nvSpPr>
        <p:spPr>
          <a:xfrm>
            <a:off x="1119016"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vide personalized digital</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ontent to shoppers</a:t>
            </a:r>
          </a:p>
        </p:txBody>
      </p:sp>
      <p:sp>
        <p:nvSpPr>
          <p:cNvPr id="142" name="Rectangle 141">
            <a:extLst>
              <a:ext uri="{FF2B5EF4-FFF2-40B4-BE49-F238E27FC236}">
                <a16:creationId xmlns:a16="http://schemas.microsoft.com/office/drawing/2014/main" id="{51CF7426-9D83-4835-80B8-E60358C84563}"/>
              </a:ext>
            </a:extLst>
          </p:cNvPr>
          <p:cNvSpPr/>
          <p:nvPr/>
        </p:nvSpPr>
        <p:spPr>
          <a:xfrm>
            <a:off x="1119016"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crease cart size</a:t>
            </a:r>
          </a:p>
        </p:txBody>
      </p:sp>
      <p:sp>
        <p:nvSpPr>
          <p:cNvPr id="144" name="Freeform: Shape 143">
            <a:extLst>
              <a:ext uri="{FF2B5EF4-FFF2-40B4-BE49-F238E27FC236}">
                <a16:creationId xmlns:a16="http://schemas.microsoft.com/office/drawing/2014/main" id="{C0A1A323-9D07-4222-9A72-764F35ED8D86}"/>
              </a:ext>
            </a:extLst>
          </p:cNvPr>
          <p:cNvSpPr/>
          <p:nvPr/>
        </p:nvSpPr>
        <p:spPr bwMode="auto">
          <a:xfrm>
            <a:off x="46468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146" name="Group 145">
            <a:extLst>
              <a:ext uri="{FF2B5EF4-FFF2-40B4-BE49-F238E27FC236}">
                <a16:creationId xmlns:a16="http://schemas.microsoft.com/office/drawing/2014/main" id="{96A8FB7E-A585-4BCF-9AC8-74EE4F7F8394}"/>
              </a:ext>
            </a:extLst>
          </p:cNvPr>
          <p:cNvGrpSpPr/>
          <p:nvPr/>
        </p:nvGrpSpPr>
        <p:grpSpPr>
          <a:xfrm>
            <a:off x="4429225" y="2650725"/>
            <a:ext cx="435228" cy="435228"/>
            <a:chOff x="575183" y="2284233"/>
            <a:chExt cx="435228" cy="435228"/>
          </a:xfrm>
        </p:grpSpPr>
        <p:sp>
          <p:nvSpPr>
            <p:cNvPr id="155" name="Oval 154">
              <a:extLst>
                <a:ext uri="{FF2B5EF4-FFF2-40B4-BE49-F238E27FC236}">
                  <a16:creationId xmlns:a16="http://schemas.microsoft.com/office/drawing/2014/main" id="{CA259725-4661-4B1D-9113-04C9555ED9C5}"/>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56" name="light" title="Icon of a lightbulb">
              <a:extLst>
                <a:ext uri="{FF2B5EF4-FFF2-40B4-BE49-F238E27FC236}">
                  <a16:creationId xmlns:a16="http://schemas.microsoft.com/office/drawing/2014/main" id="{C395F21C-48A8-4166-988A-1D3A45CA5AFA}"/>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48" name="Rectangle 147">
            <a:extLst>
              <a:ext uri="{FF2B5EF4-FFF2-40B4-BE49-F238E27FC236}">
                <a16:creationId xmlns:a16="http://schemas.microsoft.com/office/drawing/2014/main" id="{C4AD45EC-964C-4AE9-A219-C9FF7293CA72}"/>
              </a:ext>
            </a:extLst>
          </p:cNvPr>
          <p:cNvSpPr/>
          <p:nvPr/>
        </p:nvSpPr>
        <p:spPr>
          <a:xfrm>
            <a:off x="4994501"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Unplanned downtime results</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 cost overruns</a:t>
            </a:r>
          </a:p>
        </p:txBody>
      </p:sp>
      <p:sp>
        <p:nvSpPr>
          <p:cNvPr id="149" name="Rectangle 148">
            <a:extLst>
              <a:ext uri="{FF2B5EF4-FFF2-40B4-BE49-F238E27FC236}">
                <a16:creationId xmlns:a16="http://schemas.microsoft.com/office/drawing/2014/main" id="{863ACA6A-96A3-4D9E-B107-924E1D066F02}"/>
              </a:ext>
            </a:extLst>
          </p:cNvPr>
          <p:cNvSpPr/>
          <p:nvPr/>
        </p:nvSpPr>
        <p:spPr>
          <a:xfrm>
            <a:off x="4994501"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edict when maintenance</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hould be performed</a:t>
            </a:r>
          </a:p>
        </p:txBody>
      </p:sp>
      <p:sp>
        <p:nvSpPr>
          <p:cNvPr id="150" name="Rectangle 149">
            <a:extLst>
              <a:ext uri="{FF2B5EF4-FFF2-40B4-BE49-F238E27FC236}">
                <a16:creationId xmlns:a16="http://schemas.microsoft.com/office/drawing/2014/main" id="{7E81B98A-D137-47E4-A73E-DEC1EBF877BA}"/>
              </a:ext>
            </a:extLst>
          </p:cNvPr>
          <p:cNvSpPr/>
          <p:nvPr/>
        </p:nvSpPr>
        <p:spPr>
          <a:xfrm>
            <a:off x="4994501"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inimize downtime</a:t>
            </a:r>
          </a:p>
        </p:txBody>
      </p:sp>
      <p:sp>
        <p:nvSpPr>
          <p:cNvPr id="160" name="Freeform: Shape 159">
            <a:extLst>
              <a:ext uri="{FF2B5EF4-FFF2-40B4-BE49-F238E27FC236}">
                <a16:creationId xmlns:a16="http://schemas.microsoft.com/office/drawing/2014/main" id="{8DB4887B-9E56-4F17-BAB7-A589C96F1B2A}"/>
              </a:ext>
            </a:extLst>
          </p:cNvPr>
          <p:cNvSpPr/>
          <p:nvPr/>
        </p:nvSpPr>
        <p:spPr bwMode="auto">
          <a:xfrm>
            <a:off x="85584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162" name="Group 161">
            <a:extLst>
              <a:ext uri="{FF2B5EF4-FFF2-40B4-BE49-F238E27FC236}">
                <a16:creationId xmlns:a16="http://schemas.microsoft.com/office/drawing/2014/main" id="{8E6F27A2-D808-4CFD-95A6-3E870A2949D6}"/>
              </a:ext>
            </a:extLst>
          </p:cNvPr>
          <p:cNvGrpSpPr/>
          <p:nvPr/>
        </p:nvGrpSpPr>
        <p:grpSpPr>
          <a:xfrm>
            <a:off x="8340825" y="2650725"/>
            <a:ext cx="435228" cy="435228"/>
            <a:chOff x="575183" y="2284233"/>
            <a:chExt cx="435228" cy="435228"/>
          </a:xfrm>
        </p:grpSpPr>
        <p:sp>
          <p:nvSpPr>
            <p:cNvPr id="171" name="Oval 170">
              <a:extLst>
                <a:ext uri="{FF2B5EF4-FFF2-40B4-BE49-F238E27FC236}">
                  <a16:creationId xmlns:a16="http://schemas.microsoft.com/office/drawing/2014/main" id="{1FC95CF1-1DD5-4798-B4A5-1FEF0DDC9BBC}"/>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72" name="light" title="Icon of a lightbulb">
              <a:extLst>
                <a:ext uri="{FF2B5EF4-FFF2-40B4-BE49-F238E27FC236}">
                  <a16:creationId xmlns:a16="http://schemas.microsoft.com/office/drawing/2014/main" id="{03C28E95-A789-461D-84C2-5A8529F2087D}"/>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64" name="Rectangle 163">
            <a:extLst>
              <a:ext uri="{FF2B5EF4-FFF2-40B4-BE49-F238E27FC236}">
                <a16:creationId xmlns:a16="http://schemas.microsoft.com/office/drawing/2014/main" id="{9D29D01D-CBB4-4C2B-A14D-3C89511819A3}"/>
              </a:ext>
            </a:extLst>
          </p:cNvPr>
          <p:cNvSpPr/>
          <p:nvPr/>
        </p:nvSpPr>
        <p:spPr>
          <a:xfrm>
            <a:off x="8904810"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olar energy production</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s inconsistent</a:t>
            </a:r>
          </a:p>
        </p:txBody>
      </p:sp>
      <p:sp>
        <p:nvSpPr>
          <p:cNvPr id="165" name="Rectangle 164">
            <a:extLst>
              <a:ext uri="{FF2B5EF4-FFF2-40B4-BE49-F238E27FC236}">
                <a16:creationId xmlns:a16="http://schemas.microsoft.com/office/drawing/2014/main" id="{133C9461-3E93-4D24-A79B-7E38EBADC2C6}"/>
              </a:ext>
            </a:extLst>
          </p:cNvPr>
          <p:cNvSpPr/>
          <p:nvPr/>
        </p:nvSpPr>
        <p:spPr>
          <a:xfrm>
            <a:off x="8904810"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lign energy supply</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with the optimal markets</a:t>
            </a:r>
          </a:p>
        </p:txBody>
      </p:sp>
      <p:sp>
        <p:nvSpPr>
          <p:cNvPr id="166" name="Rectangle 165">
            <a:extLst>
              <a:ext uri="{FF2B5EF4-FFF2-40B4-BE49-F238E27FC236}">
                <a16:creationId xmlns:a16="http://schemas.microsoft.com/office/drawing/2014/main" id="{38BAC971-C542-4907-8BB0-668A0DD221D1}"/>
              </a:ext>
            </a:extLst>
          </p:cNvPr>
          <p:cNvSpPr/>
          <p:nvPr/>
        </p:nvSpPr>
        <p:spPr>
          <a:xfrm>
            <a:off x="8904810"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ximize revenue</a:t>
            </a:r>
          </a:p>
        </p:txBody>
      </p:sp>
      <p:grpSp>
        <p:nvGrpSpPr>
          <p:cNvPr id="8" name="Group 7">
            <a:extLst>
              <a:ext uri="{FF2B5EF4-FFF2-40B4-BE49-F238E27FC236}">
                <a16:creationId xmlns:a16="http://schemas.microsoft.com/office/drawing/2014/main" id="{B85EC8A7-6A02-409A-A8E6-1A14245199FE}"/>
              </a:ext>
            </a:extLst>
          </p:cNvPr>
          <p:cNvGrpSpPr/>
          <p:nvPr/>
        </p:nvGrpSpPr>
        <p:grpSpPr>
          <a:xfrm>
            <a:off x="4429225" y="3381836"/>
            <a:ext cx="435228" cy="435228"/>
            <a:chOff x="4238502" y="3381836"/>
            <a:chExt cx="435228" cy="435228"/>
          </a:xfrm>
        </p:grpSpPr>
        <p:sp>
          <p:nvSpPr>
            <p:cNvPr id="151" name="Oval 150">
              <a:extLst>
                <a:ext uri="{FF2B5EF4-FFF2-40B4-BE49-F238E27FC236}">
                  <a16:creationId xmlns:a16="http://schemas.microsoft.com/office/drawing/2014/main" id="{2B90F1B4-CEA9-4E95-A785-1078AFAC89D1}"/>
                </a:ext>
              </a:extLst>
            </p:cNvPr>
            <p:cNvSpPr/>
            <p:nvPr/>
          </p:nvSpPr>
          <p:spPr bwMode="auto">
            <a:xfrm>
              <a:off x="4238502"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75" name="clock_10" title="Icon of an hourglass">
              <a:extLst>
                <a:ext uri="{FF2B5EF4-FFF2-40B4-BE49-F238E27FC236}">
                  <a16:creationId xmlns:a16="http://schemas.microsoft.com/office/drawing/2014/main" id="{BD0639F9-D312-4F4E-AFEE-ACA9A6F7EDBD}"/>
                </a:ext>
              </a:extLst>
            </p:cNvPr>
            <p:cNvSpPr>
              <a:spLocks noChangeAspect="1" noEditPoints="1"/>
            </p:cNvSpPr>
            <p:nvPr/>
          </p:nvSpPr>
          <p:spPr bwMode="auto">
            <a:xfrm>
              <a:off x="4364994" y="3508010"/>
              <a:ext cx="182244" cy="18288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3CDB157A-9C5D-4892-A304-2765C6F68BC6}"/>
              </a:ext>
            </a:extLst>
          </p:cNvPr>
          <p:cNvGrpSpPr/>
          <p:nvPr/>
        </p:nvGrpSpPr>
        <p:grpSpPr>
          <a:xfrm>
            <a:off x="8340825" y="3381836"/>
            <a:ext cx="435228" cy="435228"/>
            <a:chOff x="8148811" y="3381836"/>
            <a:chExt cx="435228" cy="435228"/>
          </a:xfrm>
        </p:grpSpPr>
        <p:sp>
          <p:nvSpPr>
            <p:cNvPr id="167" name="Oval 166">
              <a:extLst>
                <a:ext uri="{FF2B5EF4-FFF2-40B4-BE49-F238E27FC236}">
                  <a16:creationId xmlns:a16="http://schemas.microsoft.com/office/drawing/2014/main" id="{AA75560A-FF94-4D63-8C0B-C755025609B9}"/>
                </a:ext>
              </a:extLst>
            </p:cNvPr>
            <p:cNvSpPr/>
            <p:nvPr/>
          </p:nvSpPr>
          <p:spPr bwMode="auto">
            <a:xfrm>
              <a:off x="8148811"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76" name="Group 175">
              <a:extLst>
                <a:ext uri="{FF2B5EF4-FFF2-40B4-BE49-F238E27FC236}">
                  <a16:creationId xmlns:a16="http://schemas.microsoft.com/office/drawing/2014/main" id="{D944E210-D763-4717-8786-B67356CAA022}"/>
                </a:ext>
              </a:extLst>
            </p:cNvPr>
            <p:cNvGrpSpPr/>
            <p:nvPr/>
          </p:nvGrpSpPr>
          <p:grpSpPr>
            <a:xfrm>
              <a:off x="8318956" y="3477355"/>
              <a:ext cx="94938" cy="244190"/>
              <a:chOff x="7556666" y="1028409"/>
              <a:chExt cx="212377" cy="546250"/>
            </a:xfrm>
          </p:grpSpPr>
          <p:sp>
            <p:nvSpPr>
              <p:cNvPr id="177" name="arrow_3" title="Icon of an arrow pointing down at a line">
                <a:extLst>
                  <a:ext uri="{FF2B5EF4-FFF2-40B4-BE49-F238E27FC236}">
                    <a16:creationId xmlns:a16="http://schemas.microsoft.com/office/drawing/2014/main" id="{54B2A2D1-71AB-4BB6-A2E5-A75428E32B25}"/>
                  </a:ext>
                </a:extLst>
              </p:cNvPr>
              <p:cNvSpPr>
                <a:spLocks noChangeAspect="1" noEditPoints="1"/>
              </p:cNvSpPr>
              <p:nvPr/>
            </p:nvSpPr>
            <p:spPr bwMode="auto">
              <a:xfrm>
                <a:off x="7556666" y="1208899"/>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8" name="Money_3" title="Icon of a dollar sign">
                <a:extLst>
                  <a:ext uri="{FF2B5EF4-FFF2-40B4-BE49-F238E27FC236}">
                    <a16:creationId xmlns:a16="http://schemas.microsoft.com/office/drawing/2014/main" id="{DD6AF220-B0C7-41C4-AC29-E986FE780BD3}"/>
                  </a:ext>
                </a:extLst>
              </p:cNvPr>
              <p:cNvSpPr>
                <a:spLocks noChangeAspect="1" noEditPoints="1"/>
              </p:cNvSpPr>
              <p:nvPr/>
            </p:nvSpPr>
            <p:spPr bwMode="auto">
              <a:xfrm>
                <a:off x="7561827" y="1028409"/>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79" name="Title 1">
            <a:extLst>
              <a:ext uri="{FF2B5EF4-FFF2-40B4-BE49-F238E27FC236}">
                <a16:creationId xmlns:a16="http://schemas.microsoft.com/office/drawing/2014/main" id="{1D1FF4C4-BB6D-479F-A79D-D21170C624CF}"/>
              </a:ext>
            </a:extLst>
          </p:cNvPr>
          <p:cNvSpPr txBox="1">
            <a:spLocks/>
          </p:cNvSpPr>
          <p:nvPr/>
        </p:nvSpPr>
        <p:spPr>
          <a:xfrm>
            <a:off x="652589"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oduct recommendation</a:t>
            </a:r>
            <a:endParaRPr kumimoji="0" lang="en-US" sz="1800"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82" name="Title 1">
            <a:extLst>
              <a:ext uri="{FF2B5EF4-FFF2-40B4-BE49-F238E27FC236}">
                <a16:creationId xmlns:a16="http://schemas.microsoft.com/office/drawing/2014/main" id="{A794B6EC-97A9-43EA-B25D-A3ADD36BC907}"/>
              </a:ext>
            </a:extLst>
          </p:cNvPr>
          <p:cNvSpPr txBox="1">
            <a:spLocks/>
          </p:cNvSpPr>
          <p:nvPr/>
        </p:nvSpPr>
        <p:spPr>
          <a:xfrm>
            <a:off x="4528074"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edictive maintenance</a:t>
            </a:r>
          </a:p>
        </p:txBody>
      </p:sp>
      <p:sp>
        <p:nvSpPr>
          <p:cNvPr id="183" name="Title 1">
            <a:extLst>
              <a:ext uri="{FF2B5EF4-FFF2-40B4-BE49-F238E27FC236}">
                <a16:creationId xmlns:a16="http://schemas.microsoft.com/office/drawing/2014/main" id="{4F5D5A98-8548-4311-B792-90A7CCC00A7A}"/>
              </a:ext>
            </a:extLst>
          </p:cNvPr>
          <p:cNvSpPr txBox="1">
            <a:spLocks/>
          </p:cNvSpPr>
          <p:nvPr/>
        </p:nvSpPr>
        <p:spPr>
          <a:xfrm>
            <a:off x="8438383"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Demand forecasting</a:t>
            </a:r>
          </a:p>
        </p:txBody>
      </p:sp>
      <p:sp>
        <p:nvSpPr>
          <p:cNvPr id="2" name="Rectangle 1">
            <a:extLst>
              <a:ext uri="{FF2B5EF4-FFF2-40B4-BE49-F238E27FC236}">
                <a16:creationId xmlns:a16="http://schemas.microsoft.com/office/drawing/2014/main" id="{F9ED5846-3D49-4D03-B147-6746723D71C1}"/>
              </a:ext>
            </a:extLst>
          </p:cNvPr>
          <p:cNvSpPr/>
          <p:nvPr/>
        </p:nvSpPr>
        <p:spPr bwMode="auto">
          <a:xfrm>
            <a:off x="460466" y="1272209"/>
            <a:ext cx="3474719"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38362BD3-B511-4826-99E2-D3D9BA729D28}"/>
              </a:ext>
            </a:extLst>
          </p:cNvPr>
          <p:cNvSpPr/>
          <p:nvPr/>
        </p:nvSpPr>
        <p:spPr bwMode="auto">
          <a:xfrm>
            <a:off x="4343954" y="1272209"/>
            <a:ext cx="3471877"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Rectangle 60">
            <a:extLst>
              <a:ext uri="{FF2B5EF4-FFF2-40B4-BE49-F238E27FC236}">
                <a16:creationId xmlns:a16="http://schemas.microsoft.com/office/drawing/2014/main" id="{A32C5EE6-149C-4D17-8301-AA97260CD8A9}"/>
              </a:ext>
            </a:extLst>
          </p:cNvPr>
          <p:cNvSpPr/>
          <p:nvPr/>
        </p:nvSpPr>
        <p:spPr bwMode="auto">
          <a:xfrm>
            <a:off x="8263455" y="1272209"/>
            <a:ext cx="3473426"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9F8E2A0-126B-4ECF-A8DD-49B7C699A194}"/>
              </a:ext>
            </a:extLst>
          </p:cNvPr>
          <p:cNvGrpSpPr/>
          <p:nvPr/>
        </p:nvGrpSpPr>
        <p:grpSpPr>
          <a:xfrm>
            <a:off x="537945" y="1864537"/>
            <a:ext cx="435228" cy="435228"/>
            <a:chOff x="537945" y="1864537"/>
            <a:chExt cx="435228" cy="435228"/>
          </a:xfrm>
        </p:grpSpPr>
        <p:sp>
          <p:nvSpPr>
            <p:cNvPr id="121" name="Oval 120">
              <a:extLst>
                <a:ext uri="{FF2B5EF4-FFF2-40B4-BE49-F238E27FC236}">
                  <a16:creationId xmlns:a16="http://schemas.microsoft.com/office/drawing/2014/main" id="{3E6A9A57-4D84-48E9-92EB-1AC3C2A26C67}"/>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65" name="Graphic 64">
              <a:extLst>
                <a:ext uri="{FF2B5EF4-FFF2-40B4-BE49-F238E27FC236}">
                  <a16:creationId xmlns:a16="http://schemas.microsoft.com/office/drawing/2014/main" id="{F1293B9D-C6C8-4B5F-B977-28B052D272B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grpSp>
        <p:nvGrpSpPr>
          <p:cNvPr id="72" name="Group 71">
            <a:extLst>
              <a:ext uri="{FF2B5EF4-FFF2-40B4-BE49-F238E27FC236}">
                <a16:creationId xmlns:a16="http://schemas.microsoft.com/office/drawing/2014/main" id="{63C5BAE2-16FD-4B6E-96D6-7C0B900B8383}"/>
              </a:ext>
            </a:extLst>
          </p:cNvPr>
          <p:cNvGrpSpPr/>
          <p:nvPr/>
        </p:nvGrpSpPr>
        <p:grpSpPr>
          <a:xfrm>
            <a:off x="4429225" y="1864537"/>
            <a:ext cx="435228" cy="435228"/>
            <a:chOff x="537945" y="1864537"/>
            <a:chExt cx="435228" cy="435228"/>
          </a:xfrm>
        </p:grpSpPr>
        <p:sp>
          <p:nvSpPr>
            <p:cNvPr id="73" name="Oval 72">
              <a:extLst>
                <a:ext uri="{FF2B5EF4-FFF2-40B4-BE49-F238E27FC236}">
                  <a16:creationId xmlns:a16="http://schemas.microsoft.com/office/drawing/2014/main" id="{4DB355FC-CC87-43D0-B46A-07E5CCC9A482}"/>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75" name="Graphic 74">
              <a:extLst>
                <a:ext uri="{FF2B5EF4-FFF2-40B4-BE49-F238E27FC236}">
                  <a16:creationId xmlns:a16="http://schemas.microsoft.com/office/drawing/2014/main" id="{5D438321-2BE1-4F2D-B633-37B089235EF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grpSp>
        <p:nvGrpSpPr>
          <p:cNvPr id="76" name="Group 75">
            <a:extLst>
              <a:ext uri="{FF2B5EF4-FFF2-40B4-BE49-F238E27FC236}">
                <a16:creationId xmlns:a16="http://schemas.microsoft.com/office/drawing/2014/main" id="{DF0032D2-C4B5-4357-BBCA-04D0188222BF}"/>
              </a:ext>
            </a:extLst>
          </p:cNvPr>
          <p:cNvGrpSpPr/>
          <p:nvPr/>
        </p:nvGrpSpPr>
        <p:grpSpPr>
          <a:xfrm>
            <a:off x="8340825" y="1864537"/>
            <a:ext cx="435228" cy="435228"/>
            <a:chOff x="537945" y="1864537"/>
            <a:chExt cx="435228" cy="435228"/>
          </a:xfrm>
        </p:grpSpPr>
        <p:sp>
          <p:nvSpPr>
            <p:cNvPr id="77" name="Oval 76">
              <a:extLst>
                <a:ext uri="{FF2B5EF4-FFF2-40B4-BE49-F238E27FC236}">
                  <a16:creationId xmlns:a16="http://schemas.microsoft.com/office/drawing/2014/main" id="{C2DD6CF0-2AE3-4C7E-B86F-FE7E50CF0044}"/>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78" name="Graphic 77">
              <a:extLst>
                <a:ext uri="{FF2B5EF4-FFF2-40B4-BE49-F238E27FC236}">
                  <a16:creationId xmlns:a16="http://schemas.microsoft.com/office/drawing/2014/main" id="{9F7F629D-7246-402C-A01C-0DA0032DA8E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pic>
        <p:nvPicPr>
          <p:cNvPr id="80" name="Picture 79">
            <a:extLst>
              <a:ext uri="{FF2B5EF4-FFF2-40B4-BE49-F238E27FC236}">
                <a16:creationId xmlns:a16="http://schemas.microsoft.com/office/drawing/2014/main" id="{06BDAA30-BF5B-4212-8FDC-31E8B616957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8263455" y="4037076"/>
            <a:ext cx="3473426"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sp>
        <p:nvSpPr>
          <p:cNvPr id="105" name="Freeform: Shape 104">
            <a:extLst>
              <a:ext uri="{FF2B5EF4-FFF2-40B4-BE49-F238E27FC236}">
                <a16:creationId xmlns:a16="http://schemas.microsoft.com/office/drawing/2014/main" id="{A8839904-86A3-4E84-8CCF-6EE9FCB16F48}"/>
              </a:ext>
            </a:extLst>
          </p:cNvPr>
          <p:cNvSpPr/>
          <p:nvPr/>
        </p:nvSpPr>
        <p:spPr bwMode="auto">
          <a:xfrm>
            <a:off x="8263455"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8288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buSzPct val="90000"/>
              <a:defRPr/>
            </a:pPr>
            <a:r>
              <a:rPr lang="en-US" sz="1400" dirty="0">
                <a:solidFill>
                  <a:srgbClr val="FFFFFF"/>
                </a:solidFill>
                <a:latin typeface="Segoe UI" panose="020B0502040204020203" pitchFamily="34" charset="0"/>
                <a:cs typeface="Segoe UI" panose="020B0502040204020203" pitchFamily="34" charset="0"/>
              </a:rPr>
              <a:t>Distributed power generation increases revenue by over </a:t>
            </a:r>
            <a:r>
              <a:rPr lang="en-US" sz="1400" dirty="0">
                <a:solidFill>
                  <a:srgbClr val="FFFFFF"/>
                </a:solidFill>
                <a:latin typeface="+mj-lt"/>
                <a:cs typeface="Segoe UI" panose="020B0502040204020203" pitchFamily="34" charset="0"/>
              </a:rPr>
              <a:t>€100 million</a:t>
            </a:r>
          </a:p>
        </p:txBody>
      </p:sp>
      <p:pic>
        <p:nvPicPr>
          <p:cNvPr id="107" name="Picture 2" descr="renewablesAI">
            <a:extLst>
              <a:ext uri="{FF2B5EF4-FFF2-40B4-BE49-F238E27FC236}">
                <a16:creationId xmlns:a16="http://schemas.microsoft.com/office/drawing/2014/main" id="{68692FD9-C634-47FD-8231-570071312A8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457883" y="5277332"/>
            <a:ext cx="694070" cy="535426"/>
          </a:xfrm>
          <a:prstGeom prst="rect">
            <a:avLst/>
          </a:prstGeom>
          <a:noFill/>
          <a:extLst>
            <a:ext uri="{909E8E84-426E-40DD-AFC4-6F175D3DCCD1}">
              <a14:hiddenFill xmlns:a14="http://schemas.microsoft.com/office/drawing/2010/main">
                <a:solidFill>
                  <a:srgbClr val="FFFFFF"/>
                </a:solidFill>
              </a14:hiddenFill>
            </a:ext>
          </a:extLst>
        </p:spPr>
      </p:pic>
      <p:sp>
        <p:nvSpPr>
          <p:cNvPr id="89" name="Freeform: Shape 88">
            <a:extLst>
              <a:ext uri="{FF2B5EF4-FFF2-40B4-BE49-F238E27FC236}">
                <a16:creationId xmlns:a16="http://schemas.microsoft.com/office/drawing/2014/main" id="{D4C2F3E3-800A-4239-97E6-06A1C3BDEA99}"/>
              </a:ext>
            </a:extLst>
          </p:cNvPr>
          <p:cNvSpPr/>
          <p:nvPr/>
        </p:nvSpPr>
        <p:spPr bwMode="auto">
          <a:xfrm>
            <a:off x="453470" y="5217863"/>
            <a:ext cx="348171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ASOS delivers 15.4 million personalized experiences with </a:t>
            </a:r>
            <a:r>
              <a:rPr kumimoji="0" lang="en-US" sz="1400" b="0" i="0" u="none" strike="noStrike" kern="1200" cap="none" spc="0" normalizeH="0" baseline="0" noProof="0" dirty="0">
                <a:ln>
                  <a:noFill/>
                </a:ln>
                <a:solidFill>
                  <a:srgbClr val="FFFFFF"/>
                </a:solidFill>
                <a:effectLst/>
                <a:uLnTx/>
                <a:uFillTx/>
                <a:latin typeface="+mj-lt"/>
                <a:cs typeface="Segoe UI" panose="020B0502040204020203" pitchFamily="34" charset="0"/>
              </a:rPr>
              <a:t>33 orders per second </a:t>
            </a:r>
          </a:p>
        </p:txBody>
      </p:sp>
      <p:pic>
        <p:nvPicPr>
          <p:cNvPr id="108" name="Picture 8" descr="Image result for asos logo vector">
            <a:extLst>
              <a:ext uri="{FF2B5EF4-FFF2-40B4-BE49-F238E27FC236}">
                <a16:creationId xmlns:a16="http://schemas.microsoft.com/office/drawing/2014/main" id="{A3F55991-12AF-49CF-821E-90F8CBB5659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12657" y="5441050"/>
            <a:ext cx="748276" cy="276906"/>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30B0DF01-764F-404C-B04A-186B9F9108DF}"/>
              </a:ext>
            </a:extLst>
          </p:cNvPr>
          <p:cNvSpPr>
            <a:spLocks noChangeAspect="1"/>
          </p:cNvSpPr>
          <p:nvPr/>
        </p:nvSpPr>
        <p:spPr bwMode="auto">
          <a:xfrm>
            <a:off x="716281" y="3413761"/>
            <a:ext cx="113462" cy="113462"/>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050" b="1" dirty="0">
                <a:solidFill>
                  <a:schemeClr val="tx2"/>
                </a:solidFill>
                <a:ea typeface="Segoe UI" pitchFamily="34" charset="0"/>
                <a:cs typeface="Segoe UI" pitchFamily="34" charset="0"/>
              </a:rPr>
              <a:t>+</a:t>
            </a:r>
          </a:p>
        </p:txBody>
      </p:sp>
    </p:spTree>
    <p:extLst>
      <p:ext uri="{BB962C8B-B14F-4D97-AF65-F5344CB8AC3E}">
        <p14:creationId xmlns:p14="http://schemas.microsoft.com/office/powerpoint/2010/main" val="256630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FF6A665-326B-4138-BCD2-1A9EA62962AE}"/>
              </a:ext>
            </a:extLst>
          </p:cNvPr>
          <p:cNvCxnSpPr>
            <a:cxnSpLocks/>
          </p:cNvCxnSpPr>
          <p:nvPr/>
        </p:nvCxnSpPr>
        <p:spPr>
          <a:xfrm>
            <a:off x="1044437" y="2447249"/>
            <a:ext cx="7955280" cy="1258652"/>
          </a:xfrm>
          <a:prstGeom prst="bentConnector3">
            <a:avLst>
              <a:gd name="adj1" fmla="val 83"/>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95FB262-BAAE-4625-989E-9428519F14E2}"/>
              </a:ext>
            </a:extLst>
          </p:cNvPr>
          <p:cNvSpPr/>
          <p:nvPr/>
        </p:nvSpPr>
        <p:spPr bwMode="auto">
          <a:xfrm>
            <a:off x="2152935" y="3133797"/>
            <a:ext cx="1754984"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F0188173-5B6E-447E-9F79-26DD9AC613FE}"/>
              </a:ext>
            </a:extLst>
          </p:cNvPr>
          <p:cNvSpPr>
            <a:spLocks noGrp="1"/>
          </p:cNvSpPr>
          <p:nvPr>
            <p:ph type="title"/>
          </p:nvPr>
        </p:nvSpPr>
        <p:spPr/>
        <p:txBody>
          <a:bodyPr vert="horz" wrap="square" lIns="0" tIns="164592" rIns="0" bIns="0" rtlCol="0" anchor="t">
            <a:noAutofit/>
          </a:bodyPr>
          <a:lstStyle/>
          <a:p>
            <a:r>
              <a:rPr lang="en-US" spc="-150" dirty="0"/>
              <a:t>How companies </a:t>
            </a:r>
            <a:r>
              <a:rPr lang="en-US" spc="-150"/>
              <a:t>are transforming</a:t>
            </a:r>
            <a:endParaRPr lang="en-US" spc="-150" dirty="0"/>
          </a:p>
        </p:txBody>
      </p:sp>
      <p:sp>
        <p:nvSpPr>
          <p:cNvPr id="25" name="Rectangle 24">
            <a:extLst>
              <a:ext uri="{FF2B5EF4-FFF2-40B4-BE49-F238E27FC236}">
                <a16:creationId xmlns:a16="http://schemas.microsoft.com/office/drawing/2014/main" id="{F7C282A1-442D-4FAA-B4AC-01B754F4D14D}"/>
              </a:ext>
            </a:extLst>
          </p:cNvPr>
          <p:cNvSpPr/>
          <p:nvPr/>
        </p:nvSpPr>
        <p:spPr bwMode="auto">
          <a:xfrm>
            <a:off x="2026601"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uild a unified and</a:t>
            </a:r>
            <a:b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usable data pipeline</a:t>
            </a: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C1FC523-A564-4B80-959F-ACF585DE62A2}"/>
              </a:ext>
            </a:extLst>
          </p:cNvPr>
          <p:cNvSpPr/>
          <p:nvPr/>
        </p:nvSpPr>
        <p:spPr bwMode="auto">
          <a:xfrm>
            <a:off x="5215405" y="4714503"/>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rain ML and DL</a:t>
            </a:r>
            <a:b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s to derive insights</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15BB76E-22FA-4E47-9D25-D2DACA4D5D4B}"/>
              </a:ext>
            </a:extLst>
          </p:cNvPr>
          <p:cNvSpPr/>
          <p:nvPr/>
        </p:nvSpPr>
        <p:spPr bwMode="auto">
          <a:xfrm>
            <a:off x="8641635"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models and distribute insights at scale</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31" name="Rectangle 30">
            <a:extLst>
              <a:ext uri="{FF2B5EF4-FFF2-40B4-BE49-F238E27FC236}">
                <a16:creationId xmlns:a16="http://schemas.microsoft.com/office/drawing/2014/main" id="{F380E147-6A04-44CC-BE0D-22C5EC550AEA}"/>
              </a:ext>
            </a:extLst>
          </p:cNvPr>
          <p:cNvSpPr/>
          <p:nvPr/>
        </p:nvSpPr>
        <p:spPr bwMode="auto">
          <a:xfrm>
            <a:off x="2095567" y="1508126"/>
            <a:ext cx="9276905" cy="8388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Serving business users and end users with</a:t>
            </a:r>
            <a:r>
              <a:rPr kumimoji="0" lang="en-US" sz="24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2400" i="0" u="none" strike="noStrike" kern="1200" cap="none" spc="0" normalizeH="0" baseline="0" noProof="0" dirty="0">
                <a:ln>
                  <a:noFill/>
                </a:ln>
                <a:solidFill>
                  <a:srgbClr val="0078D7"/>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telligent</a:t>
            </a:r>
            <a:br>
              <a:rPr lang="en-US" sz="2400" dirty="0">
                <a:solidFill>
                  <a:srgbClr val="0078D7"/>
                </a:solidFill>
                <a:latin typeface="Segoe UI Semibold" panose="020B0702040204020203" pitchFamily="34" charset="0"/>
                <a:ea typeface="Segoe UI" panose="020B0502040204020203" pitchFamily="34" charset="0"/>
                <a:cs typeface="Segoe UI Semibold" panose="020B0702040204020203" pitchFamily="34" charset="0"/>
              </a:rPr>
            </a:b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nd </a:t>
            </a:r>
            <a:r>
              <a:rPr lang="en-US" sz="2400" dirty="0">
                <a:solidFill>
                  <a:srgbClr val="0078D7"/>
                </a:solidFill>
                <a:latin typeface="Segoe UI Semibold" panose="020B0702040204020203" pitchFamily="34" charset="0"/>
                <a:cs typeface="Segoe UI Semibold" panose="020B0702040204020203" pitchFamily="34" charset="0"/>
              </a:rPr>
              <a:t>dynamic</a:t>
            </a:r>
            <a:r>
              <a:rPr lang="en-US" sz="2400" b="1" dirty="0">
                <a:solidFill>
                  <a:srgbClr val="0078D7"/>
                </a:solidFill>
                <a:latin typeface="Segoe UI" panose="020B0502040204020203" pitchFamily="34" charset="0"/>
                <a:cs typeface="Segoe UI" panose="020B0502040204020203" pitchFamily="34" charset="0"/>
              </a:rPr>
              <a:t> </a:t>
            </a: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grpSp>
        <p:nvGrpSpPr>
          <p:cNvPr id="4127" name="Group 4126">
            <a:extLst>
              <a:ext uri="{FF2B5EF4-FFF2-40B4-BE49-F238E27FC236}">
                <a16:creationId xmlns:a16="http://schemas.microsoft.com/office/drawing/2014/main" id="{1D33F172-C70E-497F-946A-CCE81CDFE3C4}"/>
              </a:ext>
            </a:extLst>
          </p:cNvPr>
          <p:cNvGrpSpPr/>
          <p:nvPr/>
        </p:nvGrpSpPr>
        <p:grpSpPr>
          <a:xfrm>
            <a:off x="603601" y="1610165"/>
            <a:ext cx="1258947" cy="727920"/>
            <a:chOff x="632695" y="1636728"/>
            <a:chExt cx="977706" cy="565307"/>
          </a:xfrm>
        </p:grpSpPr>
        <p:grpSp>
          <p:nvGrpSpPr>
            <p:cNvPr id="4123" name="Group 4122">
              <a:extLst>
                <a:ext uri="{FF2B5EF4-FFF2-40B4-BE49-F238E27FC236}">
                  <a16:creationId xmlns:a16="http://schemas.microsoft.com/office/drawing/2014/main" id="{995411BE-2473-4982-A52B-7E96475C3F92}"/>
                </a:ext>
              </a:extLst>
            </p:cNvPr>
            <p:cNvGrpSpPr/>
            <p:nvPr/>
          </p:nvGrpSpPr>
          <p:grpSpPr>
            <a:xfrm>
              <a:off x="697945" y="1636728"/>
              <a:ext cx="577342" cy="442472"/>
              <a:chOff x="697945" y="1636728"/>
              <a:chExt cx="577342" cy="442472"/>
            </a:xfrm>
          </p:grpSpPr>
          <p:sp>
            <p:nvSpPr>
              <p:cNvPr id="92" name="monitor" title="Icon of a monitor">
                <a:extLst>
                  <a:ext uri="{FF2B5EF4-FFF2-40B4-BE49-F238E27FC236}">
                    <a16:creationId xmlns:a16="http://schemas.microsoft.com/office/drawing/2014/main" id="{EDB2B81E-F30A-4A52-BB56-933E10062560}"/>
                  </a:ext>
                </a:extLst>
              </p:cNvPr>
              <p:cNvSpPr>
                <a:spLocks noChangeAspect="1" noEditPoints="1"/>
              </p:cNvSpPr>
              <p:nvPr/>
            </p:nvSpPr>
            <p:spPr bwMode="auto">
              <a:xfrm>
                <a:off x="697945" y="1636728"/>
                <a:ext cx="577342" cy="44247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93" name="Financial_E7BB" title="Icon of a chart made of vertical lines with a line tracing the top of each, turning into an arrow pointing up">
                <a:extLst>
                  <a:ext uri="{FF2B5EF4-FFF2-40B4-BE49-F238E27FC236}">
                    <a16:creationId xmlns:a16="http://schemas.microsoft.com/office/drawing/2014/main" id="{424848BC-8776-4FD6-ACA0-2F833355FECE}"/>
                  </a:ext>
                </a:extLst>
              </p:cNvPr>
              <p:cNvSpPr>
                <a:spLocks noChangeAspect="1" noEditPoints="1"/>
              </p:cNvSpPr>
              <p:nvPr/>
            </p:nvSpPr>
            <p:spPr bwMode="auto">
              <a:xfrm>
                <a:off x="745406" y="1747754"/>
                <a:ext cx="247099" cy="22042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4" name="graph_4" title="Icon of a pie chart">
                <a:extLst>
                  <a:ext uri="{FF2B5EF4-FFF2-40B4-BE49-F238E27FC236}">
                    <a16:creationId xmlns:a16="http://schemas.microsoft.com/office/drawing/2014/main" id="{36985687-882F-4D6B-9307-26F9D882C6C6}"/>
                  </a:ext>
                </a:extLst>
              </p:cNvPr>
              <p:cNvSpPr>
                <a:spLocks noChangeAspect="1" noEditPoints="1"/>
              </p:cNvSpPr>
              <p:nvPr/>
            </p:nvSpPr>
            <p:spPr bwMode="auto">
              <a:xfrm>
                <a:off x="1039193" y="1750695"/>
                <a:ext cx="193576" cy="19277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96" name="people_4" title="Icon of a person">
              <a:extLst>
                <a:ext uri="{FF2B5EF4-FFF2-40B4-BE49-F238E27FC236}">
                  <a16:creationId xmlns:a16="http://schemas.microsoft.com/office/drawing/2014/main" id="{E60E081D-54B8-4867-8515-197969583A57}"/>
                </a:ext>
              </a:extLst>
            </p:cNvPr>
            <p:cNvSpPr>
              <a:spLocks noChangeAspect="1" noEditPoints="1"/>
            </p:cNvSpPr>
            <p:nvPr/>
          </p:nvSpPr>
          <p:spPr bwMode="auto">
            <a:xfrm>
              <a:off x="1283240" y="1836275"/>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4125" name="Straight Connector 4124">
              <a:extLst>
                <a:ext uri="{FF2B5EF4-FFF2-40B4-BE49-F238E27FC236}">
                  <a16:creationId xmlns:a16="http://schemas.microsoft.com/office/drawing/2014/main" id="{9BBF311E-A4A0-42E9-8A87-71B821D41671}"/>
                </a:ext>
              </a:extLst>
            </p:cNvPr>
            <p:cNvCxnSpPr>
              <a:cxnSpLocks/>
            </p:cNvCxnSpPr>
            <p:nvPr/>
          </p:nvCxnSpPr>
          <p:spPr>
            <a:xfrm flipH="1">
              <a:off x="632695" y="2106930"/>
              <a:ext cx="660304" cy="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C3A51BF-9A86-4F62-9638-C9BC89399D88}"/>
              </a:ext>
            </a:extLst>
          </p:cNvPr>
          <p:cNvGrpSpPr/>
          <p:nvPr/>
        </p:nvGrpSpPr>
        <p:grpSpPr>
          <a:xfrm>
            <a:off x="2449432" y="3208975"/>
            <a:ext cx="1125756" cy="1008056"/>
            <a:chOff x="2449432" y="3208975"/>
            <a:chExt cx="1125756" cy="1008056"/>
          </a:xfrm>
        </p:grpSpPr>
        <p:sp>
          <p:nvSpPr>
            <p:cNvPr id="101" name="building_4" title="Icon of a warehouse with three doors">
              <a:extLst>
                <a:ext uri="{FF2B5EF4-FFF2-40B4-BE49-F238E27FC236}">
                  <a16:creationId xmlns:a16="http://schemas.microsoft.com/office/drawing/2014/main" id="{ACA785F5-13DD-4826-B03A-4983251BDBF9}"/>
                </a:ext>
              </a:extLst>
            </p:cNvPr>
            <p:cNvSpPr>
              <a:spLocks noChangeAspect="1" noEditPoints="1"/>
            </p:cNvSpPr>
            <p:nvPr/>
          </p:nvSpPr>
          <p:spPr bwMode="auto">
            <a:xfrm>
              <a:off x="2733062" y="3910089"/>
              <a:ext cx="558496" cy="30694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02" name="Database_EFC7" title="Icon of a cylinder">
              <a:extLst>
                <a:ext uri="{FF2B5EF4-FFF2-40B4-BE49-F238E27FC236}">
                  <a16:creationId xmlns:a16="http://schemas.microsoft.com/office/drawing/2014/main" id="{E0F1D7E9-930E-45D7-BEBF-E8A6E8D838CC}"/>
                </a:ext>
              </a:extLst>
            </p:cNvPr>
            <p:cNvSpPr>
              <a:spLocks noChangeAspect="1" noEditPoints="1"/>
            </p:cNvSpPr>
            <p:nvPr/>
          </p:nvSpPr>
          <p:spPr bwMode="auto">
            <a:xfrm>
              <a:off x="244943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03" name="Database_EFC7" title="Icon of a cylinder">
              <a:extLst>
                <a:ext uri="{FF2B5EF4-FFF2-40B4-BE49-F238E27FC236}">
                  <a16:creationId xmlns:a16="http://schemas.microsoft.com/office/drawing/2014/main" id="{D3926EC1-0F78-4F07-9B56-F5A350E31F9B}"/>
                </a:ext>
              </a:extLst>
            </p:cNvPr>
            <p:cNvSpPr>
              <a:spLocks noChangeAspect="1" noEditPoints="1"/>
            </p:cNvSpPr>
            <p:nvPr/>
          </p:nvSpPr>
          <p:spPr bwMode="auto">
            <a:xfrm>
              <a:off x="337145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04" name="Database_EFC7" title="Icon of a cylinder">
              <a:extLst>
                <a:ext uri="{FF2B5EF4-FFF2-40B4-BE49-F238E27FC236}">
                  <a16:creationId xmlns:a16="http://schemas.microsoft.com/office/drawing/2014/main" id="{58A5F187-C380-4381-B607-B7DA97CE7429}"/>
                </a:ext>
              </a:extLst>
            </p:cNvPr>
            <p:cNvSpPr>
              <a:spLocks noChangeAspect="1" noEditPoints="1"/>
            </p:cNvSpPr>
            <p:nvPr/>
          </p:nvSpPr>
          <p:spPr bwMode="auto">
            <a:xfrm>
              <a:off x="2910442" y="3208975"/>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68" name="Straight Connector 67">
              <a:extLst>
                <a:ext uri="{FF2B5EF4-FFF2-40B4-BE49-F238E27FC236}">
                  <a16:creationId xmlns:a16="http://schemas.microsoft.com/office/drawing/2014/main" id="{21048715-39FF-4542-9012-7319E99CAF2E}"/>
                </a:ext>
              </a:extLst>
            </p:cNvPr>
            <p:cNvCxnSpPr/>
            <p:nvPr/>
          </p:nvCxnSpPr>
          <p:spPr>
            <a:xfrm>
              <a:off x="3012310" y="3520918"/>
              <a:ext cx="0" cy="340995"/>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D507289-0417-402E-966F-AD2BEA03A050}"/>
                </a:ext>
              </a:extLst>
            </p:cNvPr>
            <p:cNvCxnSpPr>
              <a:cxnSpLocks/>
            </p:cNvCxnSpPr>
            <p:nvPr/>
          </p:nvCxnSpPr>
          <p:spPr>
            <a:xfrm flipH="1">
              <a:off x="3243957" y="3809800"/>
              <a:ext cx="112395" cy="100289"/>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F761A42-C72E-417C-A579-F14D28AA132F}"/>
                </a:ext>
              </a:extLst>
            </p:cNvPr>
            <p:cNvCxnSpPr>
              <a:cxnSpLocks/>
            </p:cNvCxnSpPr>
            <p:nvPr/>
          </p:nvCxnSpPr>
          <p:spPr>
            <a:xfrm>
              <a:off x="2653168" y="3809800"/>
              <a:ext cx="112395" cy="100289"/>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3CBAE87-9575-4040-811A-FA81C9E656E1}"/>
              </a:ext>
            </a:extLst>
          </p:cNvPr>
          <p:cNvGrpSpPr/>
          <p:nvPr/>
        </p:nvGrpSpPr>
        <p:grpSpPr>
          <a:xfrm>
            <a:off x="5697603" y="3133797"/>
            <a:ext cx="1293223" cy="1143000"/>
            <a:chOff x="5697603" y="3133797"/>
            <a:chExt cx="1293223" cy="1143000"/>
          </a:xfrm>
        </p:grpSpPr>
        <p:sp>
          <p:nvSpPr>
            <p:cNvPr id="42" name="Rectangle 41">
              <a:extLst>
                <a:ext uri="{FF2B5EF4-FFF2-40B4-BE49-F238E27FC236}">
                  <a16:creationId xmlns:a16="http://schemas.microsoft.com/office/drawing/2014/main" id="{22EABBB6-1EB1-4E51-97D1-907667A51DAA}"/>
                </a:ext>
              </a:extLst>
            </p:cNvPr>
            <p:cNvSpPr/>
            <p:nvPr/>
          </p:nvSpPr>
          <p:spPr bwMode="auto">
            <a:xfrm>
              <a:off x="5697603" y="3133797"/>
              <a:ext cx="1293223"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CC413B15-FF2A-406A-A0BC-5B9145F86A42}"/>
                </a:ext>
              </a:extLst>
            </p:cNvPr>
            <p:cNvGrpSpPr/>
            <p:nvPr/>
          </p:nvGrpSpPr>
          <p:grpSpPr>
            <a:xfrm>
              <a:off x="5949541" y="3186908"/>
              <a:ext cx="714514" cy="950750"/>
              <a:chOff x="6265906" y="3186908"/>
              <a:chExt cx="714514" cy="950750"/>
            </a:xfrm>
          </p:grpSpPr>
          <p:sp>
            <p:nvSpPr>
              <p:cNvPr id="9" name="Freeform: Shape 8">
                <a:extLst>
                  <a:ext uri="{FF2B5EF4-FFF2-40B4-BE49-F238E27FC236}">
                    <a16:creationId xmlns:a16="http://schemas.microsoft.com/office/drawing/2014/main" id="{75BC1A68-9AFF-4DB1-A1D0-8042BE9F23F3}"/>
                  </a:ext>
                </a:extLst>
              </p:cNvPr>
              <p:cNvSpPr/>
              <p:nvPr/>
            </p:nvSpPr>
            <p:spPr>
              <a:xfrm>
                <a:off x="6283334" y="3186908"/>
                <a:ext cx="697086" cy="890723"/>
              </a:xfrm>
              <a:custGeom>
                <a:avLst/>
                <a:gdLst>
                  <a:gd name="connsiteX0" fmla="*/ 675233 w 697086"/>
                  <a:gd name="connsiteY0" fmla="*/ 183401 h 890723"/>
                  <a:gd name="connsiteX1" fmla="*/ 686851 w 697086"/>
                  <a:gd name="connsiteY1" fmla="*/ 183401 h 890723"/>
                  <a:gd name="connsiteX2" fmla="*/ 686851 w 697086"/>
                  <a:gd name="connsiteY2" fmla="*/ 756562 h 890723"/>
                  <a:gd name="connsiteX3" fmla="*/ 351863 w 697086"/>
                  <a:gd name="connsiteY3" fmla="*/ 892107 h 890723"/>
                  <a:gd name="connsiteX4" fmla="*/ 16874 w 697086"/>
                  <a:gd name="connsiteY4" fmla="*/ 756562 h 890723"/>
                  <a:gd name="connsiteX5" fmla="*/ 16874 w 697086"/>
                  <a:gd name="connsiteY5" fmla="*/ 183401 h 890723"/>
                  <a:gd name="connsiteX6" fmla="*/ 28492 w 697086"/>
                  <a:gd name="connsiteY6" fmla="*/ 183401 h 890723"/>
                  <a:gd name="connsiteX7" fmla="*/ 351863 w 697086"/>
                  <a:gd name="connsiteY7" fmla="*/ 284091 h 890723"/>
                  <a:gd name="connsiteX8" fmla="*/ 675233 w 697086"/>
                  <a:gd name="connsiteY8" fmla="*/ 183401 h 890723"/>
                  <a:gd name="connsiteX9" fmla="*/ 675233 w 697086"/>
                  <a:gd name="connsiteY9" fmla="*/ 183401 h 890723"/>
                  <a:gd name="connsiteX10" fmla="*/ 349927 w 697086"/>
                  <a:gd name="connsiteY10" fmla="*/ 14938 h 890723"/>
                  <a:gd name="connsiteX11" fmla="*/ 14938 w 697086"/>
                  <a:gd name="connsiteY11" fmla="*/ 150483 h 890723"/>
                  <a:gd name="connsiteX12" fmla="*/ 349927 w 697086"/>
                  <a:gd name="connsiteY12" fmla="*/ 286028 h 890723"/>
                  <a:gd name="connsiteX13" fmla="*/ 684915 w 697086"/>
                  <a:gd name="connsiteY13" fmla="*/ 150483 h 890723"/>
                  <a:gd name="connsiteX14" fmla="*/ 349927 w 697086"/>
                  <a:gd name="connsiteY14" fmla="*/ 14938 h 890723"/>
                  <a:gd name="connsiteX15" fmla="*/ 349927 w 697086"/>
                  <a:gd name="connsiteY15" fmla="*/ 14938 h 89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7086" h="890723">
                    <a:moveTo>
                      <a:pt x="675233" y="183401"/>
                    </a:moveTo>
                    <a:cubicBezTo>
                      <a:pt x="686851" y="183401"/>
                      <a:pt x="686851" y="183401"/>
                      <a:pt x="686851" y="183401"/>
                    </a:cubicBezTo>
                    <a:cubicBezTo>
                      <a:pt x="686851" y="756562"/>
                      <a:pt x="686851" y="756562"/>
                      <a:pt x="686851" y="756562"/>
                    </a:cubicBezTo>
                    <a:cubicBezTo>
                      <a:pt x="686851" y="832080"/>
                      <a:pt x="537753" y="892107"/>
                      <a:pt x="351863" y="892107"/>
                    </a:cubicBezTo>
                    <a:cubicBezTo>
                      <a:pt x="167910" y="892107"/>
                      <a:pt x="16874" y="832080"/>
                      <a:pt x="16874" y="756562"/>
                    </a:cubicBezTo>
                    <a:cubicBezTo>
                      <a:pt x="16874" y="183401"/>
                      <a:pt x="16874" y="183401"/>
                      <a:pt x="16874" y="183401"/>
                    </a:cubicBezTo>
                    <a:cubicBezTo>
                      <a:pt x="28492" y="183401"/>
                      <a:pt x="28492" y="183401"/>
                      <a:pt x="28492" y="183401"/>
                    </a:cubicBezTo>
                    <a:cubicBezTo>
                      <a:pt x="65283" y="241492"/>
                      <a:pt x="196955" y="284091"/>
                      <a:pt x="351863" y="284091"/>
                    </a:cubicBezTo>
                    <a:cubicBezTo>
                      <a:pt x="506771" y="284091"/>
                      <a:pt x="636506" y="241492"/>
                      <a:pt x="675233" y="183401"/>
                    </a:cubicBezTo>
                    <a:lnTo>
                      <a:pt x="675233" y="183401"/>
                    </a:lnTo>
                    <a:close/>
                    <a:moveTo>
                      <a:pt x="349927" y="14938"/>
                    </a:moveTo>
                    <a:cubicBezTo>
                      <a:pt x="165973" y="14938"/>
                      <a:pt x="14938" y="74965"/>
                      <a:pt x="14938" y="150483"/>
                    </a:cubicBezTo>
                    <a:cubicBezTo>
                      <a:pt x="14938" y="224064"/>
                      <a:pt x="164037" y="286028"/>
                      <a:pt x="349927" y="286028"/>
                    </a:cubicBezTo>
                    <a:cubicBezTo>
                      <a:pt x="533880" y="286028"/>
                      <a:pt x="684915" y="226001"/>
                      <a:pt x="684915" y="150483"/>
                    </a:cubicBezTo>
                    <a:cubicBezTo>
                      <a:pt x="684915" y="74965"/>
                      <a:pt x="535816" y="14938"/>
                      <a:pt x="349927" y="14938"/>
                    </a:cubicBezTo>
                    <a:lnTo>
                      <a:pt x="349927" y="1493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F4D38886-950E-4E8F-B1BA-ED1B0DCA155E}"/>
                  </a:ext>
                </a:extLst>
              </p:cNvPr>
              <p:cNvSpPr/>
              <p:nvPr/>
            </p:nvSpPr>
            <p:spPr bwMode="auto">
              <a:xfrm rot="2585503">
                <a:off x="6350076" y="3988333"/>
                <a:ext cx="57439" cy="828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 name="Group 16">
                <a:extLst>
                  <a:ext uri="{FF2B5EF4-FFF2-40B4-BE49-F238E27FC236}">
                    <a16:creationId xmlns:a16="http://schemas.microsoft.com/office/drawing/2014/main" id="{A1ADF4DA-0C68-419A-9A18-625BE4F972D1}"/>
                  </a:ext>
                </a:extLst>
              </p:cNvPr>
              <p:cNvGrpSpPr/>
              <p:nvPr/>
            </p:nvGrpSpPr>
            <p:grpSpPr>
              <a:xfrm>
                <a:off x="6265906" y="3576115"/>
                <a:ext cx="561542" cy="561543"/>
                <a:chOff x="6265906" y="3576115"/>
                <a:chExt cx="561542" cy="561543"/>
              </a:xfrm>
            </p:grpSpPr>
            <p:sp>
              <p:nvSpPr>
                <p:cNvPr id="8" name="Freeform: Shape 7">
                  <a:extLst>
                    <a:ext uri="{FF2B5EF4-FFF2-40B4-BE49-F238E27FC236}">
                      <a16:creationId xmlns:a16="http://schemas.microsoft.com/office/drawing/2014/main" id="{1AB65DB3-D17C-479A-8D86-7E5A08B24618}"/>
                    </a:ext>
                  </a:extLst>
                </p:cNvPr>
                <p:cNvSpPr/>
                <p:nvPr/>
              </p:nvSpPr>
              <p:spPr>
                <a:xfrm>
                  <a:off x="6265906" y="3576115"/>
                  <a:ext cx="561542" cy="561543"/>
                </a:xfrm>
                <a:custGeom>
                  <a:avLst/>
                  <a:gdLst>
                    <a:gd name="connsiteX0" fmla="*/ 359608 w 561541"/>
                    <a:gd name="connsiteY0" fmla="*/ 408018 h 561542"/>
                    <a:gd name="connsiteX1" fmla="*/ 555180 w 561541"/>
                    <a:gd name="connsiteY1" fmla="*/ 210510 h 561542"/>
                    <a:gd name="connsiteX2" fmla="*/ 359608 w 561541"/>
                    <a:gd name="connsiteY2" fmla="*/ 14938 h 561542"/>
                    <a:gd name="connsiteX3" fmla="*/ 165973 w 561541"/>
                    <a:gd name="connsiteY3" fmla="*/ 210510 h 561542"/>
                    <a:gd name="connsiteX4" fmla="*/ 359608 w 561541"/>
                    <a:gd name="connsiteY4" fmla="*/ 408018 h 561542"/>
                    <a:gd name="connsiteX5" fmla="*/ 359608 w 561541"/>
                    <a:gd name="connsiteY5" fmla="*/ 408018 h 561542"/>
                    <a:gd name="connsiteX6" fmla="*/ 14938 w 561541"/>
                    <a:gd name="connsiteY6" fmla="*/ 553245 h 561542"/>
                    <a:gd name="connsiteX7" fmla="*/ 222127 w 561541"/>
                    <a:gd name="connsiteY7" fmla="*/ 347991 h 56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541" h="561542">
                      <a:moveTo>
                        <a:pt x="359608" y="408018"/>
                      </a:moveTo>
                      <a:cubicBezTo>
                        <a:pt x="468044" y="408018"/>
                        <a:pt x="555180" y="318946"/>
                        <a:pt x="555180" y="210510"/>
                      </a:cubicBezTo>
                      <a:cubicBezTo>
                        <a:pt x="555180" y="102074"/>
                        <a:pt x="468044" y="14938"/>
                        <a:pt x="359608" y="14938"/>
                      </a:cubicBezTo>
                      <a:cubicBezTo>
                        <a:pt x="253109" y="14938"/>
                        <a:pt x="165973" y="104010"/>
                        <a:pt x="165973" y="210510"/>
                      </a:cubicBezTo>
                      <a:cubicBezTo>
                        <a:pt x="165973" y="320882"/>
                        <a:pt x="253109" y="408018"/>
                        <a:pt x="359608" y="408018"/>
                      </a:cubicBezTo>
                      <a:lnTo>
                        <a:pt x="359608" y="408018"/>
                      </a:lnTo>
                      <a:close/>
                      <a:moveTo>
                        <a:pt x="14938" y="553245"/>
                      </a:moveTo>
                      <a:cubicBezTo>
                        <a:pt x="222127" y="347991"/>
                        <a:pt x="222127" y="347991"/>
                        <a:pt x="222127" y="347991"/>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67E979F-B4C7-42E1-B4E5-E30CBAADA89F}"/>
                    </a:ext>
                  </a:extLst>
                </p:cNvPr>
                <p:cNvGrpSpPr/>
                <p:nvPr/>
              </p:nvGrpSpPr>
              <p:grpSpPr>
                <a:xfrm>
                  <a:off x="6490523" y="3645824"/>
                  <a:ext cx="255599" cy="311753"/>
                  <a:chOff x="6490523" y="3645824"/>
                  <a:chExt cx="255599" cy="311753"/>
                </a:xfrm>
              </p:grpSpPr>
              <p:sp>
                <p:nvSpPr>
                  <p:cNvPr id="10" name="Freeform: Shape 9">
                    <a:extLst>
                      <a:ext uri="{FF2B5EF4-FFF2-40B4-BE49-F238E27FC236}">
                        <a16:creationId xmlns:a16="http://schemas.microsoft.com/office/drawing/2014/main" id="{F6C2E1DC-EE7A-45BE-9CDB-A129953D7B38}"/>
                      </a:ext>
                    </a:extLst>
                  </p:cNvPr>
                  <p:cNvSpPr/>
                  <p:nvPr/>
                </p:nvSpPr>
                <p:spPr>
                  <a:xfrm>
                    <a:off x="6490523" y="3694233"/>
                    <a:ext cx="19364" cy="193635"/>
                  </a:xfrm>
                  <a:custGeom>
                    <a:avLst/>
                    <a:gdLst>
                      <a:gd name="connsiteX0" fmla="*/ 14938 w 19363"/>
                      <a:gd name="connsiteY0" fmla="*/ 14938 h 193635"/>
                      <a:gd name="connsiteX1" fmla="*/ 14938 w 19363"/>
                      <a:gd name="connsiteY1" fmla="*/ 193083 h 193635"/>
                    </a:gdLst>
                    <a:ahLst/>
                    <a:cxnLst>
                      <a:cxn ang="0">
                        <a:pos x="connsiteX0" y="connsiteY0"/>
                      </a:cxn>
                      <a:cxn ang="0">
                        <a:pos x="connsiteX1" y="connsiteY1"/>
                      </a:cxn>
                    </a:cxnLst>
                    <a:rect l="l" t="t" r="r" b="b"/>
                    <a:pathLst>
                      <a:path w="19363" h="193635">
                        <a:moveTo>
                          <a:pt x="14938" y="14938"/>
                        </a:moveTo>
                        <a:lnTo>
                          <a:pt x="14938" y="193083"/>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2" name="Freeform: Shape 11">
                    <a:extLst>
                      <a:ext uri="{FF2B5EF4-FFF2-40B4-BE49-F238E27FC236}">
                        <a16:creationId xmlns:a16="http://schemas.microsoft.com/office/drawing/2014/main" id="{5209C363-B94B-42A5-BB53-4340BAF93C07}"/>
                      </a:ext>
                    </a:extLst>
                  </p:cNvPr>
                  <p:cNvSpPr/>
                  <p:nvPr/>
                </p:nvSpPr>
                <p:spPr>
                  <a:xfrm>
                    <a:off x="6550550" y="3645824"/>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9DB8F0C8-50D6-4E2F-B1E4-F6C1139844FA}"/>
                      </a:ext>
                    </a:extLst>
                  </p:cNvPr>
                  <p:cNvSpPr/>
                  <p:nvPr/>
                </p:nvSpPr>
                <p:spPr>
                  <a:xfrm>
                    <a:off x="6608640" y="3725214"/>
                    <a:ext cx="19364" cy="232363"/>
                  </a:xfrm>
                  <a:custGeom>
                    <a:avLst/>
                    <a:gdLst>
                      <a:gd name="connsiteX0" fmla="*/ 14938 w 19363"/>
                      <a:gd name="connsiteY0" fmla="*/ 14938 h 232362"/>
                      <a:gd name="connsiteX1" fmla="*/ 14938 w 19363"/>
                      <a:gd name="connsiteY1" fmla="*/ 220192 h 232362"/>
                    </a:gdLst>
                    <a:ahLst/>
                    <a:cxnLst>
                      <a:cxn ang="0">
                        <a:pos x="connsiteX0" y="connsiteY0"/>
                      </a:cxn>
                      <a:cxn ang="0">
                        <a:pos x="connsiteX1" y="connsiteY1"/>
                      </a:cxn>
                    </a:cxnLst>
                    <a:rect l="l" t="t" r="r" b="b"/>
                    <a:pathLst>
                      <a:path w="19363" h="232362">
                        <a:moveTo>
                          <a:pt x="14938" y="14938"/>
                        </a:moveTo>
                        <a:lnTo>
                          <a:pt x="14938" y="220192"/>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116CFC37-4DC3-4CF2-A5DE-F4C565C3970B}"/>
                      </a:ext>
                    </a:extLst>
                  </p:cNvPr>
                  <p:cNvSpPr/>
                  <p:nvPr/>
                </p:nvSpPr>
                <p:spPr>
                  <a:xfrm>
                    <a:off x="6668667" y="3665187"/>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1025296E-B8A5-45FF-AA4C-B583FE3A13C8}"/>
                      </a:ext>
                    </a:extLst>
                  </p:cNvPr>
                  <p:cNvSpPr/>
                  <p:nvPr/>
                </p:nvSpPr>
                <p:spPr>
                  <a:xfrm>
                    <a:off x="6726758" y="3725214"/>
                    <a:ext cx="19364" cy="174272"/>
                  </a:xfrm>
                  <a:custGeom>
                    <a:avLst/>
                    <a:gdLst>
                      <a:gd name="connsiteX0" fmla="*/ 14938 w 19363"/>
                      <a:gd name="connsiteY0" fmla="*/ 14938 h 174271"/>
                      <a:gd name="connsiteX1" fmla="*/ 14938 w 19363"/>
                      <a:gd name="connsiteY1" fmla="*/ 160165 h 174271"/>
                    </a:gdLst>
                    <a:ahLst/>
                    <a:cxnLst>
                      <a:cxn ang="0">
                        <a:pos x="connsiteX0" y="connsiteY0"/>
                      </a:cxn>
                      <a:cxn ang="0">
                        <a:pos x="connsiteX1" y="connsiteY1"/>
                      </a:cxn>
                    </a:cxnLst>
                    <a:rect l="l" t="t" r="r" b="b"/>
                    <a:pathLst>
                      <a:path w="19363" h="174271">
                        <a:moveTo>
                          <a:pt x="14938" y="14938"/>
                        </a:moveTo>
                        <a:lnTo>
                          <a:pt x="14938" y="160165"/>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grpSp>
      <p:grpSp>
        <p:nvGrpSpPr>
          <p:cNvPr id="6" name="Group 5">
            <a:extLst>
              <a:ext uri="{FF2B5EF4-FFF2-40B4-BE49-F238E27FC236}">
                <a16:creationId xmlns:a16="http://schemas.microsoft.com/office/drawing/2014/main" id="{E5DAF0EC-A881-4D7E-8D87-E05047E99025}"/>
              </a:ext>
            </a:extLst>
          </p:cNvPr>
          <p:cNvGrpSpPr/>
          <p:nvPr/>
        </p:nvGrpSpPr>
        <p:grpSpPr>
          <a:xfrm>
            <a:off x="9047234" y="3133797"/>
            <a:ext cx="1780157" cy="1143000"/>
            <a:chOff x="8806563" y="3133797"/>
            <a:chExt cx="1780157" cy="1143000"/>
          </a:xfrm>
        </p:grpSpPr>
        <p:sp>
          <p:nvSpPr>
            <p:cNvPr id="47" name="Rectangle 46">
              <a:extLst>
                <a:ext uri="{FF2B5EF4-FFF2-40B4-BE49-F238E27FC236}">
                  <a16:creationId xmlns:a16="http://schemas.microsoft.com/office/drawing/2014/main" id="{365FD925-BD7A-496A-B224-CABC7ABE86E9}"/>
                </a:ext>
              </a:extLst>
            </p:cNvPr>
            <p:cNvSpPr/>
            <p:nvPr/>
          </p:nvSpPr>
          <p:spPr bwMode="auto">
            <a:xfrm>
              <a:off x="8806563" y="3133797"/>
              <a:ext cx="1780157"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91BF2D06-1616-4D7B-834A-D18672F6D4F5}"/>
                </a:ext>
              </a:extLst>
            </p:cNvPr>
            <p:cNvGrpSpPr/>
            <p:nvPr/>
          </p:nvGrpSpPr>
          <p:grpSpPr>
            <a:xfrm>
              <a:off x="9037205" y="3243073"/>
              <a:ext cx="1461442" cy="872825"/>
              <a:chOff x="9037205" y="3243073"/>
              <a:chExt cx="1461442" cy="872825"/>
            </a:xfrm>
            <a:solidFill>
              <a:schemeClr val="bg1"/>
            </a:solidFill>
          </p:grpSpPr>
          <p:grpSp>
            <p:nvGrpSpPr>
              <p:cNvPr id="24" name="Group 23">
                <a:extLst>
                  <a:ext uri="{FF2B5EF4-FFF2-40B4-BE49-F238E27FC236}">
                    <a16:creationId xmlns:a16="http://schemas.microsoft.com/office/drawing/2014/main" id="{BEEA7C96-E4B9-45B2-A034-E2DBB0FCD37E}"/>
                  </a:ext>
                </a:extLst>
              </p:cNvPr>
              <p:cNvGrpSpPr/>
              <p:nvPr/>
            </p:nvGrpSpPr>
            <p:grpSpPr>
              <a:xfrm>
                <a:off x="10020968" y="3243073"/>
                <a:ext cx="477679" cy="872825"/>
                <a:chOff x="9583397" y="3048000"/>
                <a:chExt cx="508821" cy="929732"/>
              </a:xfrm>
              <a:grpFill/>
            </p:grpSpPr>
            <p:sp>
              <p:nvSpPr>
                <p:cNvPr id="21" name="Graphic 19">
                  <a:extLst>
                    <a:ext uri="{FF2B5EF4-FFF2-40B4-BE49-F238E27FC236}">
                      <a16:creationId xmlns:a16="http://schemas.microsoft.com/office/drawing/2014/main" id="{2B8F6160-B1E5-460D-A1DB-8FB229952B7D}"/>
                    </a:ext>
                  </a:extLst>
                </p:cNvPr>
                <p:cNvSpPr/>
                <p:nvPr/>
              </p:nvSpPr>
              <p:spPr>
                <a:xfrm>
                  <a:off x="9583397" y="3468911"/>
                  <a:ext cx="508821" cy="508821"/>
                </a:xfrm>
                <a:custGeom>
                  <a:avLst/>
                  <a:gdLst>
                    <a:gd name="connsiteX0" fmla="*/ 301395 w 508040"/>
                    <a:gd name="connsiteY0" fmla="*/ 79704 h 508040"/>
                    <a:gd name="connsiteX1" fmla="*/ 264446 w 508040"/>
                    <a:gd name="connsiteY1" fmla="*/ 116653 h 508040"/>
                    <a:gd name="connsiteX2" fmla="*/ 227498 w 508040"/>
                    <a:gd name="connsiteY2" fmla="*/ 79704 h 508040"/>
                    <a:gd name="connsiteX3" fmla="*/ 264446 w 508040"/>
                    <a:gd name="connsiteY3" fmla="*/ 42756 h 508040"/>
                    <a:gd name="connsiteX4" fmla="*/ 301395 w 508040"/>
                    <a:gd name="connsiteY4" fmla="*/ 79704 h 508040"/>
                    <a:gd name="connsiteX5" fmla="*/ 301395 w 508040"/>
                    <a:gd name="connsiteY5" fmla="*/ 79704 h 508040"/>
                    <a:gd name="connsiteX6" fmla="*/ 412240 w 508040"/>
                    <a:gd name="connsiteY6" fmla="*/ 347580 h 508040"/>
                    <a:gd name="connsiteX7" fmla="*/ 412240 w 508040"/>
                    <a:gd name="connsiteY7" fmla="*/ 215951 h 508040"/>
                    <a:gd name="connsiteX8" fmla="*/ 386838 w 508040"/>
                    <a:gd name="connsiteY8" fmla="*/ 190549 h 508040"/>
                    <a:gd name="connsiteX9" fmla="*/ 142055 w 508040"/>
                    <a:gd name="connsiteY9" fmla="*/ 190549 h 508040"/>
                    <a:gd name="connsiteX10" fmla="*/ 114343 w 508040"/>
                    <a:gd name="connsiteY10" fmla="*/ 215951 h 508040"/>
                    <a:gd name="connsiteX11" fmla="*/ 114343 w 508040"/>
                    <a:gd name="connsiteY11" fmla="*/ 347580 h 508040"/>
                    <a:gd name="connsiteX12" fmla="*/ 139745 w 508040"/>
                    <a:gd name="connsiteY12" fmla="*/ 372982 h 508040"/>
                    <a:gd name="connsiteX13" fmla="*/ 384528 w 508040"/>
                    <a:gd name="connsiteY13" fmla="*/ 372982 h 508040"/>
                    <a:gd name="connsiteX14" fmla="*/ 412240 w 508040"/>
                    <a:gd name="connsiteY14" fmla="*/ 347580 h 508040"/>
                    <a:gd name="connsiteX15" fmla="*/ 412240 w 508040"/>
                    <a:gd name="connsiteY15" fmla="*/ 347580 h 508040"/>
                    <a:gd name="connsiteX16" fmla="*/ 486137 w 508040"/>
                    <a:gd name="connsiteY16" fmla="*/ 479209 h 508040"/>
                    <a:gd name="connsiteX17" fmla="*/ 456116 w 508040"/>
                    <a:gd name="connsiteY17" fmla="*/ 449188 h 508040"/>
                    <a:gd name="connsiteX18" fmla="*/ 72776 w 508040"/>
                    <a:gd name="connsiteY18" fmla="*/ 446879 h 508040"/>
                    <a:gd name="connsiteX19" fmla="*/ 42756 w 508040"/>
                    <a:gd name="connsiteY19" fmla="*/ 476899 h 508040"/>
                    <a:gd name="connsiteX20" fmla="*/ 188240 w 508040"/>
                    <a:gd name="connsiteY20" fmla="*/ 372982 h 508040"/>
                    <a:gd name="connsiteX21" fmla="*/ 188240 w 508040"/>
                    <a:gd name="connsiteY21" fmla="*/ 446879 h 508040"/>
                    <a:gd name="connsiteX22" fmla="*/ 264446 w 508040"/>
                    <a:gd name="connsiteY22" fmla="*/ 116653 h 508040"/>
                    <a:gd name="connsiteX23" fmla="*/ 264446 w 508040"/>
                    <a:gd name="connsiteY23" fmla="*/ 190549 h 508040"/>
                    <a:gd name="connsiteX24" fmla="*/ 338343 w 508040"/>
                    <a:gd name="connsiteY24" fmla="*/ 372982 h 508040"/>
                    <a:gd name="connsiteX25" fmla="*/ 338343 w 508040"/>
                    <a:gd name="connsiteY25" fmla="*/ 446879 h 508040"/>
                    <a:gd name="connsiteX26" fmla="*/ 169766 w 508040"/>
                    <a:gd name="connsiteY26" fmla="*/ 264446 h 508040"/>
                    <a:gd name="connsiteX27" fmla="*/ 206714 w 508040"/>
                    <a:gd name="connsiteY27" fmla="*/ 264446 h 508040"/>
                    <a:gd name="connsiteX28" fmla="*/ 319869 w 508040"/>
                    <a:gd name="connsiteY28" fmla="*/ 264446 h 508040"/>
                    <a:gd name="connsiteX29" fmla="*/ 356817 w 508040"/>
                    <a:gd name="connsiteY29" fmla="*/ 264446 h 5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040" h="508040">
                      <a:moveTo>
                        <a:pt x="301395" y="79704"/>
                      </a:moveTo>
                      <a:cubicBezTo>
                        <a:pt x="301395" y="100488"/>
                        <a:pt x="285230" y="116653"/>
                        <a:pt x="264446" y="116653"/>
                      </a:cubicBezTo>
                      <a:cubicBezTo>
                        <a:pt x="243663" y="116653"/>
                        <a:pt x="227498" y="100488"/>
                        <a:pt x="227498" y="79704"/>
                      </a:cubicBezTo>
                      <a:cubicBezTo>
                        <a:pt x="227498" y="58921"/>
                        <a:pt x="243663" y="42756"/>
                        <a:pt x="264446" y="42756"/>
                      </a:cubicBezTo>
                      <a:cubicBezTo>
                        <a:pt x="285230" y="42756"/>
                        <a:pt x="301395" y="58921"/>
                        <a:pt x="301395" y="79704"/>
                      </a:cubicBezTo>
                      <a:lnTo>
                        <a:pt x="301395" y="79704"/>
                      </a:lnTo>
                      <a:close/>
                      <a:moveTo>
                        <a:pt x="412240" y="347580"/>
                      </a:moveTo>
                      <a:cubicBezTo>
                        <a:pt x="412240" y="215951"/>
                        <a:pt x="412240" y="215951"/>
                        <a:pt x="412240" y="215951"/>
                      </a:cubicBezTo>
                      <a:cubicBezTo>
                        <a:pt x="412240" y="202096"/>
                        <a:pt x="400693" y="190549"/>
                        <a:pt x="386838" y="190549"/>
                      </a:cubicBezTo>
                      <a:cubicBezTo>
                        <a:pt x="142055" y="190549"/>
                        <a:pt x="142055" y="190549"/>
                        <a:pt x="142055" y="190549"/>
                      </a:cubicBezTo>
                      <a:cubicBezTo>
                        <a:pt x="125890" y="190549"/>
                        <a:pt x="114343" y="202096"/>
                        <a:pt x="114343" y="215951"/>
                      </a:cubicBezTo>
                      <a:cubicBezTo>
                        <a:pt x="114343" y="347580"/>
                        <a:pt x="114343" y="347580"/>
                        <a:pt x="114343" y="347580"/>
                      </a:cubicBezTo>
                      <a:cubicBezTo>
                        <a:pt x="114343" y="361436"/>
                        <a:pt x="125890" y="372982"/>
                        <a:pt x="139745" y="372982"/>
                      </a:cubicBezTo>
                      <a:cubicBezTo>
                        <a:pt x="384528" y="372982"/>
                        <a:pt x="384528" y="372982"/>
                        <a:pt x="384528" y="372982"/>
                      </a:cubicBezTo>
                      <a:cubicBezTo>
                        <a:pt x="400693" y="372982"/>
                        <a:pt x="412240" y="361436"/>
                        <a:pt x="412240" y="347580"/>
                      </a:cubicBezTo>
                      <a:lnTo>
                        <a:pt x="412240" y="347580"/>
                      </a:lnTo>
                      <a:close/>
                      <a:moveTo>
                        <a:pt x="486137" y="479209"/>
                      </a:moveTo>
                      <a:cubicBezTo>
                        <a:pt x="486137" y="463044"/>
                        <a:pt x="472281" y="449188"/>
                        <a:pt x="456116" y="449188"/>
                      </a:cubicBezTo>
                      <a:cubicBezTo>
                        <a:pt x="72776" y="446879"/>
                        <a:pt x="72776" y="446879"/>
                        <a:pt x="72776" y="446879"/>
                      </a:cubicBezTo>
                      <a:cubicBezTo>
                        <a:pt x="56611" y="446879"/>
                        <a:pt x="42756" y="460735"/>
                        <a:pt x="42756" y="476899"/>
                      </a:cubicBezTo>
                      <a:moveTo>
                        <a:pt x="188240" y="372982"/>
                      </a:moveTo>
                      <a:cubicBezTo>
                        <a:pt x="188240" y="446879"/>
                        <a:pt x="188240" y="446879"/>
                        <a:pt x="188240" y="446879"/>
                      </a:cubicBezTo>
                      <a:moveTo>
                        <a:pt x="264446" y="116653"/>
                      </a:moveTo>
                      <a:cubicBezTo>
                        <a:pt x="264446" y="190549"/>
                        <a:pt x="264446" y="190549"/>
                        <a:pt x="264446" y="190549"/>
                      </a:cubicBezTo>
                      <a:moveTo>
                        <a:pt x="338343" y="372982"/>
                      </a:moveTo>
                      <a:cubicBezTo>
                        <a:pt x="338343" y="446879"/>
                        <a:pt x="338343" y="446879"/>
                        <a:pt x="338343" y="446879"/>
                      </a:cubicBezTo>
                      <a:moveTo>
                        <a:pt x="169766" y="264446"/>
                      </a:moveTo>
                      <a:cubicBezTo>
                        <a:pt x="206714" y="264446"/>
                        <a:pt x="206714" y="264446"/>
                        <a:pt x="206714" y="264446"/>
                      </a:cubicBezTo>
                      <a:moveTo>
                        <a:pt x="319869" y="264446"/>
                      </a:moveTo>
                      <a:cubicBezTo>
                        <a:pt x="356817" y="264446"/>
                        <a:pt x="356817" y="264446"/>
                        <a:pt x="356817" y="264446"/>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5" name="Telemarketer_E7B9" title="Icon of a person wearing a headset">
                  <a:extLst>
                    <a:ext uri="{FF2B5EF4-FFF2-40B4-BE49-F238E27FC236}">
                      <a16:creationId xmlns:a16="http://schemas.microsoft.com/office/drawing/2014/main" id="{0A0770C8-7D0A-4FA0-8EA6-8DA495351C29}"/>
                    </a:ext>
                  </a:extLst>
                </p:cNvPr>
                <p:cNvSpPr>
                  <a:spLocks noChangeAspect="1" noEditPoints="1"/>
                </p:cNvSpPr>
                <p:nvPr/>
              </p:nvSpPr>
              <p:spPr bwMode="auto">
                <a:xfrm>
                  <a:off x="9661154" y="3048000"/>
                  <a:ext cx="376810" cy="449394"/>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3" name="monitor" title="Icon of a monitor">
                <a:extLst>
                  <a:ext uri="{FF2B5EF4-FFF2-40B4-BE49-F238E27FC236}">
                    <a16:creationId xmlns:a16="http://schemas.microsoft.com/office/drawing/2014/main" id="{6C38BE6E-3E51-4AB9-8D05-D361832A3BA9}"/>
                  </a:ext>
                </a:extLst>
              </p:cNvPr>
              <p:cNvSpPr>
                <a:spLocks noChangeAspect="1" noEditPoints="1"/>
              </p:cNvSpPr>
              <p:nvPr/>
            </p:nvSpPr>
            <p:spPr bwMode="auto">
              <a:xfrm>
                <a:off x="9037205" y="3302001"/>
                <a:ext cx="902578" cy="69172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 name="BarChartHorizontal_E9EB" title="Icon of a horizontal bar graph">
                <a:extLst>
                  <a:ext uri="{FF2B5EF4-FFF2-40B4-BE49-F238E27FC236}">
                    <a16:creationId xmlns:a16="http://schemas.microsoft.com/office/drawing/2014/main" id="{981BE91E-5DFF-41BB-BAC9-E885D1C8F87E}"/>
                  </a:ext>
                </a:extLst>
              </p:cNvPr>
              <p:cNvSpPr>
                <a:spLocks noChangeAspect="1" noEditPoints="1"/>
              </p:cNvSpPr>
              <p:nvPr/>
            </p:nvSpPr>
            <p:spPr bwMode="auto">
              <a:xfrm>
                <a:off x="9102414" y="3393235"/>
                <a:ext cx="365760" cy="36576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6" name="BarChartVertical_E9EC" title="Icon of a vertical bar graph">
                <a:extLst>
                  <a:ext uri="{FF2B5EF4-FFF2-40B4-BE49-F238E27FC236}">
                    <a16:creationId xmlns:a16="http://schemas.microsoft.com/office/drawing/2014/main" id="{32E7ECE0-A314-46F1-8F21-E0847E87BA42}"/>
                  </a:ext>
                </a:extLst>
              </p:cNvPr>
              <p:cNvSpPr>
                <a:spLocks noChangeAspect="1" noEditPoints="1"/>
              </p:cNvSpPr>
              <p:nvPr/>
            </p:nvSpPr>
            <p:spPr bwMode="auto">
              <a:xfrm>
                <a:off x="9528523" y="3393235"/>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Tree>
    <p:extLst>
      <p:ext uri="{BB962C8B-B14F-4D97-AF65-F5344CB8AC3E}">
        <p14:creationId xmlns:p14="http://schemas.microsoft.com/office/powerpoint/2010/main" val="170597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6" ma:contentTypeDescription="" ma:contentTypeScope="" ma:versionID="0b489177b0329d17d5d97b2f4c0e8ab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29daeae9aaf247f1193c3bac423afd02"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8F4CD590420C104E80FF87FED4E140E2" ma:contentTypeVersion="10" ma:contentTypeDescription="Create a new document." ma:contentTypeScope="" ma:versionID="753a213215f7c53859d3c6983d2c3fde">
  <xsd:schema xmlns:xsd="http://www.w3.org/2001/XMLSchema" xmlns:xs="http://www.w3.org/2001/XMLSchema" xmlns:p="http://schemas.microsoft.com/office/2006/metadata/properties" xmlns:ns2="bc323da2-161e-4a56-8a0a-b023a79e9686" xmlns:ns3="ae8eb2a0-2d05-4c8a-b6dc-133be4f2870d" targetNamespace="http://schemas.microsoft.com/office/2006/metadata/properties" ma:root="true" ma:fieldsID="48d6dcbfddb0778104849f6509ecb3af" ns2:_="" ns3:_="">
    <xsd:import namespace="bc323da2-161e-4a56-8a0a-b023a79e9686"/>
    <xsd:import namespace="ae8eb2a0-2d05-4c8a-b6dc-133be4f2870d"/>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323da2-161e-4a56-8a0a-b023a79e968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LastSharedByUser" ma:index="10" nillable="true" ma:displayName="Last Shared By User" ma:hidden="true" ma:internalName="LastSharedByUser" ma:readOnly="true">
      <xsd:simpleType>
        <xsd:restriction base="dms:Note"/>
      </xsd:simpleType>
    </xsd:element>
    <xsd:element name="LastSharedByTime" ma:index="11"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e8eb2a0-2d05-4c8a-b6dc-133be4f2870d"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14078624-2F1A-47D4-90B1-62B77C7B99FD}"/>
</file>

<file path=customXml/itemProps2.xml><?xml version="1.0" encoding="utf-8"?>
<ds:datastoreItem xmlns:ds="http://schemas.openxmlformats.org/officeDocument/2006/customXml" ds:itemID="{14736E99-80B6-4974-A113-80A37E63E383}">
  <ds:schemaRefs>
    <ds:schemaRef ds:uri="http://purl.org/dc/terms/"/>
    <ds:schemaRef ds:uri="http://schemas.microsoft.com/office/2006/documentManagement/types"/>
    <ds:schemaRef ds:uri="http://schemas.microsoft.com/office/2006/metadata/properties"/>
    <ds:schemaRef ds:uri="http://purl.org/dc/dcmitype/"/>
    <ds:schemaRef ds:uri="http://purl.org/dc/elements/1.1/"/>
    <ds:schemaRef ds:uri="fbd0b84f-c09d-4f82-afb3-09f8bff6fc8f"/>
    <ds:schemaRef ds:uri="http://schemas.openxmlformats.org/package/2006/metadata/core-properties"/>
    <ds:schemaRef ds:uri="http://www.w3.org/XML/1998/namespace"/>
    <ds:schemaRef ds:uri="http://schemas.microsoft.com/office/infopath/2007/PartnerControls"/>
    <ds:schemaRef ds:uri="ed8d5d22-2c53-4dc5-8e35-b578f2f234fc"/>
    <ds:schemaRef ds:uri="http://schemas.microsoft.com/sharepoint/v3"/>
  </ds:schemaRefs>
</ds:datastoreItem>
</file>

<file path=customXml/itemProps3.xml><?xml version="1.0" encoding="utf-8"?>
<ds:datastoreItem xmlns:ds="http://schemas.openxmlformats.org/officeDocument/2006/customXml" ds:itemID="{2953BAB7-9C9B-4661-86EC-6EC147D914C8}">
  <ds:schemaRefs>
    <ds:schemaRef ds:uri="http://schemas.microsoft.com/sharepoint/v3/contenttype/forms"/>
  </ds:schemaRefs>
</ds:datastoreItem>
</file>

<file path=customXml/itemProps4.xml><?xml version="1.0" encoding="utf-8"?>
<ds:datastoreItem xmlns:ds="http://schemas.openxmlformats.org/officeDocument/2006/customXml" ds:itemID="{285CE457-2472-4310-8DBC-1B96DFA3E824}"/>
</file>

<file path=customXml/itemProps5.xml><?xml version="1.0" encoding="utf-8"?>
<ds:datastoreItem xmlns:ds="http://schemas.openxmlformats.org/officeDocument/2006/customXml" ds:itemID="{11A1EFEA-0113-4FC5-9E57-BAF16B4102B7}"/>
</file>

<file path=customXml/itemProps6.xml><?xml version="1.0" encoding="utf-8"?>
<ds:datastoreItem xmlns:ds="http://schemas.openxmlformats.org/officeDocument/2006/customXml" ds:itemID="{C395C64D-E3D6-4271-A2A5-B3725AC71042}"/>
</file>

<file path=docProps/app.xml><?xml version="1.0" encoding="utf-8"?>
<Properties xmlns="http://schemas.openxmlformats.org/officeDocument/2006/extended-properties" xmlns:vt="http://schemas.openxmlformats.org/officeDocument/2006/docPropsVTypes">
  <TotalTime>5325</TotalTime>
  <Words>8401</Words>
  <Application>Microsoft Office PowerPoint</Application>
  <PresentationFormat>Widescreen</PresentationFormat>
  <Paragraphs>1526</Paragraphs>
  <Slides>58</Slides>
  <Notes>56</Notes>
  <HiddenSlides>2</HiddenSlides>
  <MMClips>1</MMClips>
  <ScaleCrop>false</ScaleCrop>
  <HeadingPairs>
    <vt:vector size="4" baseType="variant">
      <vt:variant>
        <vt:lpstr>Theme</vt:lpstr>
      </vt:variant>
      <vt:variant>
        <vt:i4>1</vt:i4>
      </vt:variant>
      <vt:variant>
        <vt:lpstr>Slide Titles</vt:lpstr>
      </vt:variant>
      <vt:variant>
        <vt:i4>58</vt:i4>
      </vt:variant>
    </vt:vector>
  </HeadingPairs>
  <TitlesOfParts>
    <vt:vector size="59" baseType="lpstr">
      <vt:lpstr>Azure PPT Template - 2018</vt:lpstr>
      <vt:lpstr>Speaker guidance</vt:lpstr>
      <vt:lpstr>Advanced Analytics Transform data into actionable insights</vt:lpstr>
      <vt:lpstr>Data + AI</vt:lpstr>
      <vt:lpstr>Advanced analytics represents a growing opportunity</vt:lpstr>
      <vt:lpstr>Adopting advanced analytics in your company</vt:lpstr>
      <vt:lpstr>What the research tells us</vt:lpstr>
      <vt:lpstr>Helping you innovate across your business</vt:lpstr>
      <vt:lpstr>Leading to transformational changes</vt:lpstr>
      <vt:lpstr>How companies are transforming</vt:lpstr>
      <vt:lpstr>But there is a lot to consider</vt:lpstr>
      <vt:lpstr>What approach should I take to overcome these challenges?</vt:lpstr>
      <vt:lpstr>Our customers have three common objectives</vt:lpstr>
      <vt:lpstr>Microsoft has a recommended reference architecture</vt:lpstr>
      <vt:lpstr>PowerPoint Presentation</vt:lpstr>
      <vt:lpstr>Collect and prepare all of your data at scale</vt:lpstr>
      <vt:lpstr>Train and evaluate Machine Learning models</vt:lpstr>
      <vt:lpstr>Operationalize and manage models with ease</vt:lpstr>
      <vt:lpstr>What are companies looking to do next?</vt:lpstr>
      <vt:lpstr>Deep learning with Azure</vt:lpstr>
      <vt:lpstr>Build and deploy deep learning models</vt:lpstr>
      <vt:lpstr>Leverage deep learning services and frameworks</vt:lpstr>
      <vt:lpstr>Introducing Azure Databricks</vt:lpstr>
      <vt:lpstr>Azure Machine Learning Services</vt:lpstr>
      <vt:lpstr>Get started quickly with Developer AI</vt:lpstr>
      <vt:lpstr>Conversational AI </vt:lpstr>
      <vt:lpstr>Leverage out-of-the-box AI tools and services</vt:lpstr>
      <vt:lpstr>Enterprise scenarios for AI</vt:lpstr>
      <vt:lpstr>AI-enabled devices</vt:lpstr>
      <vt:lpstr>Microsoft AI for accessibility </vt:lpstr>
      <vt:lpstr>It’s all on Microsoft Azure</vt:lpstr>
      <vt:lpstr>Microsoft Azure </vt:lpstr>
      <vt:lpstr>Companies using Azure for ML and AI</vt:lpstr>
      <vt:lpstr>Rich partner network</vt:lpstr>
      <vt:lpstr>QnA</vt:lpstr>
      <vt:lpstr>PowerPoint Presentation</vt:lpstr>
      <vt:lpstr>PowerPoint Presentation</vt:lpstr>
      <vt:lpstr>PowerPoint Presentation</vt:lpstr>
      <vt:lpstr>Media and entertainment use cases</vt:lpstr>
      <vt:lpstr>Retail use cases</vt:lpstr>
      <vt:lpstr>Advertising and marketing tech use cases</vt:lpstr>
      <vt:lpstr>Oil, gas, and energy use cases</vt:lpstr>
      <vt:lpstr>Security use cases</vt:lpstr>
      <vt:lpstr>Product recommendation Delight customers with improved shopping experiences</vt:lpstr>
      <vt:lpstr>Predictive maintenance Optimize operations by minimizing downtime</vt:lpstr>
      <vt:lpstr>Demand forecasting  Maximize revenue by integrating with energy markets</vt:lpstr>
      <vt:lpstr>Azure data factory</vt:lpstr>
      <vt:lpstr>Azure blob storage</vt:lpstr>
      <vt:lpstr>Azure databricks</vt:lpstr>
      <vt:lpstr>Azure SQL data warehouse</vt:lpstr>
      <vt:lpstr>Azure analysis services</vt:lpstr>
      <vt:lpstr>Azure Cosmos DB</vt:lpstr>
      <vt:lpstr>Azure machine learning studio</vt:lpstr>
      <vt:lpstr>Azure HDinsight</vt:lpstr>
      <vt:lpstr>Azure SQL database</vt:lpstr>
      <vt:lpstr>The Microsoft cognitive toolkit</vt:lpstr>
      <vt:lpstr>Cognitive services</vt:lpstr>
      <vt:lpstr>Microsoft Translator uses 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Solution Pitch Deck</dc:title>
  <dc:creator>Talal Alqinawi</dc:creator>
  <cp:lastModifiedBy>Ann Sonnen</cp:lastModifiedBy>
  <cp:revision>465</cp:revision>
  <dcterms:created xsi:type="dcterms:W3CDTF">2018-04-19T22:31:31Z</dcterms:created>
  <dcterms:modified xsi:type="dcterms:W3CDTF">2018-07-13T05: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alalq@microsoft.com</vt:lpwstr>
  </property>
  <property fmtid="{D5CDD505-2E9C-101B-9397-08002B2CF9AE}" pid="5" name="MSIP_Label_f42aa342-8706-4288-bd11-ebb85995028c_SetDate">
    <vt:lpwstr>2018-04-20T04:58:57.734646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8F4CD590420C104E80FF87FED4E140E2</vt:lpwstr>
  </property>
  <property fmtid="{D5CDD505-2E9C-101B-9397-08002B2CF9AE}" pid="11" name="of67e5d4b76f4a9db8769983fda9cec0">
    <vt:lpwstr/>
  </property>
  <property fmtid="{D5CDD505-2E9C-101B-9397-08002B2CF9AE}" pid="12" name="TaxKeyword">
    <vt:lpwstr/>
  </property>
  <property fmtid="{D5CDD505-2E9C-101B-9397-08002B2CF9AE}" pid="13" name="NewsType">
    <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088;#solution overviews|9d645bcd-a571-45cf-a991-f5f20de43ed9</vt:lpwstr>
  </property>
  <property fmtid="{D5CDD505-2E9C-101B-9397-08002B2CF9AE}" pid="18" name="Industries">
    <vt:lpwstr/>
  </property>
  <property fmtid="{D5CDD505-2E9C-101B-9397-08002B2CF9AE}" pid="19" name="MSProducts">
    <vt:lpwstr/>
  </property>
  <property fmtid="{D5CDD505-2E9C-101B-9397-08002B2CF9AE}" pid="20" name="SMSGDomain">
    <vt:lpwstr>21;#Intelligent Cloud|adc2fe87-c79a-4ded-a449-3f86b954069d;#2553;#ICB PST Domain|f7f86ece-0ca0-48d7-99cb-d6c97e732478</vt:lpwstr>
  </property>
  <property fmtid="{D5CDD505-2E9C-101B-9397-08002B2CF9AE}" pid="21" name="Competitors">
    <vt:lpwstr/>
  </property>
  <property fmtid="{D5CDD505-2E9C-101B-9397-08002B2CF9AE}" pid="22" name="ExperienceContentType">
    <vt:lpwstr/>
  </property>
  <property fmtid="{D5CDD505-2E9C-101B-9397-08002B2CF9AE}" pid="23" name="BusinessArchitecture">
    <vt:lpwstr>374;#machine learning|912b89bd-3197-4d37-838b-dea3c299099a;#2559;#artificial intelligence|11fa0c26-d93f-4fa8-9b81-cf60b8e62d0c;#2325;#Data and AI|60d86926-9fc6-4873-ad19-e15bf82160d7</vt:lpwstr>
  </property>
  <property fmtid="{D5CDD505-2E9C-101B-9397-08002B2CF9AE}" pid="24" name="Products">
    <vt:lpwstr>2034;#Azure Machine Learning|9207948e-39de-44e3-bca4-b0005ecebc86</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_docset_NoMedatataSyncRequired">
    <vt:lpwstr>False</vt:lpwstr>
  </property>
  <property fmtid="{D5CDD505-2E9C-101B-9397-08002B2CF9AE}" pid="28" name="e8080b0481964c759b2c36ae49591b31">
    <vt:lpwstr/>
  </property>
  <property fmtid="{D5CDD505-2E9C-101B-9397-08002B2CF9AE}" pid="29" name="Languages">
    <vt:lpwstr/>
  </property>
  <property fmtid="{D5CDD505-2E9C-101B-9397-08002B2CF9AE}" pid="30" name="TechnicalLevel">
    <vt:lpwstr>747;#200|855c9113-a119-44e7-b3de-bccffe25ed46</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3c845995-60e7-4be1-b81e-1b77ff43ae0a</vt:lpwstr>
  </property>
  <property fmtid="{D5CDD505-2E9C-101B-9397-08002B2CF9AE}" pid="40" name="MSPhysicalGeography">
    <vt:lpwstr/>
  </property>
  <property fmtid="{D5CDD505-2E9C-101B-9397-08002B2CF9AE}" pid="41" name="EnterpriseDomainTags">
    <vt:lpwstr/>
  </property>
  <property fmtid="{D5CDD505-2E9C-101B-9397-08002B2CF9AE}" pid="42" name="j3562c58ee414e028925bc902cfc01a1">
    <vt:lpwstr/>
  </property>
  <property fmtid="{D5CDD505-2E9C-101B-9397-08002B2CF9AE}" pid="43" name="Segments">
    <vt:lpwstr>2182;#Artificial Intelligence and Research Group|bc53c690-bfc4-4b06-b08b-99b2bf5a2a45</vt:lpwstr>
  </property>
  <property fmtid="{D5CDD505-2E9C-101B-9397-08002B2CF9AE}" pid="44" name="Partners">
    <vt:lpwstr/>
  </property>
  <property fmtid="{D5CDD505-2E9C-101B-9397-08002B2CF9AE}" pid="45" name="ActivitiesAndPrograms">
    <vt:lpwstr/>
  </property>
  <property fmtid="{D5CDD505-2E9C-101B-9397-08002B2CF9AE}" pid="46" name="la4444b61d19467597d63190b69ac227">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ies>
</file>